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4" r:id="rId5"/>
  </p:sldMasterIdLst>
  <p:notesMasterIdLst>
    <p:notesMasterId r:id="rId8"/>
  </p:notesMasterIdLst>
  <p:handoutMasterIdLst>
    <p:handoutMasterId r:id="rId9"/>
  </p:handoutMasterIdLst>
  <p:sldIdLst>
    <p:sldId id="342" r:id="rId6"/>
    <p:sldId id="282" r:id="rId7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6B8D000-F82D-2D0C-51ED-428BE9EB0964}" name="Nikolaj Godsk Vestergaard" initials="NGV" userId="S::ngv@ramboll.com::13f6e931-e8bb-4f58-9241-2f10614c3355" providerId="AD"/>
  <p188:author id="{FEDD1E92-BBDF-6E6B-41AB-5762FE167ACF}" name="Nikolaj Godsk Vestergaard" initials="NGV" userId="S::NGV@ramboll.com::13f6e931-e8bb-4f58-9241-2f10614c3355" providerId="AD"/>
  <p188:author id="{C1F161FD-E976-00BF-7048-A16D50EA37DE}" name="Mia Rytter Lund" initials="MRL" userId="S::MRYL@ramboll.com::fd5a37df-57b5-4ab7-b42f-f051b0300ae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273F68"/>
    <a:srgbClr val="63676E"/>
    <a:srgbClr val="C6CEDD"/>
    <a:srgbClr val="25686E"/>
    <a:srgbClr val="7085AA"/>
    <a:srgbClr val="F3805C"/>
    <a:srgbClr val="4BD1DD"/>
    <a:srgbClr val="BD9ADD"/>
    <a:srgbClr val="E6E6E6"/>
    <a:srgbClr val="D5B4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79FB41-91C7-4C01-B06A-ED8A2E3EF62D}" v="4" dt="2023-04-18T07:48:29.4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kolaj Godsk Vestergaard" userId="13f6e931-e8bb-4f58-9241-2f10614c3355" providerId="ADAL" clId="{E4806A0B-DC8E-4AB6-B884-FF8A33E1EF07}"/>
    <pc:docChg chg="undo redo custSel addSld delSld modSld sldOrd delMainMaster modMainMaster replTag">
      <pc:chgData name="Nikolaj Godsk Vestergaard" userId="13f6e931-e8bb-4f58-9241-2f10614c3355" providerId="ADAL" clId="{E4806A0B-DC8E-4AB6-B884-FF8A33E1EF07}" dt="2022-12-05T08:36:31.735" v="16357" actId="20577"/>
      <pc:docMkLst>
        <pc:docMk/>
      </pc:docMkLst>
      <pc:sldChg chg="addSp delSp modSp mod modClrScheme chgLayout">
        <pc:chgData name="Nikolaj Godsk Vestergaard" userId="13f6e931-e8bb-4f58-9241-2f10614c3355" providerId="ADAL" clId="{E4806A0B-DC8E-4AB6-B884-FF8A33E1EF07}" dt="2022-11-28T13:12:58.752" v="1613" actId="1076"/>
        <pc:sldMkLst>
          <pc:docMk/>
          <pc:sldMk cId="0" sldId="256"/>
        </pc:sldMkLst>
        <pc:spChg chg="add del mod ord">
          <ac:chgData name="Nikolaj Godsk Vestergaard" userId="13f6e931-e8bb-4f58-9241-2f10614c3355" providerId="ADAL" clId="{E4806A0B-DC8E-4AB6-B884-FF8A33E1EF07}" dt="2022-11-28T13:11:55.361" v="1563" actId="478"/>
          <ac:spMkLst>
            <pc:docMk/>
            <pc:sldMk cId="0" sldId="256"/>
            <ac:spMk id="3" creationId="{97D3E952-7E12-44F4-8CB2-81C1F19BD2A0}"/>
          </ac:spMkLst>
        </pc:spChg>
        <pc:spChg chg="add mod">
          <ac:chgData name="Nikolaj Godsk Vestergaard" userId="13f6e931-e8bb-4f58-9241-2f10614c3355" providerId="ADAL" clId="{E4806A0B-DC8E-4AB6-B884-FF8A33E1EF07}" dt="2022-11-28T13:12:58.752" v="1613" actId="1076"/>
          <ac:spMkLst>
            <pc:docMk/>
            <pc:sldMk cId="0" sldId="256"/>
            <ac:spMk id="5" creationId="{6700E6DD-2609-4241-8E3B-D501AA8DCC47}"/>
          </ac:spMkLst>
        </pc:spChg>
        <pc:spChg chg="mod ord">
          <ac:chgData name="Nikolaj Godsk Vestergaard" userId="13f6e931-e8bb-4f58-9241-2f10614c3355" providerId="ADAL" clId="{E4806A0B-DC8E-4AB6-B884-FF8A33E1EF07}" dt="2022-11-28T13:12:31.456" v="1605" actId="404"/>
          <ac:spMkLst>
            <pc:docMk/>
            <pc:sldMk cId="0" sldId="256"/>
            <ac:spMk id="694" creationId="{00000000-0000-0000-0000-000000000000}"/>
          </ac:spMkLst>
        </pc:spChg>
        <pc:graphicFrameChg chg="mod">
          <ac:chgData name="Nikolaj Godsk Vestergaard" userId="13f6e931-e8bb-4f58-9241-2f10614c3355" providerId="ADAL" clId="{E4806A0B-DC8E-4AB6-B884-FF8A33E1EF07}" dt="2022-11-28T13:12:31.967" v="1608"/>
          <ac:graphicFrameMkLst>
            <pc:docMk/>
            <pc:sldMk cId="0" sldId="256"/>
            <ac:graphicFrameMk id="2" creationId="{CB41E3BF-4194-4AEC-AE0B-9FE634FD6E9D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2:53:04.744" v="1212" actId="47"/>
        <pc:sldMkLst>
          <pc:docMk/>
          <pc:sldMk cId="3797582595" sldId="257"/>
        </pc:sldMkLst>
        <pc:spChg chg="add del mod modVis">
          <ac:chgData name="Nikolaj Godsk Vestergaard" userId="13f6e931-e8bb-4f58-9241-2f10614c3355" providerId="ADAL" clId="{E4806A0B-DC8E-4AB6-B884-FF8A33E1EF07}" dt="2022-11-28T12:52:02.643" v="1135"/>
          <ac:spMkLst>
            <pc:docMk/>
            <pc:sldMk cId="3797582595" sldId="257"/>
            <ac:spMk id="2" creationId="{83882E64-AA95-48CB-A317-8F2D5C45316F}"/>
          </ac:spMkLst>
        </pc:spChg>
        <pc:spChg chg="mod">
          <ac:chgData name="Nikolaj Godsk Vestergaard" userId="13f6e931-e8bb-4f58-9241-2f10614c3355" providerId="ADAL" clId="{E4806A0B-DC8E-4AB6-B884-FF8A33E1EF07}" dt="2022-11-28T12:52:02.131" v="519" actId="948"/>
          <ac:spMkLst>
            <pc:docMk/>
            <pc:sldMk cId="3797582595" sldId="257"/>
            <ac:spMk id="6" creationId="{6876B81B-8787-4AAF-9A97-0818E86BF952}"/>
          </ac:spMkLst>
        </pc:spChg>
        <pc:graphicFrameChg chg="mod">
          <ac:chgData name="Nikolaj Godsk Vestergaard" userId="13f6e931-e8bb-4f58-9241-2f10614c3355" providerId="ADAL" clId="{E4806A0B-DC8E-4AB6-B884-FF8A33E1EF07}" dt="2022-11-28T12:52:02.644" v="1137"/>
          <ac:graphicFrameMkLst>
            <pc:docMk/>
            <pc:sldMk cId="3797582595" sldId="257"/>
            <ac:graphicFrameMk id="8" creationId="{4FA2B2A3-F1C6-446D-B074-88E1A5FD9390}"/>
          </ac:graphicFrameMkLst>
        </pc:graphicFrameChg>
      </pc:sldChg>
      <pc:sldChg chg="del">
        <pc:chgData name="Nikolaj Godsk Vestergaard" userId="13f6e931-e8bb-4f58-9241-2f10614c3355" providerId="ADAL" clId="{E4806A0B-DC8E-4AB6-B884-FF8A33E1EF07}" dt="2022-11-28T15:35:13.142" v="8289" actId="47"/>
        <pc:sldMkLst>
          <pc:docMk/>
          <pc:sldMk cId="4086596879" sldId="258"/>
        </pc:sldMkLst>
      </pc:sldChg>
      <pc:sldChg chg="addSp modSp mod setBg">
        <pc:chgData name="Nikolaj Godsk Vestergaard" userId="13f6e931-e8bb-4f58-9241-2f10614c3355" providerId="ADAL" clId="{E4806A0B-DC8E-4AB6-B884-FF8A33E1EF07}" dt="2022-11-28T15:38:50.627" v="8406"/>
        <pc:sldMkLst>
          <pc:docMk/>
          <pc:sldMk cId="3669439568" sldId="259"/>
        </pc:sldMkLst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15" creationId="{6FAEEE95-6B38-4BE1-BFE5-F30C30182DE9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16" creationId="{5F3D3961-8D33-419E-B6B4-E0689E72F977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17" creationId="{E500982C-3A5A-485E-A493-60CB6B678BAC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18" creationId="{B97ABDA4-9052-4F2F-BB1A-0394CE815E34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19" creationId="{D2C97E7C-6AA4-43D1-85F4-ED926D7BA875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21" creationId="{61BB71FC-CE7D-428D-9482-F41F5618E050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24" creationId="{B3C89014-71C5-464E-9764-AC9673DCCF52}"/>
          </ac:spMkLst>
        </pc:spChg>
        <pc:spChg chg="mod">
          <ac:chgData name="Nikolaj Godsk Vestergaard" userId="13f6e931-e8bb-4f58-9241-2f10614c3355" providerId="ADAL" clId="{E4806A0B-DC8E-4AB6-B884-FF8A33E1EF07}" dt="2022-11-28T12:35:28.882" v="40" actId="1076"/>
          <ac:spMkLst>
            <pc:docMk/>
            <pc:sldMk cId="3669439568" sldId="259"/>
            <ac:spMk id="25" creationId="{60190C2E-F617-4BE5-A4F4-D58416039EA4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26" creationId="{252F527D-F23A-475F-8002-8E670D0B646E}"/>
          </ac:spMkLst>
        </pc:spChg>
        <pc:spChg chg="mod">
          <ac:chgData name="Nikolaj Godsk Vestergaard" userId="13f6e931-e8bb-4f58-9241-2f10614c3355" providerId="ADAL" clId="{E4806A0B-DC8E-4AB6-B884-FF8A33E1EF07}" dt="2022-11-28T12:35:28.882" v="40" actId="1076"/>
          <ac:spMkLst>
            <pc:docMk/>
            <pc:sldMk cId="3669439568" sldId="259"/>
            <ac:spMk id="27" creationId="{6A9ABC2C-E245-4EB4-809E-CEEE46ABED15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28" creationId="{5BF64132-D9D7-40EF-9591-878CEE72A697}"/>
          </ac:spMkLst>
        </pc:spChg>
        <pc:spChg chg="mod">
          <ac:chgData name="Nikolaj Godsk Vestergaard" userId="13f6e931-e8bb-4f58-9241-2f10614c3355" providerId="ADAL" clId="{E4806A0B-DC8E-4AB6-B884-FF8A33E1EF07}" dt="2022-11-28T12:44:37.623" v="395" actId="20577"/>
          <ac:spMkLst>
            <pc:docMk/>
            <pc:sldMk cId="3669439568" sldId="259"/>
            <ac:spMk id="29" creationId="{5297DD94-7DAA-41BE-A6BB-87CF824DF30A}"/>
          </ac:spMkLst>
        </pc:spChg>
        <pc:spChg chg="mod">
          <ac:chgData name="Nikolaj Godsk Vestergaard" userId="13f6e931-e8bb-4f58-9241-2f10614c3355" providerId="ADAL" clId="{E4806A0B-DC8E-4AB6-B884-FF8A33E1EF07}" dt="2022-11-28T12:35:28.882" v="40" actId="1076"/>
          <ac:spMkLst>
            <pc:docMk/>
            <pc:sldMk cId="3669439568" sldId="259"/>
            <ac:spMk id="30" creationId="{A5372025-63AF-44C9-8B44-B9AC7E12EF67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31" creationId="{FA94C435-6BB6-4F8B-94C4-B47608B37E79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32" creationId="{FFDB1028-6817-4C41-BF12-066CC1226954}"/>
          </ac:spMkLst>
        </pc:spChg>
        <pc:spChg chg="mod">
          <ac:chgData name="Nikolaj Godsk Vestergaard" userId="13f6e931-e8bb-4f58-9241-2f10614c3355" providerId="ADAL" clId="{E4806A0B-DC8E-4AB6-B884-FF8A33E1EF07}" dt="2022-11-28T12:35:28.882" v="40" actId="1076"/>
          <ac:spMkLst>
            <pc:docMk/>
            <pc:sldMk cId="3669439568" sldId="259"/>
            <ac:spMk id="33" creationId="{F70A229F-DC26-4F27-9080-E76CB637F00C}"/>
          </ac:spMkLst>
        </pc:spChg>
        <pc:spChg chg="mod">
          <ac:chgData name="Nikolaj Godsk Vestergaard" userId="13f6e931-e8bb-4f58-9241-2f10614c3355" providerId="ADAL" clId="{E4806A0B-DC8E-4AB6-B884-FF8A33E1EF07}" dt="2022-11-28T12:35:28.882" v="40" actId="1076"/>
          <ac:spMkLst>
            <pc:docMk/>
            <pc:sldMk cId="3669439568" sldId="259"/>
            <ac:spMk id="34" creationId="{E1C44FA9-1994-4E77-8996-B6E40C4058C5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35" creationId="{EF2C861D-D9A1-4825-83C5-0F5EFB07F73E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36" creationId="{B20562EB-E505-4EA9-9BCF-37D4590C902B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37" creationId="{5F3F6FAA-3C03-4A5F-AAAE-497C4618EFD1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38" creationId="{7F9DACB4-0B94-4472-B627-ACE9FED261DC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39" creationId="{7BB94303-BC2A-43BC-A939-C4CB60E4C4E9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40" creationId="{C214571C-56A3-4C04-A483-D8E7C2B5E88F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41" creationId="{EF6D14B3-87C1-4885-A5D6-F29FED255E95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42" creationId="{978D7DD6-F00B-463B-87F1-330F991DB787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43" creationId="{C61C8AEB-51FF-40BE-8691-0CB957ECC753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45" creationId="{154BBBB0-23A4-4D0B-8B9C-2DDE257063D8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46" creationId="{F6753640-8B72-4C88-A719-3D11E873B564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48" creationId="{EC57255E-87C7-4556-8BE2-C05624E2AF57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49" creationId="{9AB3571A-F25B-4186-9988-1508F146CCA9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0" creationId="{118C1E74-9D45-4239-A520-38BDDCBA530E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1" creationId="{F3866FC9-0889-46C9-945D-6BBDC3E4B886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2" creationId="{9AA6CF04-0BC9-479A-91B1-32631F197678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3" creationId="{93B36B87-C362-49B2-AE33-DF3A69BF6FEC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4" creationId="{5232E626-21DC-46E2-8546-B3EC4B93DEB3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5" creationId="{37DFD3D7-1C45-4C53-9D97-B5748054A699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6" creationId="{C499AB88-10B4-445A-9C25-81CF10E12D3F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7" creationId="{7C8C8ACF-A9E7-44F8-B9B2-F986FFE927D4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8" creationId="{4666F59F-B50E-438F-83C8-A9A32DA9A0BC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59" creationId="{F03E59D6-68D4-4335-87BD-B6C0185CCA60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60" creationId="{46C7DACC-0742-4122-BBA8-DCB91932CBDA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61" creationId="{E3F87579-F460-4D58-B88B-C9A048BA465B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62" creationId="{AE301D7C-FC26-4EE6-9AB9-76FC64F4DAD2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63" creationId="{6FD28BB7-1233-454C-A358-3B547C2B893E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64" creationId="{E08738A7-C995-413A-B919-F70A0D341858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65" creationId="{A02D9596-A614-4DFE-A914-E51FDEA50659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66" creationId="{00FF19D6-5FC0-4321-BF5A-D7E353731F6A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67" creationId="{4A9F416A-81D9-4A56-86CD-9246A9BD1391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69" creationId="{8D5E07F0-FC5A-49DB-81F8-DEC0076730EA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70" creationId="{941A1965-8542-48FD-8AA5-A8B547BCC109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72" creationId="{21E7236C-28C6-45E6-8087-E74FA90C0FEB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73" creationId="{6FADD83F-EF24-4726-8620-1117DA45F1AF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74" creationId="{B1E98185-89CA-4D55-B39A-04132878AC19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75" creationId="{DD283939-C1C0-4D1F-AAA0-88CAF41FEDEF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76" creationId="{06CE7675-088B-4489-8D8A-D2CB49E3438B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77" creationId="{84C69326-5853-4DB0-8ECE-C2BFADAEEBDB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78" creationId="{64824167-785B-42AC-AF3A-07701DC3DBC0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79" creationId="{C25C191E-054A-4752-BCEC-289694B81E61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80" creationId="{64B367B7-53BB-4289-B50D-91C9FF246B1B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81" creationId="{9EAD00EF-0FD0-4066-B32C-1547289EEC60}"/>
          </ac:spMkLst>
        </pc:spChg>
        <pc:spChg chg="mod">
          <ac:chgData name="Nikolaj Godsk Vestergaard" userId="13f6e931-e8bb-4f58-9241-2f10614c3355" providerId="ADAL" clId="{E4806A0B-DC8E-4AB6-B884-FF8A33E1EF07}" dt="2022-11-28T12:35:14.557" v="39"/>
          <ac:spMkLst>
            <pc:docMk/>
            <pc:sldMk cId="3669439568" sldId="259"/>
            <ac:spMk id="82" creationId="{A63ED111-8531-401B-A979-97DC3C562BC9}"/>
          </ac:spMkLst>
        </pc:spChg>
        <pc:spChg chg="add mod">
          <ac:chgData name="Nikolaj Godsk Vestergaard" userId="13f6e931-e8bb-4f58-9241-2f10614c3355" providerId="ADAL" clId="{E4806A0B-DC8E-4AB6-B884-FF8A33E1EF07}" dt="2022-11-28T15:38:50.627" v="8406"/>
          <ac:spMkLst>
            <pc:docMk/>
            <pc:sldMk cId="3669439568" sldId="259"/>
            <ac:spMk id="83" creationId="{213097FB-BA19-4D9F-96C6-9321049BB655}"/>
          </ac:spMkLst>
        </pc:spChg>
        <pc:grpChg chg="add mod">
          <ac:chgData name="Nikolaj Godsk Vestergaard" userId="13f6e931-e8bb-4f58-9241-2f10614c3355" providerId="ADAL" clId="{E4806A0B-DC8E-4AB6-B884-FF8A33E1EF07}" dt="2022-11-28T12:35:14.557" v="39"/>
          <ac:grpSpMkLst>
            <pc:docMk/>
            <pc:sldMk cId="3669439568" sldId="259"/>
            <ac:grpSpMk id="14" creationId="{FC2398FE-2C9F-4FCA-B793-8F8D84DE6682}"/>
          </ac:grpSpMkLst>
        </pc:grpChg>
        <pc:grpChg chg="mod">
          <ac:chgData name="Nikolaj Godsk Vestergaard" userId="13f6e931-e8bb-4f58-9241-2f10614c3355" providerId="ADAL" clId="{E4806A0B-DC8E-4AB6-B884-FF8A33E1EF07}" dt="2022-11-28T12:35:14.557" v="39"/>
          <ac:grpSpMkLst>
            <pc:docMk/>
            <pc:sldMk cId="3669439568" sldId="259"/>
            <ac:grpSpMk id="44" creationId="{BB9E6F66-9E0A-4940-9875-1E5B4C9F8699}"/>
          </ac:grpSpMkLst>
        </pc:grpChg>
        <pc:grpChg chg="mod">
          <ac:chgData name="Nikolaj Godsk Vestergaard" userId="13f6e931-e8bb-4f58-9241-2f10614c3355" providerId="ADAL" clId="{E4806A0B-DC8E-4AB6-B884-FF8A33E1EF07}" dt="2022-11-28T12:35:14.557" v="39"/>
          <ac:grpSpMkLst>
            <pc:docMk/>
            <pc:sldMk cId="3669439568" sldId="259"/>
            <ac:grpSpMk id="47" creationId="{CD30EE38-2FE4-474E-895F-B06B08EDBBF8}"/>
          </ac:grpSpMkLst>
        </pc:grpChg>
        <pc:grpChg chg="mod">
          <ac:chgData name="Nikolaj Godsk Vestergaard" userId="13f6e931-e8bb-4f58-9241-2f10614c3355" providerId="ADAL" clId="{E4806A0B-DC8E-4AB6-B884-FF8A33E1EF07}" dt="2022-11-28T12:35:14.557" v="39"/>
          <ac:grpSpMkLst>
            <pc:docMk/>
            <pc:sldMk cId="3669439568" sldId="259"/>
            <ac:grpSpMk id="68" creationId="{92ED82A6-3A3E-404A-A61E-72FFF9E6C63C}"/>
          </ac:grpSpMkLst>
        </pc:grpChg>
        <pc:grpChg chg="mod">
          <ac:chgData name="Nikolaj Godsk Vestergaard" userId="13f6e931-e8bb-4f58-9241-2f10614c3355" providerId="ADAL" clId="{E4806A0B-DC8E-4AB6-B884-FF8A33E1EF07}" dt="2022-11-28T12:35:14.557" v="39"/>
          <ac:grpSpMkLst>
            <pc:docMk/>
            <pc:sldMk cId="3669439568" sldId="259"/>
            <ac:grpSpMk id="71" creationId="{EFE1EC99-07CC-4023-9A86-595921094D3D}"/>
          </ac:grpSpMkLst>
        </pc:grpChg>
      </pc:sldChg>
      <pc:sldChg chg="addSp delSp modSp mod addCm delCm">
        <pc:chgData name="Nikolaj Godsk Vestergaard" userId="13f6e931-e8bb-4f58-9241-2f10614c3355" providerId="ADAL" clId="{E4806A0B-DC8E-4AB6-B884-FF8A33E1EF07}" dt="2022-12-05T07:30:30.828" v="16332"/>
        <pc:sldMkLst>
          <pc:docMk/>
          <pc:sldMk cId="3124793191" sldId="260"/>
        </pc:sldMkLst>
        <pc:spChg chg="del mod">
          <ac:chgData name="Nikolaj Godsk Vestergaard" userId="13f6e931-e8bb-4f58-9241-2f10614c3355" providerId="ADAL" clId="{E4806A0B-DC8E-4AB6-B884-FF8A33E1EF07}" dt="2022-11-28T12:53:56.875" v="1217" actId="478"/>
          <ac:spMkLst>
            <pc:docMk/>
            <pc:sldMk cId="3124793191" sldId="260"/>
            <ac:spMk id="2" creationId="{58C5EFC2-2BD4-42D1-8904-DF730C9CC9D8}"/>
          </ac:spMkLst>
        </pc:spChg>
        <pc:spChg chg="add del mod ord">
          <ac:chgData name="Nikolaj Godsk Vestergaard" userId="13f6e931-e8bb-4f58-9241-2f10614c3355" providerId="ADAL" clId="{E4806A0B-DC8E-4AB6-B884-FF8A33E1EF07}" dt="2022-12-02T08:46:01.893" v="11052" actId="20577"/>
          <ac:spMkLst>
            <pc:docMk/>
            <pc:sldMk cId="3124793191" sldId="260"/>
            <ac:spMk id="3" creationId="{ECA3CD0C-71D1-440B-AD13-9AB9D8EB8AF9}"/>
          </ac:spMkLst>
        </pc:spChg>
        <pc:spChg chg="mod ord">
          <ac:chgData name="Nikolaj Godsk Vestergaard" userId="13f6e931-e8bb-4f58-9241-2f10614c3355" providerId="ADAL" clId="{E4806A0B-DC8E-4AB6-B884-FF8A33E1EF07}" dt="2022-11-28T12:57:35.629" v="1276"/>
          <ac:spMkLst>
            <pc:docMk/>
            <pc:sldMk cId="3124793191" sldId="260"/>
            <ac:spMk id="4" creationId="{030F7ECF-648C-443F-A3EF-90BDF59A0D1C}"/>
          </ac:spMkLst>
        </pc:spChg>
        <pc:spChg chg="add mod ord">
          <ac:chgData name="Nikolaj Godsk Vestergaard" userId="13f6e931-e8bb-4f58-9241-2f10614c3355" providerId="ADAL" clId="{E4806A0B-DC8E-4AB6-B884-FF8A33E1EF07}" dt="2022-11-28T12:57:35.629" v="1278"/>
          <ac:spMkLst>
            <pc:docMk/>
            <pc:sldMk cId="3124793191" sldId="260"/>
            <ac:spMk id="6" creationId="{14345E59-5C89-4E3B-A220-78A2E6BF2704}"/>
          </ac:spMkLst>
        </pc:spChg>
        <pc:spChg chg="add del mod">
          <ac:chgData name="Nikolaj Godsk Vestergaard" userId="13f6e931-e8bb-4f58-9241-2f10614c3355" providerId="ADAL" clId="{E4806A0B-DC8E-4AB6-B884-FF8A33E1EF07}" dt="2022-11-28T12:53:58.333" v="1221" actId="478"/>
          <ac:spMkLst>
            <pc:docMk/>
            <pc:sldMk cId="3124793191" sldId="260"/>
            <ac:spMk id="8" creationId="{163DDE36-D05F-4391-950C-BC1237381EED}"/>
          </ac:spMkLst>
        </pc:spChg>
        <pc:spChg chg="add mod ord">
          <ac:chgData name="Nikolaj Godsk Vestergaard" userId="13f6e931-e8bb-4f58-9241-2f10614c3355" providerId="ADAL" clId="{E4806A0B-DC8E-4AB6-B884-FF8A33E1EF07}" dt="2022-11-28T13:04:40.767" v="1489" actId="1076"/>
          <ac:spMkLst>
            <pc:docMk/>
            <pc:sldMk cId="3124793191" sldId="260"/>
            <ac:spMk id="9" creationId="{80C266BD-9A6D-4C18-BDE0-59DCB7AB8719}"/>
          </ac:spMkLst>
        </pc:spChg>
        <pc:spChg chg="add mod">
          <ac:chgData name="Nikolaj Godsk Vestergaard" userId="13f6e931-e8bb-4f58-9241-2f10614c3355" providerId="ADAL" clId="{E4806A0B-DC8E-4AB6-B884-FF8A33E1EF07}" dt="2022-11-28T13:06:41.775" v="1512" actId="1076"/>
          <ac:spMkLst>
            <pc:docMk/>
            <pc:sldMk cId="3124793191" sldId="260"/>
            <ac:spMk id="10" creationId="{6DEEE237-3A93-4859-A4EF-118456323F13}"/>
          </ac:spMkLst>
        </pc:spChg>
        <pc:spChg chg="add del mod">
          <ac:chgData name="Nikolaj Godsk Vestergaard" userId="13f6e931-e8bb-4f58-9241-2f10614c3355" providerId="ADAL" clId="{E4806A0B-DC8E-4AB6-B884-FF8A33E1EF07}" dt="2022-11-28T13:01:21.885" v="1412" actId="478"/>
          <ac:spMkLst>
            <pc:docMk/>
            <pc:sldMk cId="3124793191" sldId="260"/>
            <ac:spMk id="11" creationId="{5B28404D-37A6-4162-B873-EAFE84EC209F}"/>
          </ac:spMkLst>
        </pc:spChg>
        <pc:spChg chg="add mod">
          <ac:chgData name="Nikolaj Godsk Vestergaard" userId="13f6e931-e8bb-4f58-9241-2f10614c3355" providerId="ADAL" clId="{E4806A0B-DC8E-4AB6-B884-FF8A33E1EF07}" dt="2022-12-02T12:02:37.253" v="13688" actId="20577"/>
          <ac:spMkLst>
            <pc:docMk/>
            <pc:sldMk cId="3124793191" sldId="260"/>
            <ac:spMk id="12" creationId="{FB3CD0CC-71D0-4A1F-8201-11AB9CBD902A}"/>
          </ac:spMkLst>
        </pc:spChg>
        <pc:spChg chg="add del mod">
          <ac:chgData name="Nikolaj Godsk Vestergaard" userId="13f6e931-e8bb-4f58-9241-2f10614c3355" providerId="ADAL" clId="{E4806A0B-DC8E-4AB6-B884-FF8A33E1EF07}" dt="2022-11-28T13:04:18.880" v="1483" actId="21"/>
          <ac:spMkLst>
            <pc:docMk/>
            <pc:sldMk cId="3124793191" sldId="260"/>
            <ac:spMk id="14" creationId="{B125E1A1-5A1F-498C-BE76-F803476C2100}"/>
          </ac:spMkLst>
        </pc:spChg>
        <pc:graphicFrameChg chg="add del mod">
          <ac:chgData name="Nikolaj Godsk Vestergaard" userId="13f6e931-e8bb-4f58-9241-2f10614c3355" providerId="ADAL" clId="{E4806A0B-DC8E-4AB6-B884-FF8A33E1EF07}" dt="2022-12-02T08:32:50.881" v="10379"/>
          <ac:graphicFrameMkLst>
            <pc:docMk/>
            <pc:sldMk cId="3124793191" sldId="260"/>
            <ac:graphicFrameMk id="2" creationId="{3C0EAC1C-89BD-4BB4-A1E5-ABE879E1727E}"/>
          </ac:graphicFrameMkLst>
        </pc:graphicFrameChg>
        <pc:graphicFrameChg chg="mod">
          <ac:chgData name="Nikolaj Godsk Vestergaard" userId="13f6e931-e8bb-4f58-9241-2f10614c3355" providerId="ADAL" clId="{E4806A0B-DC8E-4AB6-B884-FF8A33E1EF07}" dt="2022-11-28T12:57:35.631" v="1283"/>
          <ac:graphicFrameMkLst>
            <pc:docMk/>
            <pc:sldMk cId="3124793191" sldId="260"/>
            <ac:graphicFrameMk id="5" creationId="{FF9EB22E-0D38-4019-97A5-EE1BAE50FB77}"/>
          </ac:graphicFrameMkLst>
        </pc:graphicFrameChg>
      </pc:sldChg>
      <pc:sldChg chg="addSp delSp modSp mod modClrScheme delCm chgLayout">
        <pc:chgData name="Nikolaj Godsk Vestergaard" userId="13f6e931-e8bb-4f58-9241-2f10614c3355" providerId="ADAL" clId="{E4806A0B-DC8E-4AB6-B884-FF8A33E1EF07}" dt="2022-12-02T08:50:50.463" v="11083" actId="207"/>
        <pc:sldMkLst>
          <pc:docMk/>
          <pc:sldMk cId="2252367502" sldId="261"/>
        </pc:sldMkLst>
        <pc:spChg chg="mod ord">
          <ac:chgData name="Nikolaj Godsk Vestergaard" userId="13f6e931-e8bb-4f58-9241-2f10614c3355" providerId="ADAL" clId="{E4806A0B-DC8E-4AB6-B884-FF8A33E1EF07}" dt="2022-11-28T14:26:25.819" v="5183" actId="948"/>
          <ac:spMkLst>
            <pc:docMk/>
            <pc:sldMk cId="2252367502" sldId="261"/>
            <ac:spMk id="2" creationId="{0F8BF24F-A2E6-4CF6-8D40-59F7B68CAF25}"/>
          </ac:spMkLst>
        </pc:spChg>
        <pc:spChg chg="del">
          <ac:chgData name="Nikolaj Godsk Vestergaard" userId="13f6e931-e8bb-4f58-9241-2f10614c3355" providerId="ADAL" clId="{E4806A0B-DC8E-4AB6-B884-FF8A33E1EF07}" dt="2022-11-28T13:13:59.724" v="1614" actId="478"/>
          <ac:spMkLst>
            <pc:docMk/>
            <pc:sldMk cId="2252367502" sldId="261"/>
            <ac:spMk id="3" creationId="{1A3F0E2A-64CF-4D65-8BF2-55A15E8812B1}"/>
          </ac:spMkLst>
        </pc:spChg>
        <pc:spChg chg="add del mod modVis">
          <ac:chgData name="Nikolaj Godsk Vestergaard" userId="13f6e931-e8bb-4f58-9241-2f10614c3355" providerId="ADAL" clId="{E4806A0B-DC8E-4AB6-B884-FF8A33E1EF07}" dt="2022-11-28T14:26:15.140" v="5135"/>
          <ac:spMkLst>
            <pc:docMk/>
            <pc:sldMk cId="2252367502" sldId="261"/>
            <ac:spMk id="3" creationId="{4ADD514E-E465-4157-9C3A-4F4466701987}"/>
          </ac:spMkLst>
        </pc:spChg>
        <pc:spChg chg="mod ord">
          <ac:chgData name="Nikolaj Godsk Vestergaard" userId="13f6e931-e8bb-4f58-9241-2f10614c3355" providerId="ADAL" clId="{E4806A0B-DC8E-4AB6-B884-FF8A33E1EF07}" dt="2022-11-28T13:14:11.429" v="1619"/>
          <ac:spMkLst>
            <pc:docMk/>
            <pc:sldMk cId="2252367502" sldId="261"/>
            <ac:spMk id="4" creationId="{BEE9A4E6-2BCE-456F-81BF-9B495BB56FD8}"/>
          </ac:spMkLst>
        </pc:spChg>
        <pc:spChg chg="add del mod modVis">
          <ac:chgData name="Nikolaj Godsk Vestergaard" userId="13f6e931-e8bb-4f58-9241-2f10614c3355" providerId="ADAL" clId="{E4806A0B-DC8E-4AB6-B884-FF8A33E1EF07}" dt="2022-11-28T14:26:19.687" v="5179"/>
          <ac:spMkLst>
            <pc:docMk/>
            <pc:sldMk cId="2252367502" sldId="261"/>
            <ac:spMk id="5" creationId="{3DB28BCF-E336-4307-A318-D341272006AF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48" v="1143"/>
          <ac:spMkLst>
            <pc:docMk/>
            <pc:sldMk cId="2252367502" sldId="261"/>
            <ac:spMk id="5" creationId="{622BF7D2-F976-49BE-96AE-F1768C9BBB30}"/>
          </ac:spMkLst>
        </pc:spChg>
        <pc:spChg chg="add del mod modVis">
          <ac:chgData name="Nikolaj Godsk Vestergaard" userId="13f6e931-e8bb-4f58-9241-2f10614c3355" providerId="ADAL" clId="{E4806A0B-DC8E-4AB6-B884-FF8A33E1EF07}" dt="2022-11-28T14:26:25.861" v="5223"/>
          <ac:spMkLst>
            <pc:docMk/>
            <pc:sldMk cId="2252367502" sldId="261"/>
            <ac:spMk id="7" creationId="{2B2EB5D6-5B98-4C0B-9B8B-4F011CB8EFEC}"/>
          </ac:spMkLst>
        </pc:spChg>
        <pc:spChg chg="add del mod">
          <ac:chgData name="Nikolaj Godsk Vestergaard" userId="13f6e931-e8bb-4f58-9241-2f10614c3355" providerId="ADAL" clId="{E4806A0B-DC8E-4AB6-B884-FF8A33E1EF07}" dt="2022-11-28T13:14:01.223" v="1615" actId="478"/>
          <ac:spMkLst>
            <pc:docMk/>
            <pc:sldMk cId="2252367502" sldId="261"/>
            <ac:spMk id="8" creationId="{0DD034A0-6A65-4CBD-AE67-023729F1AAAD}"/>
          </ac:spMkLst>
        </pc:spChg>
        <pc:spChg chg="add mod topLvl">
          <ac:chgData name="Nikolaj Godsk Vestergaard" userId="13f6e931-e8bb-4f58-9241-2f10614c3355" providerId="ADAL" clId="{E4806A0B-DC8E-4AB6-B884-FF8A33E1EF07}" dt="2022-11-28T13:20:14.011" v="2642" actId="14100"/>
          <ac:spMkLst>
            <pc:docMk/>
            <pc:sldMk cId="2252367502" sldId="261"/>
            <ac:spMk id="9" creationId="{CD27C364-1006-4BD1-93FD-62B23AE10235}"/>
          </ac:spMkLst>
        </pc:spChg>
        <pc:spChg chg="add mod topLvl">
          <ac:chgData name="Nikolaj Godsk Vestergaard" userId="13f6e931-e8bb-4f58-9241-2f10614c3355" providerId="ADAL" clId="{E4806A0B-DC8E-4AB6-B884-FF8A33E1EF07}" dt="2022-11-28T13:18:25.055" v="2199" actId="164"/>
          <ac:spMkLst>
            <pc:docMk/>
            <pc:sldMk cId="2252367502" sldId="261"/>
            <ac:spMk id="10" creationId="{3BDFB0FE-7568-4F8F-ADA0-CE4044BDBB54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12" creationId="{9570C312-6B88-48CD-A300-71CD413B9E53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13" creationId="{79C070AA-8708-4DDD-81DF-948E3DD512B7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15" creationId="{173C4958-2B64-4AA9-BF17-7B6AE1D35553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16" creationId="{B50EB5FC-AA5F-46D1-B4FF-DD9E5B3ED018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18" creationId="{843BCE70-4665-452F-B47E-9F41364DB6C3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19" creationId="{9B7028AF-5DF3-45EC-9B74-D45172DDF787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20" creationId="{A25C5FE1-31C9-4BF1-9AAA-78F37A33F7E6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21" creationId="{DB1A4158-FD33-4134-8DE4-ED696C0794AC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23" creationId="{ED21A0EE-B272-4E49-89EA-1A78BBEAFFA8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24" creationId="{EF28BB0C-DAAA-4308-BE43-416DC5FD07F9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26" creationId="{1A0D553A-4821-42FC-9E2A-98EEA63B2CB3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27" creationId="{393FC0B6-6F49-4736-89F0-952823C1920B}"/>
          </ac:spMkLst>
        </pc:spChg>
        <pc:spChg chg="add mod topLvl">
          <ac:chgData name="Nikolaj Godsk Vestergaard" userId="13f6e931-e8bb-4f58-9241-2f10614c3355" providerId="ADAL" clId="{E4806A0B-DC8E-4AB6-B884-FF8A33E1EF07}" dt="2022-11-28T13:19:51.660" v="2638" actId="207"/>
          <ac:spMkLst>
            <pc:docMk/>
            <pc:sldMk cId="2252367502" sldId="261"/>
            <ac:spMk id="28" creationId="{473DDF33-1624-4DB0-B8E1-F5B29877E713}"/>
          </ac:spMkLst>
        </pc:spChg>
        <pc:spChg chg="add mod topLvl">
          <ac:chgData name="Nikolaj Godsk Vestergaard" userId="13f6e931-e8bb-4f58-9241-2f10614c3355" providerId="ADAL" clId="{E4806A0B-DC8E-4AB6-B884-FF8A33E1EF07}" dt="2022-11-28T13:19:51.660" v="2638" actId="207"/>
          <ac:spMkLst>
            <pc:docMk/>
            <pc:sldMk cId="2252367502" sldId="261"/>
            <ac:spMk id="29" creationId="{3CBB90B9-9698-4C5A-BB6F-0AD24E55B721}"/>
          </ac:spMkLst>
        </pc:spChg>
        <pc:spChg chg="add mod topLvl">
          <ac:chgData name="Nikolaj Godsk Vestergaard" userId="13f6e931-e8bb-4f58-9241-2f10614c3355" providerId="ADAL" clId="{E4806A0B-DC8E-4AB6-B884-FF8A33E1EF07}" dt="2022-11-28T13:19:51.660" v="2638" actId="207"/>
          <ac:spMkLst>
            <pc:docMk/>
            <pc:sldMk cId="2252367502" sldId="261"/>
            <ac:spMk id="30" creationId="{D78D5A1F-F327-4EFA-A88D-FFD87CAF07DD}"/>
          </ac:spMkLst>
        </pc:spChg>
        <pc:spChg chg="add mod topLvl">
          <ac:chgData name="Nikolaj Godsk Vestergaard" userId="13f6e931-e8bb-4f58-9241-2f10614c3355" providerId="ADAL" clId="{E4806A0B-DC8E-4AB6-B884-FF8A33E1EF07}" dt="2022-11-28T13:19:51.660" v="2638" actId="207"/>
          <ac:spMkLst>
            <pc:docMk/>
            <pc:sldMk cId="2252367502" sldId="261"/>
            <ac:spMk id="31" creationId="{ED4A5CF0-1DBF-47BD-9477-2737E04E1E9F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33" creationId="{3035D5E9-E439-4332-A684-059A0C0964D2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34" creationId="{F17ECFCF-5B0F-47A9-9CBC-91AFA549C1DD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36" creationId="{1F2F1022-4316-4FAF-9A85-277A32CBC616}"/>
          </ac:spMkLst>
        </pc:spChg>
        <pc:spChg chg="mod">
          <ac:chgData name="Nikolaj Godsk Vestergaard" userId="13f6e931-e8bb-4f58-9241-2f10614c3355" providerId="ADAL" clId="{E4806A0B-DC8E-4AB6-B884-FF8A33E1EF07}" dt="2022-11-28T13:17:51.390" v="2193" actId="165"/>
          <ac:spMkLst>
            <pc:docMk/>
            <pc:sldMk cId="2252367502" sldId="261"/>
            <ac:spMk id="37" creationId="{F6B60AB4-98C9-48F1-ADE4-22A30E71469E}"/>
          </ac:spMkLst>
        </pc:spChg>
        <pc:spChg chg="add mod topLvl">
          <ac:chgData name="Nikolaj Godsk Vestergaard" userId="13f6e931-e8bb-4f58-9241-2f10614c3355" providerId="ADAL" clId="{E4806A0B-DC8E-4AB6-B884-FF8A33E1EF07}" dt="2022-11-28T13:19:51.660" v="2638" actId="207"/>
          <ac:spMkLst>
            <pc:docMk/>
            <pc:sldMk cId="2252367502" sldId="261"/>
            <ac:spMk id="38" creationId="{5B184B53-0A2F-4D92-9F85-A469F256B9E0}"/>
          </ac:spMkLst>
        </pc:spChg>
        <pc:spChg chg="add mod topLvl">
          <ac:chgData name="Nikolaj Godsk Vestergaard" userId="13f6e931-e8bb-4f58-9241-2f10614c3355" providerId="ADAL" clId="{E4806A0B-DC8E-4AB6-B884-FF8A33E1EF07}" dt="2022-11-28T13:19:51.660" v="2638" actId="207"/>
          <ac:spMkLst>
            <pc:docMk/>
            <pc:sldMk cId="2252367502" sldId="261"/>
            <ac:spMk id="39" creationId="{A2F98CAF-C47C-4C0E-B627-544B5955740C}"/>
          </ac:spMkLst>
        </pc:spChg>
        <pc:spChg chg="add mod topLvl">
          <ac:chgData name="Nikolaj Godsk Vestergaard" userId="13f6e931-e8bb-4f58-9241-2f10614c3355" providerId="ADAL" clId="{E4806A0B-DC8E-4AB6-B884-FF8A33E1EF07}" dt="2022-11-28T13:19:51.660" v="2638" actId="207"/>
          <ac:spMkLst>
            <pc:docMk/>
            <pc:sldMk cId="2252367502" sldId="261"/>
            <ac:spMk id="40" creationId="{F526F96F-8860-4952-8146-9865DEE5CF51}"/>
          </ac:spMkLst>
        </pc:spChg>
        <pc:spChg chg="add mod topLvl">
          <ac:chgData name="Nikolaj Godsk Vestergaard" userId="13f6e931-e8bb-4f58-9241-2f10614c3355" providerId="ADAL" clId="{E4806A0B-DC8E-4AB6-B884-FF8A33E1EF07}" dt="2022-11-28T13:19:51.660" v="2638" actId="207"/>
          <ac:spMkLst>
            <pc:docMk/>
            <pc:sldMk cId="2252367502" sldId="261"/>
            <ac:spMk id="41" creationId="{21FC89C7-3117-43C7-9D80-A8032FCC9180}"/>
          </ac:spMkLst>
        </pc:spChg>
        <pc:spChg chg="add del mod ord">
          <ac:chgData name="Nikolaj Godsk Vestergaard" userId="13f6e931-e8bb-4f58-9241-2f10614c3355" providerId="ADAL" clId="{E4806A0B-DC8E-4AB6-B884-FF8A33E1EF07}" dt="2022-11-28T13:14:16.685" v="1620" actId="478"/>
          <ac:spMkLst>
            <pc:docMk/>
            <pc:sldMk cId="2252367502" sldId="261"/>
            <ac:spMk id="42" creationId="{0AF75A44-8B21-416E-9387-73A75212349A}"/>
          </ac:spMkLst>
        </pc:spChg>
        <pc:spChg chg="add del mod modVis">
          <ac:chgData name="Nikolaj Godsk Vestergaard" userId="13f6e931-e8bb-4f58-9241-2f10614c3355" providerId="ADAL" clId="{E4806A0B-DC8E-4AB6-B884-FF8A33E1EF07}" dt="2022-11-28T13:14:20.792" v="1662"/>
          <ac:spMkLst>
            <pc:docMk/>
            <pc:sldMk cId="2252367502" sldId="261"/>
            <ac:spMk id="43" creationId="{33CF20CE-0981-444E-9282-FA970BF01C53}"/>
          </ac:spMkLst>
        </pc:spChg>
        <pc:spChg chg="add del mod modVis">
          <ac:chgData name="Nikolaj Godsk Vestergaard" userId="13f6e931-e8bb-4f58-9241-2f10614c3355" providerId="ADAL" clId="{E4806A0B-DC8E-4AB6-B884-FF8A33E1EF07}" dt="2022-11-28T13:14:22.800" v="1706"/>
          <ac:spMkLst>
            <pc:docMk/>
            <pc:sldMk cId="2252367502" sldId="261"/>
            <ac:spMk id="44" creationId="{FEDACD29-10DA-407A-90A9-5FBAB4AFA496}"/>
          </ac:spMkLst>
        </pc:spChg>
        <pc:spChg chg="add del mod modVis">
          <ac:chgData name="Nikolaj Godsk Vestergaard" userId="13f6e931-e8bb-4f58-9241-2f10614c3355" providerId="ADAL" clId="{E4806A0B-DC8E-4AB6-B884-FF8A33E1EF07}" dt="2022-11-28T13:14:29.608" v="1755"/>
          <ac:spMkLst>
            <pc:docMk/>
            <pc:sldMk cId="2252367502" sldId="261"/>
            <ac:spMk id="45" creationId="{89BC5878-6BFB-4EA8-BD5E-57E5DE3B1D41}"/>
          </ac:spMkLst>
        </pc:spChg>
        <pc:spChg chg="add del mod modVis">
          <ac:chgData name="Nikolaj Godsk Vestergaard" userId="13f6e931-e8bb-4f58-9241-2f10614c3355" providerId="ADAL" clId="{E4806A0B-DC8E-4AB6-B884-FF8A33E1EF07}" dt="2022-11-28T13:14:38.487" v="1799"/>
          <ac:spMkLst>
            <pc:docMk/>
            <pc:sldMk cId="2252367502" sldId="261"/>
            <ac:spMk id="46" creationId="{07A092CC-DC89-4FA0-B4D2-72174031585D}"/>
          </ac:spMkLst>
        </pc:spChg>
        <pc:spChg chg="add del mod modVis">
          <ac:chgData name="Nikolaj Godsk Vestergaard" userId="13f6e931-e8bb-4f58-9241-2f10614c3355" providerId="ADAL" clId="{E4806A0B-DC8E-4AB6-B884-FF8A33E1EF07}" dt="2022-11-28T13:14:51.783" v="1843"/>
          <ac:spMkLst>
            <pc:docMk/>
            <pc:sldMk cId="2252367502" sldId="261"/>
            <ac:spMk id="47" creationId="{C2D2DC04-608E-4B0C-B62D-9EAB765B6F24}"/>
          </ac:spMkLst>
        </pc:spChg>
        <pc:spChg chg="add del mod modVis">
          <ac:chgData name="Nikolaj Godsk Vestergaard" userId="13f6e931-e8bb-4f58-9241-2f10614c3355" providerId="ADAL" clId="{E4806A0B-DC8E-4AB6-B884-FF8A33E1EF07}" dt="2022-11-28T13:14:55.253" v="1887"/>
          <ac:spMkLst>
            <pc:docMk/>
            <pc:sldMk cId="2252367502" sldId="261"/>
            <ac:spMk id="48" creationId="{035B6184-24D4-410B-A023-FC71EFDBED1E}"/>
          </ac:spMkLst>
        </pc:spChg>
        <pc:spChg chg="add del mod modVis">
          <ac:chgData name="Nikolaj Godsk Vestergaard" userId="13f6e931-e8bb-4f58-9241-2f10614c3355" providerId="ADAL" clId="{E4806A0B-DC8E-4AB6-B884-FF8A33E1EF07}" dt="2022-11-28T13:14:58.667" v="1931"/>
          <ac:spMkLst>
            <pc:docMk/>
            <pc:sldMk cId="2252367502" sldId="261"/>
            <ac:spMk id="49" creationId="{90948504-9051-4165-983C-A753EF732EC3}"/>
          </ac:spMkLst>
        </pc:spChg>
        <pc:spChg chg="add del mod modVis">
          <ac:chgData name="Nikolaj Godsk Vestergaard" userId="13f6e931-e8bb-4f58-9241-2f10614c3355" providerId="ADAL" clId="{E4806A0B-DC8E-4AB6-B884-FF8A33E1EF07}" dt="2022-11-28T13:18:59.723" v="2247"/>
          <ac:spMkLst>
            <pc:docMk/>
            <pc:sldMk cId="2252367502" sldId="261"/>
            <ac:spMk id="52" creationId="{6E090F09-0FAE-41F7-8BE0-53DC166410D2}"/>
          </ac:spMkLst>
        </pc:spChg>
        <pc:spChg chg="add del mod modVis">
          <ac:chgData name="Nikolaj Godsk Vestergaard" userId="13f6e931-e8bb-4f58-9241-2f10614c3355" providerId="ADAL" clId="{E4806A0B-DC8E-4AB6-B884-FF8A33E1EF07}" dt="2022-11-28T13:19:07.782" v="2291"/>
          <ac:spMkLst>
            <pc:docMk/>
            <pc:sldMk cId="2252367502" sldId="261"/>
            <ac:spMk id="53" creationId="{88587E21-EABE-4F8C-BA09-30A0FB8FD3E6}"/>
          </ac:spMkLst>
        </pc:spChg>
        <pc:spChg chg="add del mod modVis">
          <ac:chgData name="Nikolaj Godsk Vestergaard" userId="13f6e931-e8bb-4f58-9241-2f10614c3355" providerId="ADAL" clId="{E4806A0B-DC8E-4AB6-B884-FF8A33E1EF07}" dt="2022-11-28T13:19:09.047" v="2335"/>
          <ac:spMkLst>
            <pc:docMk/>
            <pc:sldMk cId="2252367502" sldId="261"/>
            <ac:spMk id="54" creationId="{0804C3F6-6FB4-4486-8E0B-F3692BB89120}"/>
          </ac:spMkLst>
        </pc:spChg>
        <pc:spChg chg="add del mod modVis">
          <ac:chgData name="Nikolaj Godsk Vestergaard" userId="13f6e931-e8bb-4f58-9241-2f10614c3355" providerId="ADAL" clId="{E4806A0B-DC8E-4AB6-B884-FF8A33E1EF07}" dt="2022-11-28T13:19:12.150" v="2379"/>
          <ac:spMkLst>
            <pc:docMk/>
            <pc:sldMk cId="2252367502" sldId="261"/>
            <ac:spMk id="55" creationId="{EA5EBD3C-114F-4528-B884-C23F155DF1F9}"/>
          </ac:spMkLst>
        </pc:spChg>
        <pc:spChg chg="add del mod modVis">
          <ac:chgData name="Nikolaj Godsk Vestergaard" userId="13f6e931-e8bb-4f58-9241-2f10614c3355" providerId="ADAL" clId="{E4806A0B-DC8E-4AB6-B884-FF8A33E1EF07}" dt="2022-11-28T13:19:14.758" v="2427"/>
          <ac:spMkLst>
            <pc:docMk/>
            <pc:sldMk cId="2252367502" sldId="261"/>
            <ac:spMk id="56" creationId="{1999CC09-A40A-48A5-A2E6-B2829E33ADE9}"/>
          </ac:spMkLst>
        </pc:spChg>
        <pc:spChg chg="add del mod modVis">
          <ac:chgData name="Nikolaj Godsk Vestergaard" userId="13f6e931-e8bb-4f58-9241-2f10614c3355" providerId="ADAL" clId="{E4806A0B-DC8E-4AB6-B884-FF8A33E1EF07}" dt="2022-11-28T13:19:15.834" v="2471"/>
          <ac:spMkLst>
            <pc:docMk/>
            <pc:sldMk cId="2252367502" sldId="261"/>
            <ac:spMk id="57" creationId="{16A24BB5-4F72-4971-8122-4906F7C60572}"/>
          </ac:spMkLst>
        </pc:spChg>
        <pc:spChg chg="add del mod modVis">
          <ac:chgData name="Nikolaj Godsk Vestergaard" userId="13f6e931-e8bb-4f58-9241-2f10614c3355" providerId="ADAL" clId="{E4806A0B-DC8E-4AB6-B884-FF8A33E1EF07}" dt="2022-11-28T13:19:18.787" v="2517"/>
          <ac:spMkLst>
            <pc:docMk/>
            <pc:sldMk cId="2252367502" sldId="261"/>
            <ac:spMk id="58" creationId="{776AE74E-FFF8-4451-A065-20957216CF51}"/>
          </ac:spMkLst>
        </pc:spChg>
        <pc:spChg chg="add del mod modVis">
          <ac:chgData name="Nikolaj Godsk Vestergaard" userId="13f6e931-e8bb-4f58-9241-2f10614c3355" providerId="ADAL" clId="{E4806A0B-DC8E-4AB6-B884-FF8A33E1EF07}" dt="2022-11-28T13:19:22.093" v="2579"/>
          <ac:spMkLst>
            <pc:docMk/>
            <pc:sldMk cId="2252367502" sldId="261"/>
            <ac:spMk id="59" creationId="{1DA511E1-41F9-4E2F-9EBF-CB05B50F4A21}"/>
          </ac:spMkLst>
        </pc:spChg>
        <pc:spChg chg="add del mod modVis">
          <ac:chgData name="Nikolaj Godsk Vestergaard" userId="13f6e931-e8bb-4f58-9241-2f10614c3355" providerId="ADAL" clId="{E4806A0B-DC8E-4AB6-B884-FF8A33E1EF07}" dt="2022-11-28T13:19:25.580" v="2635"/>
          <ac:spMkLst>
            <pc:docMk/>
            <pc:sldMk cId="2252367502" sldId="261"/>
            <ac:spMk id="60" creationId="{258B3D9E-8ED7-4D55-8B0C-35DF5C81FF94}"/>
          </ac:spMkLst>
        </pc:spChg>
        <pc:spChg chg="add mod">
          <ac:chgData name="Nikolaj Godsk Vestergaard" userId="13f6e931-e8bb-4f58-9241-2f10614c3355" providerId="ADAL" clId="{E4806A0B-DC8E-4AB6-B884-FF8A33E1EF07}" dt="2022-12-02T08:50:20.583" v="11081" actId="208"/>
          <ac:spMkLst>
            <pc:docMk/>
            <pc:sldMk cId="2252367502" sldId="261"/>
            <ac:spMk id="61" creationId="{A0847188-4BD8-41D7-8B7F-BF497BCF085B}"/>
          </ac:spMkLst>
        </pc:spChg>
        <pc:spChg chg="add mod">
          <ac:chgData name="Nikolaj Godsk Vestergaard" userId="13f6e931-e8bb-4f58-9241-2f10614c3355" providerId="ADAL" clId="{E4806A0B-DC8E-4AB6-B884-FF8A33E1EF07}" dt="2022-12-02T08:49:33.257" v="11074" actId="207"/>
          <ac:spMkLst>
            <pc:docMk/>
            <pc:sldMk cId="2252367502" sldId="261"/>
            <ac:spMk id="62" creationId="{0ED83F9C-CF9F-4638-92F2-3362079740F1}"/>
          </ac:spMkLst>
        </pc:spChg>
        <pc:spChg chg="add del mod">
          <ac:chgData name="Nikolaj Godsk Vestergaard" userId="13f6e931-e8bb-4f58-9241-2f10614c3355" providerId="ADAL" clId="{E4806A0B-DC8E-4AB6-B884-FF8A33E1EF07}" dt="2022-11-28T13:22:03.065" v="2670" actId="478"/>
          <ac:spMkLst>
            <pc:docMk/>
            <pc:sldMk cId="2252367502" sldId="261"/>
            <ac:spMk id="64" creationId="{2B23AE18-93A5-469F-AB4E-4C044195DDA1}"/>
          </ac:spMkLst>
        </pc:spChg>
        <pc:spChg chg="del mod">
          <ac:chgData name="Nikolaj Godsk Vestergaard" userId="13f6e931-e8bb-4f58-9241-2f10614c3355" providerId="ADAL" clId="{E4806A0B-DC8E-4AB6-B884-FF8A33E1EF07}" dt="2022-11-28T13:22:06.522" v="2671" actId="478"/>
          <ac:spMkLst>
            <pc:docMk/>
            <pc:sldMk cId="2252367502" sldId="261"/>
            <ac:spMk id="65" creationId="{2FD12A48-16C9-47F6-8BC3-DA4EF891C32D}"/>
          </ac:spMkLst>
        </pc:spChg>
        <pc:spChg chg="add del mod">
          <ac:chgData name="Nikolaj Godsk Vestergaard" userId="13f6e931-e8bb-4f58-9241-2f10614c3355" providerId="ADAL" clId="{E4806A0B-DC8E-4AB6-B884-FF8A33E1EF07}" dt="2022-11-28T13:22:27.807" v="2679" actId="478"/>
          <ac:spMkLst>
            <pc:docMk/>
            <pc:sldMk cId="2252367502" sldId="261"/>
            <ac:spMk id="67" creationId="{46D75256-49A2-40AD-A26A-69C6B81B26AF}"/>
          </ac:spMkLst>
        </pc:spChg>
        <pc:spChg chg="del mod">
          <ac:chgData name="Nikolaj Godsk Vestergaard" userId="13f6e931-e8bb-4f58-9241-2f10614c3355" providerId="ADAL" clId="{E4806A0B-DC8E-4AB6-B884-FF8A33E1EF07}" dt="2022-11-28T13:22:25.095" v="2676" actId="478"/>
          <ac:spMkLst>
            <pc:docMk/>
            <pc:sldMk cId="2252367502" sldId="261"/>
            <ac:spMk id="68" creationId="{8D68A5C2-F987-48A0-BE0F-0132EED376A4}"/>
          </ac:spMkLst>
        </pc:spChg>
        <pc:spChg chg="add del mod">
          <ac:chgData name="Nikolaj Godsk Vestergaard" userId="13f6e931-e8bb-4f58-9241-2f10614c3355" providerId="ADAL" clId="{E4806A0B-DC8E-4AB6-B884-FF8A33E1EF07}" dt="2022-11-28T13:22:52.787" v="2690" actId="478"/>
          <ac:spMkLst>
            <pc:docMk/>
            <pc:sldMk cId="2252367502" sldId="261"/>
            <ac:spMk id="70" creationId="{F4CD5D18-01F3-4309-866D-D5EDACD6DABF}"/>
          </ac:spMkLst>
        </pc:spChg>
        <pc:spChg chg="del mod">
          <ac:chgData name="Nikolaj Godsk Vestergaard" userId="13f6e931-e8bb-4f58-9241-2f10614c3355" providerId="ADAL" clId="{E4806A0B-DC8E-4AB6-B884-FF8A33E1EF07}" dt="2022-11-28T13:22:51.485" v="2689" actId="478"/>
          <ac:spMkLst>
            <pc:docMk/>
            <pc:sldMk cId="2252367502" sldId="261"/>
            <ac:spMk id="71" creationId="{97E457FA-1A99-4F4B-BC76-8DBC70E3AD38}"/>
          </ac:spMkLst>
        </pc:spChg>
        <pc:spChg chg="add del mod">
          <ac:chgData name="Nikolaj Godsk Vestergaard" userId="13f6e931-e8bb-4f58-9241-2f10614c3355" providerId="ADAL" clId="{E4806A0B-DC8E-4AB6-B884-FF8A33E1EF07}" dt="2022-11-28T13:22:58.278" v="2694" actId="478"/>
          <ac:spMkLst>
            <pc:docMk/>
            <pc:sldMk cId="2252367502" sldId="261"/>
            <ac:spMk id="72" creationId="{0C3325F5-B0B7-4265-B5AC-71FFD5EA65B9}"/>
          </ac:spMkLst>
        </pc:spChg>
        <pc:spChg chg="del mod">
          <ac:chgData name="Nikolaj Godsk Vestergaard" userId="13f6e931-e8bb-4f58-9241-2f10614c3355" providerId="ADAL" clId="{E4806A0B-DC8E-4AB6-B884-FF8A33E1EF07}" dt="2022-11-28T13:22:57.149" v="2693" actId="478"/>
          <ac:spMkLst>
            <pc:docMk/>
            <pc:sldMk cId="2252367502" sldId="261"/>
            <ac:spMk id="73" creationId="{8757ACE4-FA54-4F36-B434-CC2771AEAD4C}"/>
          </ac:spMkLst>
        </pc:spChg>
        <pc:spChg chg="add del mod">
          <ac:chgData name="Nikolaj Godsk Vestergaard" userId="13f6e931-e8bb-4f58-9241-2f10614c3355" providerId="ADAL" clId="{E4806A0B-DC8E-4AB6-B884-FF8A33E1EF07}" dt="2022-11-28T13:22:55.896" v="2692" actId="478"/>
          <ac:spMkLst>
            <pc:docMk/>
            <pc:sldMk cId="2252367502" sldId="261"/>
            <ac:spMk id="75" creationId="{612AA490-FF00-4DED-8AAA-17CDB8AA1305}"/>
          </ac:spMkLst>
        </pc:spChg>
        <pc:spChg chg="del mod">
          <ac:chgData name="Nikolaj Godsk Vestergaard" userId="13f6e931-e8bb-4f58-9241-2f10614c3355" providerId="ADAL" clId="{E4806A0B-DC8E-4AB6-B884-FF8A33E1EF07}" dt="2022-11-28T13:22:54.806" v="2691" actId="478"/>
          <ac:spMkLst>
            <pc:docMk/>
            <pc:sldMk cId="2252367502" sldId="261"/>
            <ac:spMk id="76" creationId="{482631BD-009E-404F-B4EF-497788071D57}"/>
          </ac:spMkLst>
        </pc:spChg>
        <pc:spChg chg="add del mod">
          <ac:chgData name="Nikolaj Godsk Vestergaard" userId="13f6e931-e8bb-4f58-9241-2f10614c3355" providerId="ADAL" clId="{E4806A0B-DC8E-4AB6-B884-FF8A33E1EF07}" dt="2022-11-28T13:22:47.667" v="2686" actId="478"/>
          <ac:spMkLst>
            <pc:docMk/>
            <pc:sldMk cId="2252367502" sldId="261"/>
            <ac:spMk id="78" creationId="{BC0AFF84-9B4C-4DCD-A822-80D6439A97E2}"/>
          </ac:spMkLst>
        </pc:spChg>
        <pc:spChg chg="del mod">
          <ac:chgData name="Nikolaj Godsk Vestergaard" userId="13f6e931-e8bb-4f58-9241-2f10614c3355" providerId="ADAL" clId="{E4806A0B-DC8E-4AB6-B884-FF8A33E1EF07}" dt="2022-11-28T13:22:49.024" v="2687" actId="478"/>
          <ac:spMkLst>
            <pc:docMk/>
            <pc:sldMk cId="2252367502" sldId="261"/>
            <ac:spMk id="79" creationId="{07F19E61-ADB3-49B8-A211-344DB13ADFBF}"/>
          </ac:spMkLst>
        </pc:spChg>
        <pc:spChg chg="add mod">
          <ac:chgData name="Nikolaj Godsk Vestergaard" userId="13f6e931-e8bb-4f58-9241-2f10614c3355" providerId="ADAL" clId="{E4806A0B-DC8E-4AB6-B884-FF8A33E1EF07}" dt="2022-12-02T08:48:35.754" v="11055" actId="207"/>
          <ac:spMkLst>
            <pc:docMk/>
            <pc:sldMk cId="2252367502" sldId="261"/>
            <ac:spMk id="80" creationId="{17655177-24ED-4058-A22E-48DDD5FD2E3B}"/>
          </ac:spMkLst>
        </pc:spChg>
        <pc:spChg chg="add mod">
          <ac:chgData name="Nikolaj Godsk Vestergaard" userId="13f6e931-e8bb-4f58-9241-2f10614c3355" providerId="ADAL" clId="{E4806A0B-DC8E-4AB6-B884-FF8A33E1EF07}" dt="2022-12-02T08:48:35.754" v="11055" actId="207"/>
          <ac:spMkLst>
            <pc:docMk/>
            <pc:sldMk cId="2252367502" sldId="261"/>
            <ac:spMk id="81" creationId="{95E848D7-5372-4A94-8CEC-EE9FFD3BBC38}"/>
          </ac:spMkLst>
        </pc:spChg>
        <pc:spChg chg="add mod">
          <ac:chgData name="Nikolaj Godsk Vestergaard" userId="13f6e931-e8bb-4f58-9241-2f10614c3355" providerId="ADAL" clId="{E4806A0B-DC8E-4AB6-B884-FF8A33E1EF07}" dt="2022-12-02T08:48:35.754" v="11055" actId="207"/>
          <ac:spMkLst>
            <pc:docMk/>
            <pc:sldMk cId="2252367502" sldId="261"/>
            <ac:spMk id="82" creationId="{16ED81DE-D146-4774-B6BD-0C906B7369B6}"/>
          </ac:spMkLst>
        </pc:spChg>
        <pc:spChg chg="add mod">
          <ac:chgData name="Nikolaj Godsk Vestergaard" userId="13f6e931-e8bb-4f58-9241-2f10614c3355" providerId="ADAL" clId="{E4806A0B-DC8E-4AB6-B884-FF8A33E1EF07}" dt="2022-12-02T08:48:35.754" v="11055" actId="207"/>
          <ac:spMkLst>
            <pc:docMk/>
            <pc:sldMk cId="2252367502" sldId="261"/>
            <ac:spMk id="83" creationId="{FF2A2D53-481A-457F-96D8-2FB205F2BD79}"/>
          </ac:spMkLst>
        </pc:spChg>
        <pc:spChg chg="add del mod">
          <ac:chgData name="Nikolaj Godsk Vestergaard" userId="13f6e931-e8bb-4f58-9241-2f10614c3355" providerId="ADAL" clId="{E4806A0B-DC8E-4AB6-B884-FF8A33E1EF07}" dt="2022-11-28T13:22:31.367" v="2681" actId="478"/>
          <ac:spMkLst>
            <pc:docMk/>
            <pc:sldMk cId="2252367502" sldId="261"/>
            <ac:spMk id="85" creationId="{888CB57D-2433-4EEA-98C8-17716C1F036A}"/>
          </ac:spMkLst>
        </pc:spChg>
        <pc:spChg chg="del mod">
          <ac:chgData name="Nikolaj Godsk Vestergaard" userId="13f6e931-e8bb-4f58-9241-2f10614c3355" providerId="ADAL" clId="{E4806A0B-DC8E-4AB6-B884-FF8A33E1EF07}" dt="2022-11-28T13:22:30.183" v="2680" actId="478"/>
          <ac:spMkLst>
            <pc:docMk/>
            <pc:sldMk cId="2252367502" sldId="261"/>
            <ac:spMk id="86" creationId="{FDA2DFE3-2E7C-4BE7-ACEA-CF627D2708C0}"/>
          </ac:spMkLst>
        </pc:spChg>
        <pc:spChg chg="del mod">
          <ac:chgData name="Nikolaj Godsk Vestergaard" userId="13f6e931-e8bb-4f58-9241-2f10614c3355" providerId="ADAL" clId="{E4806A0B-DC8E-4AB6-B884-FF8A33E1EF07}" dt="2022-11-28T13:23:00.903" v="2696" actId="478"/>
          <ac:spMkLst>
            <pc:docMk/>
            <pc:sldMk cId="2252367502" sldId="261"/>
            <ac:spMk id="88" creationId="{72BDA5E3-A739-4E6A-B602-A3DCAB2440D1}"/>
          </ac:spMkLst>
        </pc:spChg>
        <pc:spChg chg="add del mod">
          <ac:chgData name="Nikolaj Godsk Vestergaard" userId="13f6e931-e8bb-4f58-9241-2f10614c3355" providerId="ADAL" clId="{E4806A0B-DC8E-4AB6-B884-FF8A33E1EF07}" dt="2022-11-28T13:22:59.787" v="2695" actId="478"/>
          <ac:spMkLst>
            <pc:docMk/>
            <pc:sldMk cId="2252367502" sldId="261"/>
            <ac:spMk id="89" creationId="{952BDB88-B26C-4081-A9B5-18D5ABCDBE3C}"/>
          </ac:spMkLst>
        </pc:spChg>
        <pc:spChg chg="add mod">
          <ac:chgData name="Nikolaj Godsk Vestergaard" userId="13f6e931-e8bb-4f58-9241-2f10614c3355" providerId="ADAL" clId="{E4806A0B-DC8E-4AB6-B884-FF8A33E1EF07}" dt="2022-12-02T08:48:35.754" v="11055" actId="207"/>
          <ac:spMkLst>
            <pc:docMk/>
            <pc:sldMk cId="2252367502" sldId="261"/>
            <ac:spMk id="90" creationId="{55D1DC37-E35C-4B01-8328-505E53FAABBC}"/>
          </ac:spMkLst>
        </pc:spChg>
        <pc:spChg chg="add mod">
          <ac:chgData name="Nikolaj Godsk Vestergaard" userId="13f6e931-e8bb-4f58-9241-2f10614c3355" providerId="ADAL" clId="{E4806A0B-DC8E-4AB6-B884-FF8A33E1EF07}" dt="2022-12-02T08:48:35.754" v="11055" actId="207"/>
          <ac:spMkLst>
            <pc:docMk/>
            <pc:sldMk cId="2252367502" sldId="261"/>
            <ac:spMk id="91" creationId="{4E67B2EC-F97C-441D-A5A4-53738D3C680C}"/>
          </ac:spMkLst>
        </pc:spChg>
        <pc:spChg chg="add mod">
          <ac:chgData name="Nikolaj Godsk Vestergaard" userId="13f6e931-e8bb-4f58-9241-2f10614c3355" providerId="ADAL" clId="{E4806A0B-DC8E-4AB6-B884-FF8A33E1EF07}" dt="2022-12-02T08:50:50.463" v="11083" actId="207"/>
          <ac:spMkLst>
            <pc:docMk/>
            <pc:sldMk cId="2252367502" sldId="261"/>
            <ac:spMk id="92" creationId="{D815FDFC-BAAF-487D-9920-F395620678C7}"/>
          </ac:spMkLst>
        </pc:spChg>
        <pc:spChg chg="add mod">
          <ac:chgData name="Nikolaj Godsk Vestergaard" userId="13f6e931-e8bb-4f58-9241-2f10614c3355" providerId="ADAL" clId="{E4806A0B-DC8E-4AB6-B884-FF8A33E1EF07}" dt="2022-12-02T08:48:35.754" v="11055" actId="207"/>
          <ac:spMkLst>
            <pc:docMk/>
            <pc:sldMk cId="2252367502" sldId="261"/>
            <ac:spMk id="93" creationId="{29A583BF-D940-40B1-A6FA-C775E7BB420B}"/>
          </ac:spMkLst>
        </pc:spChg>
        <pc:spChg chg="add del mod">
          <ac:chgData name="Nikolaj Godsk Vestergaard" userId="13f6e931-e8bb-4f58-9241-2f10614c3355" providerId="ADAL" clId="{E4806A0B-DC8E-4AB6-B884-FF8A33E1EF07}" dt="2022-11-28T13:22:13.241" v="2673"/>
          <ac:spMkLst>
            <pc:docMk/>
            <pc:sldMk cId="2252367502" sldId="261"/>
            <ac:spMk id="95" creationId="{B2AA24C1-DA49-424F-B1AA-3FE40972BCC6}"/>
          </ac:spMkLst>
        </pc:spChg>
        <pc:spChg chg="mod">
          <ac:chgData name="Nikolaj Godsk Vestergaard" userId="13f6e931-e8bb-4f58-9241-2f10614c3355" providerId="ADAL" clId="{E4806A0B-DC8E-4AB6-B884-FF8A33E1EF07}" dt="2022-12-02T08:48:52.966" v="11059" actId="207"/>
          <ac:spMkLst>
            <pc:docMk/>
            <pc:sldMk cId="2252367502" sldId="261"/>
            <ac:spMk id="97" creationId="{D7740C44-6C64-468A-B69B-7FF23D8CE403}"/>
          </ac:spMkLst>
        </pc:spChg>
        <pc:spChg chg="mod">
          <ac:chgData name="Nikolaj Godsk Vestergaard" userId="13f6e931-e8bb-4f58-9241-2f10614c3355" providerId="ADAL" clId="{E4806A0B-DC8E-4AB6-B884-FF8A33E1EF07}" dt="2022-11-28T13:22:19.215" v="2674"/>
          <ac:spMkLst>
            <pc:docMk/>
            <pc:sldMk cId="2252367502" sldId="261"/>
            <ac:spMk id="98" creationId="{FE4F233C-0D43-433B-A7DF-089AC898059C}"/>
          </ac:spMkLst>
        </pc:spChg>
        <pc:spChg chg="mod">
          <ac:chgData name="Nikolaj Godsk Vestergaard" userId="13f6e931-e8bb-4f58-9241-2f10614c3355" providerId="ADAL" clId="{E4806A0B-DC8E-4AB6-B884-FF8A33E1EF07}" dt="2022-12-02T08:48:49.891" v="11058" actId="207"/>
          <ac:spMkLst>
            <pc:docMk/>
            <pc:sldMk cId="2252367502" sldId="261"/>
            <ac:spMk id="100" creationId="{0100D177-5B1A-4C50-988A-4C572AC55682}"/>
          </ac:spMkLst>
        </pc:spChg>
        <pc:spChg chg="mod">
          <ac:chgData name="Nikolaj Godsk Vestergaard" userId="13f6e931-e8bb-4f58-9241-2f10614c3355" providerId="ADAL" clId="{E4806A0B-DC8E-4AB6-B884-FF8A33E1EF07}" dt="2022-11-28T13:23:18.825" v="2703" actId="20577"/>
          <ac:spMkLst>
            <pc:docMk/>
            <pc:sldMk cId="2252367502" sldId="261"/>
            <ac:spMk id="101" creationId="{6A420C25-9F87-4EAE-8651-FCCF01F94B30}"/>
          </ac:spMkLst>
        </pc:spChg>
        <pc:spChg chg="mod">
          <ac:chgData name="Nikolaj Godsk Vestergaard" userId="13f6e931-e8bb-4f58-9241-2f10614c3355" providerId="ADAL" clId="{E4806A0B-DC8E-4AB6-B884-FF8A33E1EF07}" dt="2022-11-28T13:26:34.282" v="2736" actId="207"/>
          <ac:spMkLst>
            <pc:docMk/>
            <pc:sldMk cId="2252367502" sldId="261"/>
            <ac:spMk id="103" creationId="{B79AFCC9-18AA-4BCF-9B50-418FC71DC38C}"/>
          </ac:spMkLst>
        </pc:spChg>
        <pc:spChg chg="mod">
          <ac:chgData name="Nikolaj Godsk Vestergaard" userId="13f6e931-e8bb-4f58-9241-2f10614c3355" providerId="ADAL" clId="{E4806A0B-DC8E-4AB6-B884-FF8A33E1EF07}" dt="2022-11-28T13:23:29.838" v="2705" actId="197"/>
          <ac:spMkLst>
            <pc:docMk/>
            <pc:sldMk cId="2252367502" sldId="261"/>
            <ac:spMk id="104" creationId="{0C18BD28-1A5A-4A1D-AB2A-BCF34E18C9BB}"/>
          </ac:spMkLst>
        </pc:spChg>
        <pc:spChg chg="mod">
          <ac:chgData name="Nikolaj Godsk Vestergaard" userId="13f6e931-e8bb-4f58-9241-2f10614c3355" providerId="ADAL" clId="{E4806A0B-DC8E-4AB6-B884-FF8A33E1EF07}" dt="2022-12-02T08:48:55.632" v="11060" actId="207"/>
          <ac:spMkLst>
            <pc:docMk/>
            <pc:sldMk cId="2252367502" sldId="261"/>
            <ac:spMk id="106" creationId="{BCE3CAC2-014D-401E-AD69-6454B57B91F1}"/>
          </ac:spMkLst>
        </pc:spChg>
        <pc:spChg chg="mod">
          <ac:chgData name="Nikolaj Godsk Vestergaard" userId="13f6e931-e8bb-4f58-9241-2f10614c3355" providerId="ADAL" clId="{E4806A0B-DC8E-4AB6-B884-FF8A33E1EF07}" dt="2022-11-28T13:24:09.802" v="2711" actId="20577"/>
          <ac:spMkLst>
            <pc:docMk/>
            <pc:sldMk cId="2252367502" sldId="261"/>
            <ac:spMk id="107" creationId="{79EB719F-F525-41AC-BE9F-EA09E8D0A934}"/>
          </ac:spMkLst>
        </pc:spChg>
        <pc:spChg chg="mod">
          <ac:chgData name="Nikolaj Godsk Vestergaard" userId="13f6e931-e8bb-4f58-9241-2f10614c3355" providerId="ADAL" clId="{E4806A0B-DC8E-4AB6-B884-FF8A33E1EF07}" dt="2022-12-02T08:48:59.996" v="11062" actId="207"/>
          <ac:spMkLst>
            <pc:docMk/>
            <pc:sldMk cId="2252367502" sldId="261"/>
            <ac:spMk id="109" creationId="{5C69A71A-0EEB-467A-B370-DC147B2ECC22}"/>
          </ac:spMkLst>
        </pc:spChg>
        <pc:spChg chg="mod">
          <ac:chgData name="Nikolaj Godsk Vestergaard" userId="13f6e931-e8bb-4f58-9241-2f10614c3355" providerId="ADAL" clId="{E4806A0B-DC8E-4AB6-B884-FF8A33E1EF07}" dt="2022-11-28T13:24:15.201" v="2713" actId="20577"/>
          <ac:spMkLst>
            <pc:docMk/>
            <pc:sldMk cId="2252367502" sldId="261"/>
            <ac:spMk id="110" creationId="{78D77956-935A-4E63-A6B6-685943E47752}"/>
          </ac:spMkLst>
        </pc:spChg>
        <pc:spChg chg="mod">
          <ac:chgData name="Nikolaj Godsk Vestergaard" userId="13f6e931-e8bb-4f58-9241-2f10614c3355" providerId="ADAL" clId="{E4806A0B-DC8E-4AB6-B884-FF8A33E1EF07}" dt="2022-12-02T08:49:04.722" v="11064" actId="207"/>
          <ac:spMkLst>
            <pc:docMk/>
            <pc:sldMk cId="2252367502" sldId="261"/>
            <ac:spMk id="112" creationId="{2BF0CFD7-A748-42C9-9535-49457A47DB78}"/>
          </ac:spMkLst>
        </pc:spChg>
        <pc:spChg chg="mod">
          <ac:chgData name="Nikolaj Godsk Vestergaard" userId="13f6e931-e8bb-4f58-9241-2f10614c3355" providerId="ADAL" clId="{E4806A0B-DC8E-4AB6-B884-FF8A33E1EF07}" dt="2022-11-28T13:24:20.230" v="2717" actId="20577"/>
          <ac:spMkLst>
            <pc:docMk/>
            <pc:sldMk cId="2252367502" sldId="261"/>
            <ac:spMk id="113" creationId="{BB6D69D4-AD05-4067-9BA7-5C4033439DF6}"/>
          </ac:spMkLst>
        </pc:spChg>
        <pc:spChg chg="mod">
          <ac:chgData name="Nikolaj Godsk Vestergaard" userId="13f6e931-e8bb-4f58-9241-2f10614c3355" providerId="ADAL" clId="{E4806A0B-DC8E-4AB6-B884-FF8A33E1EF07}" dt="2022-12-02T08:48:58.009" v="11061" actId="207"/>
          <ac:spMkLst>
            <pc:docMk/>
            <pc:sldMk cId="2252367502" sldId="261"/>
            <ac:spMk id="115" creationId="{82A2C29C-8068-46FA-B350-8E01764A1188}"/>
          </ac:spMkLst>
        </pc:spChg>
        <pc:spChg chg="mod">
          <ac:chgData name="Nikolaj Godsk Vestergaard" userId="13f6e931-e8bb-4f58-9241-2f10614c3355" providerId="ADAL" clId="{E4806A0B-DC8E-4AB6-B884-FF8A33E1EF07}" dt="2022-11-28T13:24:12.354" v="2712" actId="20577"/>
          <ac:spMkLst>
            <pc:docMk/>
            <pc:sldMk cId="2252367502" sldId="261"/>
            <ac:spMk id="116" creationId="{B7ACCD73-2A4E-48CF-A86C-A5B1956AEA2D}"/>
          </ac:spMkLst>
        </pc:spChg>
        <pc:spChg chg="mod">
          <ac:chgData name="Nikolaj Godsk Vestergaard" userId="13f6e931-e8bb-4f58-9241-2f10614c3355" providerId="ADAL" clId="{E4806A0B-DC8E-4AB6-B884-FF8A33E1EF07}" dt="2022-12-02T08:49:02.113" v="11063" actId="207"/>
          <ac:spMkLst>
            <pc:docMk/>
            <pc:sldMk cId="2252367502" sldId="261"/>
            <ac:spMk id="118" creationId="{5CAD4682-2B7C-44F2-9320-8DBE0294A856}"/>
          </ac:spMkLst>
        </pc:spChg>
        <pc:spChg chg="mod">
          <ac:chgData name="Nikolaj Godsk Vestergaard" userId="13f6e931-e8bb-4f58-9241-2f10614c3355" providerId="ADAL" clId="{E4806A0B-DC8E-4AB6-B884-FF8A33E1EF07}" dt="2022-11-28T13:24:17.954" v="2715" actId="20577"/>
          <ac:spMkLst>
            <pc:docMk/>
            <pc:sldMk cId="2252367502" sldId="261"/>
            <ac:spMk id="119" creationId="{8FE713B4-2CEA-4614-BC9A-286BA35F9D91}"/>
          </ac:spMkLst>
        </pc:spChg>
        <pc:spChg chg="add del mod modVis">
          <ac:chgData name="Nikolaj Godsk Vestergaard" userId="13f6e931-e8bb-4f58-9241-2f10614c3355" providerId="ADAL" clId="{E4806A0B-DC8E-4AB6-B884-FF8A33E1EF07}" dt="2022-11-28T13:31:43.831" v="2837"/>
          <ac:spMkLst>
            <pc:docMk/>
            <pc:sldMk cId="2252367502" sldId="261"/>
            <ac:spMk id="120" creationId="{D1CB3849-9BE8-4D79-8678-EECADBE28A09}"/>
          </ac:spMkLst>
        </pc:spChg>
        <pc:grpChg chg="add mod topLvl">
          <ac:chgData name="Nikolaj Godsk Vestergaard" userId="13f6e931-e8bb-4f58-9241-2f10614c3355" providerId="ADAL" clId="{E4806A0B-DC8E-4AB6-B884-FF8A33E1EF07}" dt="2022-11-28T13:18:25.055" v="2199" actId="164"/>
          <ac:grpSpMkLst>
            <pc:docMk/>
            <pc:sldMk cId="2252367502" sldId="261"/>
            <ac:grpSpMk id="11" creationId="{CE27299E-5054-4550-964E-6E2FB375009B}"/>
          </ac:grpSpMkLst>
        </pc:grpChg>
        <pc:grpChg chg="add mod topLvl">
          <ac:chgData name="Nikolaj Godsk Vestergaard" userId="13f6e931-e8bb-4f58-9241-2f10614c3355" providerId="ADAL" clId="{E4806A0B-DC8E-4AB6-B884-FF8A33E1EF07}" dt="2022-11-28T13:18:25.055" v="2199" actId="164"/>
          <ac:grpSpMkLst>
            <pc:docMk/>
            <pc:sldMk cId="2252367502" sldId="261"/>
            <ac:grpSpMk id="14" creationId="{D0F57833-23AE-42EB-A4C4-F55B4C36D8B6}"/>
          </ac:grpSpMkLst>
        </pc:grpChg>
        <pc:grpChg chg="add mod topLvl">
          <ac:chgData name="Nikolaj Godsk Vestergaard" userId="13f6e931-e8bb-4f58-9241-2f10614c3355" providerId="ADAL" clId="{E4806A0B-DC8E-4AB6-B884-FF8A33E1EF07}" dt="2022-11-28T13:18:25.055" v="2199" actId="164"/>
          <ac:grpSpMkLst>
            <pc:docMk/>
            <pc:sldMk cId="2252367502" sldId="261"/>
            <ac:grpSpMk id="17" creationId="{C6C98A97-EA20-4339-B041-EDFD191F24C3}"/>
          </ac:grpSpMkLst>
        </pc:grpChg>
        <pc:grpChg chg="add mod topLvl">
          <ac:chgData name="Nikolaj Godsk Vestergaard" userId="13f6e931-e8bb-4f58-9241-2f10614c3355" providerId="ADAL" clId="{E4806A0B-DC8E-4AB6-B884-FF8A33E1EF07}" dt="2022-11-28T13:18:25.055" v="2199" actId="164"/>
          <ac:grpSpMkLst>
            <pc:docMk/>
            <pc:sldMk cId="2252367502" sldId="261"/>
            <ac:grpSpMk id="22" creationId="{E744D570-5071-46F0-AE76-4F1E107B7AF8}"/>
          </ac:grpSpMkLst>
        </pc:grpChg>
        <pc:grpChg chg="add mod topLvl">
          <ac:chgData name="Nikolaj Godsk Vestergaard" userId="13f6e931-e8bb-4f58-9241-2f10614c3355" providerId="ADAL" clId="{E4806A0B-DC8E-4AB6-B884-FF8A33E1EF07}" dt="2022-11-28T13:18:25.055" v="2199" actId="164"/>
          <ac:grpSpMkLst>
            <pc:docMk/>
            <pc:sldMk cId="2252367502" sldId="261"/>
            <ac:grpSpMk id="25" creationId="{6116CFBB-C77F-4919-BD37-FA59F4BBEDEE}"/>
          </ac:grpSpMkLst>
        </pc:grpChg>
        <pc:grpChg chg="add mod topLvl">
          <ac:chgData name="Nikolaj Godsk Vestergaard" userId="13f6e931-e8bb-4f58-9241-2f10614c3355" providerId="ADAL" clId="{E4806A0B-DC8E-4AB6-B884-FF8A33E1EF07}" dt="2022-11-28T13:18:25.055" v="2199" actId="164"/>
          <ac:grpSpMkLst>
            <pc:docMk/>
            <pc:sldMk cId="2252367502" sldId="261"/>
            <ac:grpSpMk id="32" creationId="{452D46AF-93F4-441D-89EF-6FB9210D6BA7}"/>
          </ac:grpSpMkLst>
        </pc:grpChg>
        <pc:grpChg chg="add mod topLvl">
          <ac:chgData name="Nikolaj Godsk Vestergaard" userId="13f6e931-e8bb-4f58-9241-2f10614c3355" providerId="ADAL" clId="{E4806A0B-DC8E-4AB6-B884-FF8A33E1EF07}" dt="2022-11-28T13:18:25.055" v="2199" actId="164"/>
          <ac:grpSpMkLst>
            <pc:docMk/>
            <pc:sldMk cId="2252367502" sldId="261"/>
            <ac:grpSpMk id="35" creationId="{896AAF4B-A353-483E-A9F9-27871C11EA5E}"/>
          </ac:grpSpMkLst>
        </pc:grpChg>
        <pc:grpChg chg="add del mod">
          <ac:chgData name="Nikolaj Godsk Vestergaard" userId="13f6e931-e8bb-4f58-9241-2f10614c3355" providerId="ADAL" clId="{E4806A0B-DC8E-4AB6-B884-FF8A33E1EF07}" dt="2022-11-28T13:17:51.390" v="2193" actId="165"/>
          <ac:grpSpMkLst>
            <pc:docMk/>
            <pc:sldMk cId="2252367502" sldId="261"/>
            <ac:grpSpMk id="50" creationId="{EBFE3806-BF2A-43AE-AC90-E35445D40D06}"/>
          </ac:grpSpMkLst>
        </pc:grpChg>
        <pc:grpChg chg="add del mod">
          <ac:chgData name="Nikolaj Godsk Vestergaard" userId="13f6e931-e8bb-4f58-9241-2f10614c3355" providerId="ADAL" clId="{E4806A0B-DC8E-4AB6-B884-FF8A33E1EF07}" dt="2022-11-28T13:20:38.175" v="2645" actId="478"/>
          <ac:grpSpMkLst>
            <pc:docMk/>
            <pc:sldMk cId="2252367502" sldId="261"/>
            <ac:grpSpMk id="51" creationId="{4C71CE10-9ACB-4735-86FC-2955919EAE36}"/>
          </ac:grpSpMkLst>
        </pc:grpChg>
        <pc:grpChg chg="add del mod">
          <ac:chgData name="Nikolaj Godsk Vestergaard" userId="13f6e931-e8bb-4f58-9241-2f10614c3355" providerId="ADAL" clId="{E4806A0B-DC8E-4AB6-B884-FF8A33E1EF07}" dt="2022-11-28T13:22:03.065" v="2670" actId="478"/>
          <ac:grpSpMkLst>
            <pc:docMk/>
            <pc:sldMk cId="2252367502" sldId="261"/>
            <ac:grpSpMk id="63" creationId="{EBF159FB-ADA5-4430-B79D-1286AFF84FA9}"/>
          </ac:grpSpMkLst>
        </pc:grpChg>
        <pc:grpChg chg="add del mod">
          <ac:chgData name="Nikolaj Godsk Vestergaard" userId="13f6e931-e8bb-4f58-9241-2f10614c3355" providerId="ADAL" clId="{E4806A0B-DC8E-4AB6-B884-FF8A33E1EF07}" dt="2022-11-28T13:22:25.095" v="2676" actId="478"/>
          <ac:grpSpMkLst>
            <pc:docMk/>
            <pc:sldMk cId="2252367502" sldId="261"/>
            <ac:grpSpMk id="66" creationId="{32C3EC76-7DDC-48C4-B207-4890A68DA414}"/>
          </ac:grpSpMkLst>
        </pc:grpChg>
        <pc:grpChg chg="add del mod">
          <ac:chgData name="Nikolaj Godsk Vestergaard" userId="13f6e931-e8bb-4f58-9241-2f10614c3355" providerId="ADAL" clId="{E4806A0B-DC8E-4AB6-B884-FF8A33E1EF07}" dt="2022-11-28T13:22:57.149" v="2693" actId="478"/>
          <ac:grpSpMkLst>
            <pc:docMk/>
            <pc:sldMk cId="2252367502" sldId="261"/>
            <ac:grpSpMk id="69" creationId="{F5AE11A4-6E46-4BF3-A9F9-D8BAB2934F5C}"/>
          </ac:grpSpMkLst>
        </pc:grpChg>
        <pc:grpChg chg="add del mod">
          <ac:chgData name="Nikolaj Godsk Vestergaard" userId="13f6e931-e8bb-4f58-9241-2f10614c3355" providerId="ADAL" clId="{E4806A0B-DC8E-4AB6-B884-FF8A33E1EF07}" dt="2022-11-28T13:22:54.806" v="2691" actId="478"/>
          <ac:grpSpMkLst>
            <pc:docMk/>
            <pc:sldMk cId="2252367502" sldId="261"/>
            <ac:grpSpMk id="74" creationId="{F18AEF36-546E-4E96-BB50-BD7A74FC68F1}"/>
          </ac:grpSpMkLst>
        </pc:grpChg>
        <pc:grpChg chg="add del mod">
          <ac:chgData name="Nikolaj Godsk Vestergaard" userId="13f6e931-e8bb-4f58-9241-2f10614c3355" providerId="ADAL" clId="{E4806A0B-DC8E-4AB6-B884-FF8A33E1EF07}" dt="2022-11-28T13:22:47.667" v="2686" actId="478"/>
          <ac:grpSpMkLst>
            <pc:docMk/>
            <pc:sldMk cId="2252367502" sldId="261"/>
            <ac:grpSpMk id="77" creationId="{F27F3713-D2A2-451F-A98E-8DB4F423C3C5}"/>
          </ac:grpSpMkLst>
        </pc:grpChg>
        <pc:grpChg chg="add del mod">
          <ac:chgData name="Nikolaj Godsk Vestergaard" userId="13f6e931-e8bb-4f58-9241-2f10614c3355" providerId="ADAL" clId="{E4806A0B-DC8E-4AB6-B884-FF8A33E1EF07}" dt="2022-11-28T13:22:30.183" v="2680" actId="478"/>
          <ac:grpSpMkLst>
            <pc:docMk/>
            <pc:sldMk cId="2252367502" sldId="261"/>
            <ac:grpSpMk id="84" creationId="{FC6897B0-1175-4013-B68D-E46D1425193E}"/>
          </ac:grpSpMkLst>
        </pc:grpChg>
        <pc:grpChg chg="add del mod">
          <ac:chgData name="Nikolaj Godsk Vestergaard" userId="13f6e931-e8bb-4f58-9241-2f10614c3355" providerId="ADAL" clId="{E4806A0B-DC8E-4AB6-B884-FF8A33E1EF07}" dt="2022-11-28T13:22:59.787" v="2695" actId="478"/>
          <ac:grpSpMkLst>
            <pc:docMk/>
            <pc:sldMk cId="2252367502" sldId="261"/>
            <ac:grpSpMk id="87" creationId="{FD4E1D0C-1E3A-4937-B87B-575C1EAA9B32}"/>
          </ac:grpSpMkLst>
        </pc:grpChg>
        <pc:grpChg chg="add del mod">
          <ac:chgData name="Nikolaj Godsk Vestergaard" userId="13f6e931-e8bb-4f58-9241-2f10614c3355" providerId="ADAL" clId="{E4806A0B-DC8E-4AB6-B884-FF8A33E1EF07}" dt="2022-11-28T13:22:26.818" v="2678" actId="478"/>
          <ac:grpSpMkLst>
            <pc:docMk/>
            <pc:sldMk cId="2252367502" sldId="261"/>
            <ac:grpSpMk id="94" creationId="{1F009119-3C5A-4A63-94C0-F9F14DAFF9DD}"/>
          </ac:grpSpMkLst>
        </pc:grpChg>
        <pc:grpChg chg="add mod">
          <ac:chgData name="Nikolaj Godsk Vestergaard" userId="13f6e931-e8bb-4f58-9241-2f10614c3355" providerId="ADAL" clId="{E4806A0B-DC8E-4AB6-B884-FF8A33E1EF07}" dt="2022-11-28T13:22:22.966" v="2675" actId="1076"/>
          <ac:grpSpMkLst>
            <pc:docMk/>
            <pc:sldMk cId="2252367502" sldId="261"/>
            <ac:grpSpMk id="96" creationId="{ED19D752-8C44-4F34-8FD4-B08E5996CE96}"/>
          </ac:grpSpMkLst>
        </pc:grpChg>
        <pc:grpChg chg="add mod">
          <ac:chgData name="Nikolaj Godsk Vestergaard" userId="13f6e931-e8bb-4f58-9241-2f10614c3355" providerId="ADAL" clId="{E4806A0B-DC8E-4AB6-B884-FF8A33E1EF07}" dt="2022-11-28T13:22:35.993" v="2682" actId="571"/>
          <ac:grpSpMkLst>
            <pc:docMk/>
            <pc:sldMk cId="2252367502" sldId="261"/>
            <ac:grpSpMk id="99" creationId="{23B86DBF-3F82-4008-8ED2-C4F0A4925F9D}"/>
          </ac:grpSpMkLst>
        </pc:grpChg>
        <pc:grpChg chg="add mod">
          <ac:chgData name="Nikolaj Godsk Vestergaard" userId="13f6e931-e8bb-4f58-9241-2f10614c3355" providerId="ADAL" clId="{E4806A0B-DC8E-4AB6-B884-FF8A33E1EF07}" dt="2022-11-28T13:22:45.897" v="2685" actId="1076"/>
          <ac:grpSpMkLst>
            <pc:docMk/>
            <pc:sldMk cId="2252367502" sldId="261"/>
            <ac:grpSpMk id="102" creationId="{21881C62-961A-4A9A-AAE3-73189C64CC82}"/>
          </ac:grpSpMkLst>
        </pc:grpChg>
        <pc:grpChg chg="add mod">
          <ac:chgData name="Nikolaj Godsk Vestergaard" userId="13f6e931-e8bb-4f58-9241-2f10614c3355" providerId="ADAL" clId="{E4806A0B-DC8E-4AB6-B884-FF8A33E1EF07}" dt="2022-11-28T13:23:04.409" v="2697" actId="571"/>
          <ac:grpSpMkLst>
            <pc:docMk/>
            <pc:sldMk cId="2252367502" sldId="261"/>
            <ac:grpSpMk id="105" creationId="{79E81BFD-DC38-466C-B604-CD21DC9A8154}"/>
          </ac:grpSpMkLst>
        </pc:grpChg>
        <pc:grpChg chg="add mod">
          <ac:chgData name="Nikolaj Godsk Vestergaard" userId="13f6e931-e8bb-4f58-9241-2f10614c3355" providerId="ADAL" clId="{E4806A0B-DC8E-4AB6-B884-FF8A33E1EF07}" dt="2022-11-28T13:23:06.299" v="2698" actId="571"/>
          <ac:grpSpMkLst>
            <pc:docMk/>
            <pc:sldMk cId="2252367502" sldId="261"/>
            <ac:grpSpMk id="108" creationId="{AD74393E-CAD2-44FA-B4A8-13ABAFD82BD7}"/>
          </ac:grpSpMkLst>
        </pc:grpChg>
        <pc:grpChg chg="add mod">
          <ac:chgData name="Nikolaj Godsk Vestergaard" userId="13f6e931-e8bb-4f58-9241-2f10614c3355" providerId="ADAL" clId="{E4806A0B-DC8E-4AB6-B884-FF8A33E1EF07}" dt="2022-11-28T13:23:08.777" v="2699" actId="571"/>
          <ac:grpSpMkLst>
            <pc:docMk/>
            <pc:sldMk cId="2252367502" sldId="261"/>
            <ac:grpSpMk id="111" creationId="{EC52DF8E-5DB7-4238-99AB-B43296204167}"/>
          </ac:grpSpMkLst>
        </pc:grpChg>
        <pc:grpChg chg="add mod">
          <ac:chgData name="Nikolaj Godsk Vestergaard" userId="13f6e931-e8bb-4f58-9241-2f10614c3355" providerId="ADAL" clId="{E4806A0B-DC8E-4AB6-B884-FF8A33E1EF07}" dt="2022-11-28T13:23:12.907" v="2700" actId="571"/>
          <ac:grpSpMkLst>
            <pc:docMk/>
            <pc:sldMk cId="2252367502" sldId="261"/>
            <ac:grpSpMk id="114" creationId="{23DBDD4F-E497-4FFD-9DDD-865BE5ABD3D7}"/>
          </ac:grpSpMkLst>
        </pc:grpChg>
        <pc:grpChg chg="add mod">
          <ac:chgData name="Nikolaj Godsk Vestergaard" userId="13f6e931-e8bb-4f58-9241-2f10614c3355" providerId="ADAL" clId="{E4806A0B-DC8E-4AB6-B884-FF8A33E1EF07}" dt="2022-11-28T13:23:15.100" v="2701" actId="571"/>
          <ac:grpSpMkLst>
            <pc:docMk/>
            <pc:sldMk cId="2252367502" sldId="261"/>
            <ac:grpSpMk id="117" creationId="{6874C2CE-D23C-4CF2-BC7A-4C430FBAE512}"/>
          </ac:grpSpMkLst>
        </pc:grpChg>
        <pc:graphicFrameChg chg="mod modVis">
          <ac:chgData name="Nikolaj Godsk Vestergaard" userId="13f6e931-e8bb-4f58-9241-2f10614c3355" providerId="ADAL" clId="{E4806A0B-DC8E-4AB6-B884-FF8A33E1EF07}" dt="2022-12-02T08:49:51.871" v="11077"/>
          <ac:graphicFrameMkLst>
            <pc:docMk/>
            <pc:sldMk cId="2252367502" sldId="261"/>
            <ac:graphicFrameMk id="6" creationId="{2CA615AF-F9B8-4523-BF47-85C929EE8B61}"/>
          </ac:graphicFrameMkLst>
        </pc:graphicFrameChg>
      </pc:sldChg>
      <pc:sldChg chg="addSp delSp modSp mod delCm modNotesTx">
        <pc:chgData name="Nikolaj Godsk Vestergaard" userId="13f6e931-e8bb-4f58-9241-2f10614c3355" providerId="ADAL" clId="{E4806A0B-DC8E-4AB6-B884-FF8A33E1EF07}" dt="2022-12-02T11:58:58.394" v="13634" actId="20577"/>
        <pc:sldMkLst>
          <pc:docMk/>
          <pc:sldMk cId="4205915561" sldId="262"/>
        </pc:sldMkLst>
        <pc:spChg chg="del mod">
          <ac:chgData name="Nikolaj Godsk Vestergaard" userId="13f6e931-e8bb-4f58-9241-2f10614c3355" providerId="ADAL" clId="{E4806A0B-DC8E-4AB6-B884-FF8A33E1EF07}" dt="2022-11-28T13:31:17.426" v="2739" actId="478"/>
          <ac:spMkLst>
            <pc:docMk/>
            <pc:sldMk cId="4205915561" sldId="262"/>
            <ac:spMk id="2" creationId="{A45A65A8-DABB-460B-83EE-3FE098D4FA67}"/>
          </ac:spMkLst>
        </pc:spChg>
        <pc:spChg chg="del">
          <ac:chgData name="Nikolaj Godsk Vestergaard" userId="13f6e931-e8bb-4f58-9241-2f10614c3355" providerId="ADAL" clId="{E4806A0B-DC8E-4AB6-B884-FF8A33E1EF07}" dt="2022-11-28T13:32:39.981" v="2842" actId="478"/>
          <ac:spMkLst>
            <pc:docMk/>
            <pc:sldMk cId="4205915561" sldId="262"/>
            <ac:spMk id="3" creationId="{E244B2A3-ABEB-4AC9-AABD-2B7F369CDDBC}"/>
          </ac:spMkLst>
        </pc:spChg>
        <pc:spChg chg="mod ord">
          <ac:chgData name="Nikolaj Godsk Vestergaard" userId="13f6e931-e8bb-4f58-9241-2f10614c3355" providerId="ADAL" clId="{E4806A0B-DC8E-4AB6-B884-FF8A33E1EF07}" dt="2022-11-28T13:35:27.657" v="2910"/>
          <ac:spMkLst>
            <pc:docMk/>
            <pc:sldMk cId="4205915561" sldId="262"/>
            <ac:spMk id="4" creationId="{B7FC3C18-0E4F-49B9-85D2-82FF8A035D13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53" v="1151"/>
          <ac:spMkLst>
            <pc:docMk/>
            <pc:sldMk cId="4205915561" sldId="262"/>
            <ac:spMk id="6" creationId="{0BB61F96-3E8C-4676-B39F-806A1BFC3B9F}"/>
          </ac:spMkLst>
        </pc:spChg>
        <pc:spChg chg="add mod ord">
          <ac:chgData name="Nikolaj Godsk Vestergaard" userId="13f6e931-e8bb-4f58-9241-2f10614c3355" providerId="ADAL" clId="{E4806A0B-DC8E-4AB6-B884-FF8A33E1EF07}" dt="2022-11-28T13:35:27.657" v="2912"/>
          <ac:spMkLst>
            <pc:docMk/>
            <pc:sldMk cId="4205915561" sldId="262"/>
            <ac:spMk id="7" creationId="{27C30AB3-064D-441B-A9D9-D1F3413F87C2}"/>
          </ac:spMkLst>
        </pc:spChg>
        <pc:spChg chg="add del mod">
          <ac:chgData name="Nikolaj Godsk Vestergaard" userId="13f6e931-e8bb-4f58-9241-2f10614c3355" providerId="ADAL" clId="{E4806A0B-DC8E-4AB6-B884-FF8A33E1EF07}" dt="2022-11-28T13:31:19.767" v="2743" actId="478"/>
          <ac:spMkLst>
            <pc:docMk/>
            <pc:sldMk cId="4205915561" sldId="262"/>
            <ac:spMk id="9" creationId="{4FAEF01E-5E60-4E19-A387-38D48A031852}"/>
          </ac:spMkLst>
        </pc:spChg>
        <pc:spChg chg="mod">
          <ac:chgData name="Nikolaj Godsk Vestergaard" userId="13f6e931-e8bb-4f58-9241-2f10614c3355" providerId="ADAL" clId="{E4806A0B-DC8E-4AB6-B884-FF8A33E1EF07}" dt="2022-11-28T13:32:34.976" v="2840"/>
          <ac:spMkLst>
            <pc:docMk/>
            <pc:sldMk cId="4205915561" sldId="262"/>
            <ac:spMk id="11" creationId="{5C33BA81-86E8-4768-8540-BA3B50669785}"/>
          </ac:spMkLst>
        </pc:spChg>
        <pc:spChg chg="mod">
          <ac:chgData name="Nikolaj Godsk Vestergaard" userId="13f6e931-e8bb-4f58-9241-2f10614c3355" providerId="ADAL" clId="{E4806A0B-DC8E-4AB6-B884-FF8A33E1EF07}" dt="2022-11-28T13:32:34.976" v="2840"/>
          <ac:spMkLst>
            <pc:docMk/>
            <pc:sldMk cId="4205915561" sldId="262"/>
            <ac:spMk id="12" creationId="{79CC6014-9A10-45F5-B0B0-0666E3CB8B7F}"/>
          </ac:spMkLst>
        </pc:spChg>
        <pc:spChg chg="mod">
          <ac:chgData name="Nikolaj Godsk Vestergaard" userId="13f6e931-e8bb-4f58-9241-2f10614c3355" providerId="ADAL" clId="{E4806A0B-DC8E-4AB6-B884-FF8A33E1EF07}" dt="2022-11-28T13:32:34.976" v="2840"/>
          <ac:spMkLst>
            <pc:docMk/>
            <pc:sldMk cId="4205915561" sldId="262"/>
            <ac:spMk id="14" creationId="{ABA51E41-E136-4917-88F2-918121D6AD51}"/>
          </ac:spMkLst>
        </pc:spChg>
        <pc:spChg chg="mod">
          <ac:chgData name="Nikolaj Godsk Vestergaard" userId="13f6e931-e8bb-4f58-9241-2f10614c3355" providerId="ADAL" clId="{E4806A0B-DC8E-4AB6-B884-FF8A33E1EF07}" dt="2022-11-28T13:32:34.976" v="2840"/>
          <ac:spMkLst>
            <pc:docMk/>
            <pc:sldMk cId="4205915561" sldId="262"/>
            <ac:spMk id="15" creationId="{0EBFDA97-FBD4-4B19-A861-59A6DE8259FE}"/>
          </ac:spMkLst>
        </pc:spChg>
        <pc:spChg chg="mod">
          <ac:chgData name="Nikolaj Godsk Vestergaard" userId="13f6e931-e8bb-4f58-9241-2f10614c3355" providerId="ADAL" clId="{E4806A0B-DC8E-4AB6-B884-FF8A33E1EF07}" dt="2022-11-28T13:32:34.976" v="2840"/>
          <ac:spMkLst>
            <pc:docMk/>
            <pc:sldMk cId="4205915561" sldId="262"/>
            <ac:spMk id="17" creationId="{D3B6DA3C-AC7C-47A2-9A8A-275FC31CDEC6}"/>
          </ac:spMkLst>
        </pc:spChg>
        <pc:spChg chg="mod">
          <ac:chgData name="Nikolaj Godsk Vestergaard" userId="13f6e931-e8bb-4f58-9241-2f10614c3355" providerId="ADAL" clId="{E4806A0B-DC8E-4AB6-B884-FF8A33E1EF07}" dt="2022-11-28T13:32:34.976" v="2840"/>
          <ac:spMkLst>
            <pc:docMk/>
            <pc:sldMk cId="4205915561" sldId="262"/>
            <ac:spMk id="18" creationId="{1F106A89-17E5-49F6-AA64-D56959D68997}"/>
          </ac:spMkLst>
        </pc:spChg>
        <pc:spChg chg="add del mod">
          <ac:chgData name="Nikolaj Godsk Vestergaard" userId="13f6e931-e8bb-4f58-9241-2f10614c3355" providerId="ADAL" clId="{E4806A0B-DC8E-4AB6-B884-FF8A33E1EF07}" dt="2022-11-28T13:32:41.474" v="2843" actId="478"/>
          <ac:spMkLst>
            <pc:docMk/>
            <pc:sldMk cId="4205915561" sldId="262"/>
            <ac:spMk id="20" creationId="{66B3A2C1-7F0C-49EA-AD16-24C56286E0EF}"/>
          </ac:spMkLst>
        </pc:spChg>
        <pc:spChg chg="mod topLvl">
          <ac:chgData name="Nikolaj Godsk Vestergaard" userId="13f6e931-e8bb-4f58-9241-2f10614c3355" providerId="ADAL" clId="{E4806A0B-DC8E-4AB6-B884-FF8A33E1EF07}" dt="2022-12-02T10:26:12.112" v="12261" actId="1076"/>
          <ac:spMkLst>
            <pc:docMk/>
            <pc:sldMk cId="4205915561" sldId="262"/>
            <ac:spMk id="22" creationId="{A8916DC6-5398-4A09-AF36-6DA76F62CE3F}"/>
          </ac:spMkLst>
        </pc:spChg>
        <pc:spChg chg="del mod topLvl">
          <ac:chgData name="Nikolaj Godsk Vestergaard" userId="13f6e931-e8bb-4f58-9241-2f10614c3355" providerId="ADAL" clId="{E4806A0B-DC8E-4AB6-B884-FF8A33E1EF07}" dt="2022-11-28T13:39:51.097" v="2971" actId="478"/>
          <ac:spMkLst>
            <pc:docMk/>
            <pc:sldMk cId="4205915561" sldId="262"/>
            <ac:spMk id="23" creationId="{69EA10D9-62B8-476D-9CD6-935BA2E96B4E}"/>
          </ac:spMkLst>
        </pc:spChg>
        <pc:spChg chg="mod topLvl">
          <ac:chgData name="Nikolaj Godsk Vestergaard" userId="13f6e931-e8bb-4f58-9241-2f10614c3355" providerId="ADAL" clId="{E4806A0B-DC8E-4AB6-B884-FF8A33E1EF07}" dt="2022-12-02T10:26:12.112" v="12261" actId="1076"/>
          <ac:spMkLst>
            <pc:docMk/>
            <pc:sldMk cId="4205915561" sldId="262"/>
            <ac:spMk id="25" creationId="{EDA2C9DA-AA0E-4900-AD2F-E52580846E8D}"/>
          </ac:spMkLst>
        </pc:spChg>
        <pc:spChg chg="del mod topLvl">
          <ac:chgData name="Nikolaj Godsk Vestergaard" userId="13f6e931-e8bb-4f58-9241-2f10614c3355" providerId="ADAL" clId="{E4806A0B-DC8E-4AB6-B884-FF8A33E1EF07}" dt="2022-11-28T13:39:12.029" v="2937" actId="478"/>
          <ac:spMkLst>
            <pc:docMk/>
            <pc:sldMk cId="4205915561" sldId="262"/>
            <ac:spMk id="26" creationId="{C7AC9CF3-8BF2-4FE6-A399-D19C4F38B13D}"/>
          </ac:spMkLst>
        </pc:spChg>
        <pc:spChg chg="mod topLvl">
          <ac:chgData name="Nikolaj Godsk Vestergaard" userId="13f6e931-e8bb-4f58-9241-2f10614c3355" providerId="ADAL" clId="{E4806A0B-DC8E-4AB6-B884-FF8A33E1EF07}" dt="2022-12-02T10:26:12.112" v="12261" actId="1076"/>
          <ac:spMkLst>
            <pc:docMk/>
            <pc:sldMk cId="4205915561" sldId="262"/>
            <ac:spMk id="28" creationId="{C9C8853F-9B19-4599-9846-37DE71762DBA}"/>
          </ac:spMkLst>
        </pc:spChg>
        <pc:spChg chg="del mod topLvl">
          <ac:chgData name="Nikolaj Godsk Vestergaard" userId="13f6e931-e8bb-4f58-9241-2f10614c3355" providerId="ADAL" clId="{E4806A0B-DC8E-4AB6-B884-FF8A33E1EF07}" dt="2022-11-28T13:39:52.204" v="2972" actId="478"/>
          <ac:spMkLst>
            <pc:docMk/>
            <pc:sldMk cId="4205915561" sldId="262"/>
            <ac:spMk id="29" creationId="{703A6846-EF96-445C-820D-08051FAE54A1}"/>
          </ac:spMkLst>
        </pc:spChg>
        <pc:spChg chg="add mod topLvl">
          <ac:chgData name="Nikolaj Godsk Vestergaard" userId="13f6e931-e8bb-4f58-9241-2f10614c3355" providerId="ADAL" clId="{E4806A0B-DC8E-4AB6-B884-FF8A33E1EF07}" dt="2022-12-02T10:26:12.112" v="12261" actId="1076"/>
          <ac:spMkLst>
            <pc:docMk/>
            <pc:sldMk cId="4205915561" sldId="262"/>
            <ac:spMk id="30" creationId="{BC46319C-8AE6-4A31-95E2-BC1DDD2382F5}"/>
          </ac:spMkLst>
        </pc:spChg>
        <pc:spChg chg="add del mod topLvl">
          <ac:chgData name="Nikolaj Godsk Vestergaard" userId="13f6e931-e8bb-4f58-9241-2f10614c3355" providerId="ADAL" clId="{E4806A0B-DC8E-4AB6-B884-FF8A33E1EF07}" dt="2022-11-28T13:39:53.387" v="2973" actId="478"/>
          <ac:spMkLst>
            <pc:docMk/>
            <pc:sldMk cId="4205915561" sldId="262"/>
            <ac:spMk id="31" creationId="{DC4626B0-12B1-43D1-9AD4-255AA6C0FC8D}"/>
          </ac:spMkLst>
        </pc:spChg>
        <pc:spChg chg="add del mod">
          <ac:chgData name="Nikolaj Godsk Vestergaard" userId="13f6e931-e8bb-4f58-9241-2f10614c3355" providerId="ADAL" clId="{E4806A0B-DC8E-4AB6-B884-FF8A33E1EF07}" dt="2022-12-02T08:56:13.580" v="11282" actId="478"/>
          <ac:spMkLst>
            <pc:docMk/>
            <pc:sldMk cId="4205915561" sldId="262"/>
            <ac:spMk id="34" creationId="{2DF2090F-B6D0-440A-B4EE-EA7B3F59241C}"/>
          </ac:spMkLst>
        </pc:spChg>
        <pc:grpChg chg="add del mod">
          <ac:chgData name="Nikolaj Godsk Vestergaard" userId="13f6e931-e8bb-4f58-9241-2f10614c3355" providerId="ADAL" clId="{E4806A0B-DC8E-4AB6-B884-FF8A33E1EF07}" dt="2022-11-28T13:32:38.048" v="2841"/>
          <ac:grpSpMkLst>
            <pc:docMk/>
            <pc:sldMk cId="4205915561" sldId="262"/>
            <ac:grpSpMk id="10" creationId="{26279D2A-4106-4C79-8064-ADBAC0F34DA0}"/>
          </ac:grpSpMkLst>
        </pc:grpChg>
        <pc:grpChg chg="add del mod">
          <ac:chgData name="Nikolaj Godsk Vestergaard" userId="13f6e931-e8bb-4f58-9241-2f10614c3355" providerId="ADAL" clId="{E4806A0B-DC8E-4AB6-B884-FF8A33E1EF07}" dt="2022-11-28T13:32:38.048" v="2841"/>
          <ac:grpSpMkLst>
            <pc:docMk/>
            <pc:sldMk cId="4205915561" sldId="262"/>
            <ac:grpSpMk id="13" creationId="{75F4E863-B6D6-4472-AA34-90565BC7ADDA}"/>
          </ac:grpSpMkLst>
        </pc:grpChg>
        <pc:grpChg chg="add del mod">
          <ac:chgData name="Nikolaj Godsk Vestergaard" userId="13f6e931-e8bb-4f58-9241-2f10614c3355" providerId="ADAL" clId="{E4806A0B-DC8E-4AB6-B884-FF8A33E1EF07}" dt="2022-11-28T13:32:38.048" v="2841"/>
          <ac:grpSpMkLst>
            <pc:docMk/>
            <pc:sldMk cId="4205915561" sldId="262"/>
            <ac:grpSpMk id="16" creationId="{98B17CBA-BB36-4B74-BA6A-291597983217}"/>
          </ac:grpSpMkLst>
        </pc:grpChg>
        <pc:grpChg chg="add del mod">
          <ac:chgData name="Nikolaj Godsk Vestergaard" userId="13f6e931-e8bb-4f58-9241-2f10614c3355" providerId="ADAL" clId="{E4806A0B-DC8E-4AB6-B884-FF8A33E1EF07}" dt="2022-11-28T13:33:44.247" v="2896" actId="165"/>
          <ac:grpSpMkLst>
            <pc:docMk/>
            <pc:sldMk cId="4205915561" sldId="262"/>
            <ac:grpSpMk id="21" creationId="{261434CA-5607-4168-AD37-3480F44B28AE}"/>
          </ac:grpSpMkLst>
        </pc:grpChg>
        <pc:grpChg chg="add del mod ord">
          <ac:chgData name="Nikolaj Godsk Vestergaard" userId="13f6e931-e8bb-4f58-9241-2f10614c3355" providerId="ADAL" clId="{E4806A0B-DC8E-4AB6-B884-FF8A33E1EF07}" dt="2022-11-28T13:39:12.029" v="2937" actId="478"/>
          <ac:grpSpMkLst>
            <pc:docMk/>
            <pc:sldMk cId="4205915561" sldId="262"/>
            <ac:grpSpMk id="24" creationId="{4E43396E-4AFD-4CDA-8CF5-A676A0F23684}"/>
          </ac:grpSpMkLst>
        </pc:grpChg>
        <pc:grpChg chg="add del mod ord">
          <ac:chgData name="Nikolaj Godsk Vestergaard" userId="13f6e931-e8bb-4f58-9241-2f10614c3355" providerId="ADAL" clId="{E4806A0B-DC8E-4AB6-B884-FF8A33E1EF07}" dt="2022-11-28T13:39:52.204" v="2972" actId="478"/>
          <ac:grpSpMkLst>
            <pc:docMk/>
            <pc:sldMk cId="4205915561" sldId="262"/>
            <ac:grpSpMk id="27" creationId="{4729016A-F0AB-4DEF-ACB5-9BD4123490BF}"/>
          </ac:grpSpMkLst>
        </pc:grpChg>
        <pc:grpChg chg="add del mod ord">
          <ac:chgData name="Nikolaj Godsk Vestergaard" userId="13f6e931-e8bb-4f58-9241-2f10614c3355" providerId="ADAL" clId="{E4806A0B-DC8E-4AB6-B884-FF8A33E1EF07}" dt="2022-11-28T13:39:51.097" v="2971" actId="478"/>
          <ac:grpSpMkLst>
            <pc:docMk/>
            <pc:sldMk cId="4205915561" sldId="262"/>
            <ac:grpSpMk id="32" creationId="{E76DB599-5CDE-40E7-9BE9-374EC528B2FD}"/>
          </ac:grpSpMkLst>
        </pc:grpChg>
        <pc:grpChg chg="add del mod ord">
          <ac:chgData name="Nikolaj Godsk Vestergaard" userId="13f6e931-e8bb-4f58-9241-2f10614c3355" providerId="ADAL" clId="{E4806A0B-DC8E-4AB6-B884-FF8A33E1EF07}" dt="2022-11-28T13:39:53.387" v="2973" actId="478"/>
          <ac:grpSpMkLst>
            <pc:docMk/>
            <pc:sldMk cId="4205915561" sldId="262"/>
            <ac:grpSpMk id="33" creationId="{FDE8A1E0-9187-413E-839E-D1DC62F11C65}"/>
          </ac:grpSpMkLst>
        </pc:grpChg>
        <pc:graphicFrameChg chg="mod">
          <ac:chgData name="Nikolaj Godsk Vestergaard" userId="13f6e931-e8bb-4f58-9241-2f10614c3355" providerId="ADAL" clId="{E4806A0B-DC8E-4AB6-B884-FF8A33E1EF07}" dt="2022-11-28T13:35:27.662" v="2923"/>
          <ac:graphicFrameMkLst>
            <pc:docMk/>
            <pc:sldMk cId="4205915561" sldId="262"/>
            <ac:graphicFrameMk id="5" creationId="{494DFD4A-C58C-4389-9344-CB1D175806AB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4:25:30.099" v="5069" actId="47"/>
        <pc:sldMkLst>
          <pc:docMk/>
          <pc:sldMk cId="3415295525" sldId="263"/>
        </pc:sldMkLst>
        <pc:spChg chg="mod">
          <ac:chgData name="Nikolaj Godsk Vestergaard" userId="13f6e931-e8bb-4f58-9241-2f10614c3355" providerId="ADAL" clId="{E4806A0B-DC8E-4AB6-B884-FF8A33E1EF07}" dt="2022-11-28T12:52:02.286" v="709" actId="948"/>
          <ac:spMkLst>
            <pc:docMk/>
            <pc:sldMk cId="3415295525" sldId="263"/>
            <ac:spMk id="2" creationId="{A45A65A8-DABB-460B-83EE-3FE098D4FA67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55" v="1155"/>
          <ac:spMkLst>
            <pc:docMk/>
            <pc:sldMk cId="3415295525" sldId="263"/>
            <ac:spMk id="6" creationId="{7AFA885C-308A-429E-89E8-B312F68DF05B}"/>
          </ac:spMkLst>
        </pc:spChg>
        <pc:graphicFrameChg chg="mod">
          <ac:chgData name="Nikolaj Godsk Vestergaard" userId="13f6e931-e8bb-4f58-9241-2f10614c3355" providerId="ADAL" clId="{E4806A0B-DC8E-4AB6-B884-FF8A33E1EF07}" dt="2022-11-28T12:52:02.657" v="1157"/>
          <ac:graphicFrameMkLst>
            <pc:docMk/>
            <pc:sldMk cId="3415295525" sldId="263"/>
            <ac:graphicFrameMk id="5" creationId="{494DFD4A-C58C-4389-9344-CB1D175806AB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4:25:30.795" v="5070" actId="47"/>
        <pc:sldMkLst>
          <pc:docMk/>
          <pc:sldMk cId="3877107982" sldId="264"/>
        </pc:sldMkLst>
        <pc:spChg chg="mod">
          <ac:chgData name="Nikolaj Godsk Vestergaard" userId="13f6e931-e8bb-4f58-9241-2f10614c3355" providerId="ADAL" clId="{E4806A0B-DC8E-4AB6-B884-FF8A33E1EF07}" dt="2022-11-28T12:52:02.225" v="633" actId="948"/>
          <ac:spMkLst>
            <pc:docMk/>
            <pc:sldMk cId="3877107982" sldId="264"/>
            <ac:spMk id="2" creationId="{A45A65A8-DABB-460B-83EE-3FE098D4FA67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51" v="1147"/>
          <ac:spMkLst>
            <pc:docMk/>
            <pc:sldMk cId="3877107982" sldId="264"/>
            <ac:spMk id="6" creationId="{A19F7908-75FF-4C2C-9A8F-C92AD9B5DBDD}"/>
          </ac:spMkLst>
        </pc:spChg>
        <pc:graphicFrameChg chg="mod">
          <ac:chgData name="Nikolaj Godsk Vestergaard" userId="13f6e931-e8bb-4f58-9241-2f10614c3355" providerId="ADAL" clId="{E4806A0B-DC8E-4AB6-B884-FF8A33E1EF07}" dt="2022-11-28T12:52:02.652" v="1149"/>
          <ac:graphicFrameMkLst>
            <pc:docMk/>
            <pc:sldMk cId="3877107982" sldId="264"/>
            <ac:graphicFrameMk id="5" creationId="{494DFD4A-C58C-4389-9344-CB1D175806AB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4:25:31.437" v="5071" actId="47"/>
        <pc:sldMkLst>
          <pc:docMk/>
          <pc:sldMk cId="3691466786" sldId="265"/>
        </pc:sldMkLst>
        <pc:spChg chg="mod">
          <ac:chgData name="Nikolaj Godsk Vestergaard" userId="13f6e931-e8bb-4f58-9241-2f10614c3355" providerId="ADAL" clId="{E4806A0B-DC8E-4AB6-B884-FF8A33E1EF07}" dt="2022-11-28T12:52:02.320" v="748" actId="948"/>
          <ac:spMkLst>
            <pc:docMk/>
            <pc:sldMk cId="3691466786" sldId="265"/>
            <ac:spMk id="2" creationId="{A45A65A8-DABB-460B-83EE-3FE098D4FA67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61" v="1161"/>
          <ac:spMkLst>
            <pc:docMk/>
            <pc:sldMk cId="3691466786" sldId="265"/>
            <ac:spMk id="6" creationId="{234509C4-1E88-4548-8F29-A484AB035698}"/>
          </ac:spMkLst>
        </pc:spChg>
        <pc:graphicFrameChg chg="mod">
          <ac:chgData name="Nikolaj Godsk Vestergaard" userId="13f6e931-e8bb-4f58-9241-2f10614c3355" providerId="ADAL" clId="{E4806A0B-DC8E-4AB6-B884-FF8A33E1EF07}" dt="2022-11-28T12:52:02.663" v="1163"/>
          <ac:graphicFrameMkLst>
            <pc:docMk/>
            <pc:sldMk cId="3691466786" sldId="265"/>
            <ac:graphicFrameMk id="5" creationId="{494DFD4A-C58C-4389-9344-CB1D175806AB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4:25:32.242" v="5072" actId="47"/>
        <pc:sldMkLst>
          <pc:docMk/>
          <pc:sldMk cId="1836340629" sldId="266"/>
        </pc:sldMkLst>
        <pc:spChg chg="mod">
          <ac:chgData name="Nikolaj Godsk Vestergaard" userId="13f6e931-e8bb-4f58-9241-2f10614c3355" providerId="ADAL" clId="{E4806A0B-DC8E-4AB6-B884-FF8A33E1EF07}" dt="2022-11-28T12:52:02.382" v="824" actId="948"/>
          <ac:spMkLst>
            <pc:docMk/>
            <pc:sldMk cId="1836340629" sldId="266"/>
            <ac:spMk id="2" creationId="{A45A65A8-DABB-460B-83EE-3FE098D4FA67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66" v="1169"/>
          <ac:spMkLst>
            <pc:docMk/>
            <pc:sldMk cId="1836340629" sldId="266"/>
            <ac:spMk id="6" creationId="{DA887E33-32FC-46E5-9BE0-F238045509F6}"/>
          </ac:spMkLst>
        </pc:spChg>
        <pc:graphicFrameChg chg="mod">
          <ac:chgData name="Nikolaj Godsk Vestergaard" userId="13f6e931-e8bb-4f58-9241-2f10614c3355" providerId="ADAL" clId="{E4806A0B-DC8E-4AB6-B884-FF8A33E1EF07}" dt="2022-11-28T12:52:02.669" v="1171"/>
          <ac:graphicFrameMkLst>
            <pc:docMk/>
            <pc:sldMk cId="1836340629" sldId="266"/>
            <ac:graphicFrameMk id="5" creationId="{494DFD4A-C58C-4389-9344-CB1D175806AB}"/>
          </ac:graphicFrameMkLst>
        </pc:graphicFrameChg>
      </pc:sldChg>
      <pc:sldChg chg="modSp del mod">
        <pc:chgData name="Nikolaj Godsk Vestergaard" userId="13f6e931-e8bb-4f58-9241-2f10614c3355" providerId="ADAL" clId="{E4806A0B-DC8E-4AB6-B884-FF8A33E1EF07}" dt="2022-11-28T14:26:36.331" v="5232" actId="47"/>
        <pc:sldMkLst>
          <pc:docMk/>
          <pc:sldMk cId="1765562517" sldId="267"/>
        </pc:sldMkLst>
        <pc:spChg chg="mod">
          <ac:chgData name="Nikolaj Godsk Vestergaard" userId="13f6e931-e8bb-4f58-9241-2f10614c3355" providerId="ADAL" clId="{E4806A0B-DC8E-4AB6-B884-FF8A33E1EF07}" dt="2022-11-28T12:52:02.317" v="747" actId="948"/>
          <ac:spMkLst>
            <pc:docMk/>
            <pc:sldMk cId="1765562517" sldId="267"/>
            <ac:spMk id="2" creationId="{0F8BF24F-A2E6-4CF6-8D40-59F7B68CAF25}"/>
          </ac:spMkLst>
        </pc:spChg>
        <pc:graphicFrameChg chg="mod">
          <ac:chgData name="Nikolaj Godsk Vestergaard" userId="13f6e931-e8bb-4f58-9241-2f10614c3355" providerId="ADAL" clId="{E4806A0B-DC8E-4AB6-B884-FF8A33E1EF07}" dt="2022-11-28T12:52:02.659" v="1159"/>
          <ac:graphicFrameMkLst>
            <pc:docMk/>
            <pc:sldMk cId="1765562517" sldId="267"/>
            <ac:graphicFrameMk id="6" creationId="{2CA615AF-F9B8-4523-BF47-85C929EE8B61}"/>
          </ac:graphicFrameMkLst>
        </pc:graphicFrameChg>
      </pc:sldChg>
      <pc:sldChg chg="addSp delSp modSp mod addCm delCm modNotesTx">
        <pc:chgData name="Nikolaj Godsk Vestergaard" userId="13f6e931-e8bb-4f58-9241-2f10614c3355" providerId="ADAL" clId="{E4806A0B-DC8E-4AB6-B884-FF8A33E1EF07}" dt="2022-12-02T13:22:41.741" v="16331" actId="20577"/>
        <pc:sldMkLst>
          <pc:docMk/>
          <pc:sldMk cId="3151590070" sldId="268"/>
        </pc:sldMkLst>
        <pc:spChg chg="add del mod">
          <ac:chgData name="Nikolaj Godsk Vestergaard" userId="13f6e931-e8bb-4f58-9241-2f10614c3355" providerId="ADAL" clId="{E4806A0B-DC8E-4AB6-B884-FF8A33E1EF07}" dt="2022-11-28T14:35:16.554" v="5722" actId="478"/>
          <ac:spMkLst>
            <pc:docMk/>
            <pc:sldMk cId="3151590070" sldId="268"/>
            <ac:spMk id="2" creationId="{A45A65A8-DABB-460B-83EE-3FE098D4FA67}"/>
          </ac:spMkLst>
        </pc:spChg>
        <pc:spChg chg="del">
          <ac:chgData name="Nikolaj Godsk Vestergaard" userId="13f6e931-e8bb-4f58-9241-2f10614c3355" providerId="ADAL" clId="{E4806A0B-DC8E-4AB6-B884-FF8A33E1EF07}" dt="2022-11-28T14:36:17.881" v="5759" actId="478"/>
          <ac:spMkLst>
            <pc:docMk/>
            <pc:sldMk cId="3151590070" sldId="268"/>
            <ac:spMk id="3" creationId="{E244B2A3-ABEB-4AC9-AABD-2B7F369CDDBC}"/>
          </ac:spMkLst>
        </pc:spChg>
        <pc:spChg chg="mod ord">
          <ac:chgData name="Nikolaj Godsk Vestergaard" userId="13f6e931-e8bb-4f58-9241-2f10614c3355" providerId="ADAL" clId="{E4806A0B-DC8E-4AB6-B884-FF8A33E1EF07}" dt="2022-11-28T14:42:12.799" v="6167"/>
          <ac:spMkLst>
            <pc:docMk/>
            <pc:sldMk cId="3151590070" sldId="268"/>
            <ac:spMk id="4" creationId="{B7FC3C18-0E4F-49B9-85D2-82FF8A035D13}"/>
          </ac:spMkLst>
        </pc:spChg>
        <pc:spChg chg="add del mod">
          <ac:chgData name="Nikolaj Godsk Vestergaard" userId="13f6e931-e8bb-4f58-9241-2f10614c3355" providerId="ADAL" clId="{E4806A0B-DC8E-4AB6-B884-FF8A33E1EF07}" dt="2022-11-28T14:35:11.548" v="5711"/>
          <ac:spMkLst>
            <pc:docMk/>
            <pc:sldMk cId="3151590070" sldId="268"/>
            <ac:spMk id="6" creationId="{378183E9-DC56-4CB6-A7D2-A33BAB3BFF7B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63" v="1165"/>
          <ac:spMkLst>
            <pc:docMk/>
            <pc:sldMk cId="3151590070" sldId="268"/>
            <ac:spMk id="6" creationId="{3E217B4C-0992-4F94-A4C2-1EBC9CB70D51}"/>
          </ac:spMkLst>
        </pc:spChg>
        <pc:spChg chg="add del mod">
          <ac:chgData name="Nikolaj Godsk Vestergaard" userId="13f6e931-e8bb-4f58-9241-2f10614c3355" providerId="ADAL" clId="{E4806A0B-DC8E-4AB6-B884-FF8A33E1EF07}" dt="2022-11-28T14:35:14.893" v="5719" actId="478"/>
          <ac:spMkLst>
            <pc:docMk/>
            <pc:sldMk cId="3151590070" sldId="268"/>
            <ac:spMk id="8" creationId="{A94A07AC-2F0A-453E-AED0-54B1B5D2187A}"/>
          </ac:spMkLst>
        </pc:spChg>
        <pc:spChg chg="add mod">
          <ac:chgData name="Nikolaj Godsk Vestergaard" userId="13f6e931-e8bb-4f58-9241-2f10614c3355" providerId="ADAL" clId="{E4806A0B-DC8E-4AB6-B884-FF8A33E1EF07}" dt="2022-11-28T14:35:13.733" v="5713"/>
          <ac:spMkLst>
            <pc:docMk/>
            <pc:sldMk cId="3151590070" sldId="268"/>
            <ac:spMk id="9" creationId="{25A0DC95-133C-4284-B355-26C5A2D42BF3}"/>
          </ac:spMkLst>
        </pc:spChg>
        <pc:spChg chg="add del mod">
          <ac:chgData name="Nikolaj Godsk Vestergaard" userId="13f6e931-e8bb-4f58-9241-2f10614c3355" providerId="ADAL" clId="{E4806A0B-DC8E-4AB6-B884-FF8A33E1EF07}" dt="2022-11-28T14:35:17.778" v="5726" actId="478"/>
          <ac:spMkLst>
            <pc:docMk/>
            <pc:sldMk cId="3151590070" sldId="268"/>
            <ac:spMk id="11" creationId="{70C8CB32-53B0-4D75-B516-BB4A068C799C}"/>
          </ac:spMkLst>
        </pc:spChg>
        <pc:spChg chg="add mod ord">
          <ac:chgData name="Nikolaj Godsk Vestergaard" userId="13f6e931-e8bb-4f58-9241-2f10614c3355" providerId="ADAL" clId="{E4806A0B-DC8E-4AB6-B884-FF8A33E1EF07}" dt="2022-11-28T14:42:12.799" v="6169"/>
          <ac:spMkLst>
            <pc:docMk/>
            <pc:sldMk cId="3151590070" sldId="268"/>
            <ac:spMk id="12" creationId="{DFA1BE92-67D4-494C-938C-5E07E6182366}"/>
          </ac:spMkLst>
        </pc:spChg>
        <pc:spChg chg="add del mod">
          <ac:chgData name="Nikolaj Godsk Vestergaard" userId="13f6e931-e8bb-4f58-9241-2f10614c3355" providerId="ADAL" clId="{E4806A0B-DC8E-4AB6-B884-FF8A33E1EF07}" dt="2022-11-28T14:36:19.586" v="5760" actId="478"/>
          <ac:spMkLst>
            <pc:docMk/>
            <pc:sldMk cId="3151590070" sldId="268"/>
            <ac:spMk id="14" creationId="{82A22631-F4CF-480D-80CE-8B024620AD3B}"/>
          </ac:spMkLst>
        </pc:spChg>
        <pc:spChg chg="add del">
          <ac:chgData name="Nikolaj Godsk Vestergaard" userId="13f6e931-e8bb-4f58-9241-2f10614c3355" providerId="ADAL" clId="{E4806A0B-DC8E-4AB6-B884-FF8A33E1EF07}" dt="2022-11-28T14:36:27.323" v="5762" actId="478"/>
          <ac:spMkLst>
            <pc:docMk/>
            <pc:sldMk cId="3151590070" sldId="268"/>
            <ac:spMk id="15" creationId="{12F02CA8-8B63-4317-821B-883D2FDC5DFF}"/>
          </ac:spMkLst>
        </pc:spChg>
        <pc:spChg chg="add mod ord">
          <ac:chgData name="Nikolaj Godsk Vestergaard" userId="13f6e931-e8bb-4f58-9241-2f10614c3355" providerId="ADAL" clId="{E4806A0B-DC8E-4AB6-B884-FF8A33E1EF07}" dt="2022-12-02T06:42:05.194" v="10346" actId="207"/>
          <ac:spMkLst>
            <pc:docMk/>
            <pc:sldMk cId="3151590070" sldId="268"/>
            <ac:spMk id="16" creationId="{5E7A8C6E-92BC-4B90-A609-44EA16A52778}"/>
          </ac:spMkLst>
        </pc:spChg>
        <pc:spChg chg="add del mod">
          <ac:chgData name="Nikolaj Godsk Vestergaard" userId="13f6e931-e8bb-4f58-9241-2f10614c3355" providerId="ADAL" clId="{E4806A0B-DC8E-4AB6-B884-FF8A33E1EF07}" dt="2022-11-28T14:41:49.042" v="6125" actId="478"/>
          <ac:spMkLst>
            <pc:docMk/>
            <pc:sldMk cId="3151590070" sldId="268"/>
            <ac:spMk id="17" creationId="{09AE7884-0DC8-4E8B-A4DA-5A232FED94D8}"/>
          </ac:spMkLst>
        </pc:spChg>
        <pc:spChg chg="add del mod">
          <ac:chgData name="Nikolaj Godsk Vestergaard" userId="13f6e931-e8bb-4f58-9241-2f10614c3355" providerId="ADAL" clId="{E4806A0B-DC8E-4AB6-B884-FF8A33E1EF07}" dt="2022-11-28T14:41:46.518" v="6121" actId="478"/>
          <ac:spMkLst>
            <pc:docMk/>
            <pc:sldMk cId="3151590070" sldId="268"/>
            <ac:spMk id="18" creationId="{FE5A128E-F79B-429E-A583-FE877B1157BC}"/>
          </ac:spMkLst>
        </pc:spChg>
        <pc:spChg chg="add del mod">
          <ac:chgData name="Nikolaj Godsk Vestergaard" userId="13f6e931-e8bb-4f58-9241-2f10614c3355" providerId="ADAL" clId="{E4806A0B-DC8E-4AB6-B884-FF8A33E1EF07}" dt="2022-11-28T14:41:47.071" v="6122" actId="478"/>
          <ac:spMkLst>
            <pc:docMk/>
            <pc:sldMk cId="3151590070" sldId="268"/>
            <ac:spMk id="19" creationId="{4100D4C1-C7FB-46FA-81A4-CB0ADA1FEC43}"/>
          </ac:spMkLst>
        </pc:spChg>
        <pc:spChg chg="add del mod">
          <ac:chgData name="Nikolaj Godsk Vestergaard" userId="13f6e931-e8bb-4f58-9241-2f10614c3355" providerId="ADAL" clId="{E4806A0B-DC8E-4AB6-B884-FF8A33E1EF07}" dt="2022-11-28T14:41:47.934" v="6123" actId="478"/>
          <ac:spMkLst>
            <pc:docMk/>
            <pc:sldMk cId="3151590070" sldId="268"/>
            <ac:spMk id="20" creationId="{9CCCB9B6-C9FE-4EEC-A662-97B14324EC4B}"/>
          </ac:spMkLst>
        </pc:spChg>
        <pc:spChg chg="add del mod">
          <ac:chgData name="Nikolaj Godsk Vestergaard" userId="13f6e931-e8bb-4f58-9241-2f10614c3355" providerId="ADAL" clId="{E4806A0B-DC8E-4AB6-B884-FF8A33E1EF07}" dt="2022-11-28T14:41:48.407" v="6124" actId="478"/>
          <ac:spMkLst>
            <pc:docMk/>
            <pc:sldMk cId="3151590070" sldId="268"/>
            <ac:spMk id="21" creationId="{13D4B799-509C-4A6F-95A5-DA770C83A54F}"/>
          </ac:spMkLst>
        </pc:spChg>
        <pc:spChg chg="add del mod">
          <ac:chgData name="Nikolaj Godsk Vestergaard" userId="13f6e931-e8bb-4f58-9241-2f10614c3355" providerId="ADAL" clId="{E4806A0B-DC8E-4AB6-B884-FF8A33E1EF07}" dt="2022-11-28T14:37:34.930" v="5784" actId="478"/>
          <ac:spMkLst>
            <pc:docMk/>
            <pc:sldMk cId="3151590070" sldId="268"/>
            <ac:spMk id="22" creationId="{8163AA4C-8B05-4416-8CE6-94D718391800}"/>
          </ac:spMkLst>
        </pc:spChg>
        <pc:spChg chg="add mod ord">
          <ac:chgData name="Nikolaj Godsk Vestergaard" userId="13f6e931-e8bb-4f58-9241-2f10614c3355" providerId="ADAL" clId="{E4806A0B-DC8E-4AB6-B884-FF8A33E1EF07}" dt="2022-12-02T06:41:35.351" v="10341" actId="207"/>
          <ac:spMkLst>
            <pc:docMk/>
            <pc:sldMk cId="3151590070" sldId="268"/>
            <ac:spMk id="23" creationId="{021D5157-0B16-4ACC-A984-7AE560034E0D}"/>
          </ac:spMkLst>
        </pc:spChg>
        <pc:spChg chg="add del mod">
          <ac:chgData name="Nikolaj Godsk Vestergaard" userId="13f6e931-e8bb-4f58-9241-2f10614c3355" providerId="ADAL" clId="{E4806A0B-DC8E-4AB6-B884-FF8A33E1EF07}" dt="2022-11-28T14:40:53.042" v="6040" actId="478"/>
          <ac:spMkLst>
            <pc:docMk/>
            <pc:sldMk cId="3151590070" sldId="268"/>
            <ac:spMk id="24" creationId="{A89832C4-6F35-4B35-BA4F-15FE2F5848F6}"/>
          </ac:spMkLst>
        </pc:spChg>
        <pc:spChg chg="add mod ord">
          <ac:chgData name="Nikolaj Godsk Vestergaard" userId="13f6e931-e8bb-4f58-9241-2f10614c3355" providerId="ADAL" clId="{E4806A0B-DC8E-4AB6-B884-FF8A33E1EF07}" dt="2022-12-02T11:50:44.335" v="13594" actId="207"/>
          <ac:spMkLst>
            <pc:docMk/>
            <pc:sldMk cId="3151590070" sldId="268"/>
            <ac:spMk id="25" creationId="{A71354C7-045C-4334-83F7-43AF718CD017}"/>
          </ac:spMkLst>
        </pc:spChg>
        <pc:spChg chg="add mod ord">
          <ac:chgData name="Nikolaj Godsk Vestergaard" userId="13f6e931-e8bb-4f58-9241-2f10614c3355" providerId="ADAL" clId="{E4806A0B-DC8E-4AB6-B884-FF8A33E1EF07}" dt="2022-12-02T06:41:43.108" v="10343" actId="207"/>
          <ac:spMkLst>
            <pc:docMk/>
            <pc:sldMk cId="3151590070" sldId="268"/>
            <ac:spMk id="26" creationId="{B8B20ACD-E362-48CB-A8A7-F434A64277F2}"/>
          </ac:spMkLst>
        </pc:spChg>
        <pc:spChg chg="add del mod ord">
          <ac:chgData name="Nikolaj Godsk Vestergaard" userId="13f6e931-e8bb-4f58-9241-2f10614c3355" providerId="ADAL" clId="{E4806A0B-DC8E-4AB6-B884-FF8A33E1EF07}" dt="2022-12-02T06:41:01.833" v="10337" actId="478"/>
          <ac:spMkLst>
            <pc:docMk/>
            <pc:sldMk cId="3151590070" sldId="268"/>
            <ac:spMk id="27" creationId="{A2855301-3A5A-49F3-88FB-737EF4334145}"/>
          </ac:spMkLst>
        </pc:spChg>
        <pc:spChg chg="add mod ord">
          <ac:chgData name="Nikolaj Godsk Vestergaard" userId="13f6e931-e8bb-4f58-9241-2f10614c3355" providerId="ADAL" clId="{E4806A0B-DC8E-4AB6-B884-FF8A33E1EF07}" dt="2022-12-02T06:44:45.357" v="10354" actId="20577"/>
          <ac:spMkLst>
            <pc:docMk/>
            <pc:sldMk cId="3151590070" sldId="268"/>
            <ac:spMk id="28" creationId="{7017F8D6-C2A5-462A-B7A7-032E3840D9C9}"/>
          </ac:spMkLst>
        </pc:spChg>
        <pc:spChg chg="add mod ord">
          <ac:chgData name="Nikolaj Godsk Vestergaard" userId="13f6e931-e8bb-4f58-9241-2f10614c3355" providerId="ADAL" clId="{E4806A0B-DC8E-4AB6-B884-FF8A33E1EF07}" dt="2022-12-02T06:41:48.330" v="10344" actId="207"/>
          <ac:spMkLst>
            <pc:docMk/>
            <pc:sldMk cId="3151590070" sldId="268"/>
            <ac:spMk id="29" creationId="{84BC7683-CA51-4905-AFC9-3D9783F66060}"/>
          </ac:spMkLst>
        </pc:spChg>
        <pc:spChg chg="add mod ord">
          <ac:chgData name="Nikolaj Godsk Vestergaard" userId="13f6e931-e8bb-4f58-9241-2f10614c3355" providerId="ADAL" clId="{E4806A0B-DC8E-4AB6-B884-FF8A33E1EF07}" dt="2022-12-02T11:50:48.053" v="13595" actId="207"/>
          <ac:spMkLst>
            <pc:docMk/>
            <pc:sldMk cId="3151590070" sldId="268"/>
            <ac:spMk id="30" creationId="{AA864FB1-8753-4D04-B1C5-CF90E41F28CC}"/>
          </ac:spMkLst>
        </pc:spChg>
        <pc:spChg chg="add mod ord">
          <ac:chgData name="Nikolaj Godsk Vestergaard" userId="13f6e931-e8bb-4f58-9241-2f10614c3355" providerId="ADAL" clId="{E4806A0B-DC8E-4AB6-B884-FF8A33E1EF07}" dt="2022-12-02T06:42:11.731" v="10348" actId="207"/>
          <ac:spMkLst>
            <pc:docMk/>
            <pc:sldMk cId="3151590070" sldId="268"/>
            <ac:spMk id="31" creationId="{A6D23F46-33D7-47EE-A180-00F4C7DC1825}"/>
          </ac:spMkLst>
        </pc:spChg>
        <pc:spChg chg="add mod ord">
          <ac:chgData name="Nikolaj Godsk Vestergaard" userId="13f6e931-e8bb-4f58-9241-2f10614c3355" providerId="ADAL" clId="{E4806A0B-DC8E-4AB6-B884-FF8A33E1EF07}" dt="2022-12-02T06:42:18.413" v="10350" actId="207"/>
          <ac:spMkLst>
            <pc:docMk/>
            <pc:sldMk cId="3151590070" sldId="268"/>
            <ac:spMk id="32" creationId="{2318A6E4-30EE-4013-856B-218DFDC5F53F}"/>
          </ac:spMkLst>
        </pc:spChg>
        <pc:spChg chg="add del mod ord">
          <ac:chgData name="Nikolaj Godsk Vestergaard" userId="13f6e931-e8bb-4f58-9241-2f10614c3355" providerId="ADAL" clId="{E4806A0B-DC8E-4AB6-B884-FF8A33E1EF07}" dt="2022-12-02T06:41:00.157" v="10336" actId="478"/>
          <ac:spMkLst>
            <pc:docMk/>
            <pc:sldMk cId="3151590070" sldId="268"/>
            <ac:spMk id="33" creationId="{A7E4E915-486A-4909-AA43-6C4A68E17C8F}"/>
          </ac:spMkLst>
        </pc:spChg>
        <pc:spChg chg="add mod ord">
          <ac:chgData name="Nikolaj Godsk Vestergaard" userId="13f6e931-e8bb-4f58-9241-2f10614c3355" providerId="ADAL" clId="{E4806A0B-DC8E-4AB6-B884-FF8A33E1EF07}" dt="2022-12-02T06:42:15.243" v="10349" actId="207"/>
          <ac:spMkLst>
            <pc:docMk/>
            <pc:sldMk cId="3151590070" sldId="268"/>
            <ac:spMk id="34" creationId="{56F3EAEC-F9D6-4DE0-8787-97F7ACA96730}"/>
          </ac:spMkLst>
        </pc:spChg>
        <pc:graphicFrameChg chg="mod">
          <ac:chgData name="Nikolaj Godsk Vestergaard" userId="13f6e931-e8bb-4f58-9241-2f10614c3355" providerId="ADAL" clId="{E4806A0B-DC8E-4AB6-B884-FF8A33E1EF07}" dt="2022-11-28T14:42:12.804" v="6186"/>
          <ac:graphicFrameMkLst>
            <pc:docMk/>
            <pc:sldMk cId="3151590070" sldId="268"/>
            <ac:graphicFrameMk id="5" creationId="{494DFD4A-C58C-4389-9344-CB1D175806AB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5:33:29.567" v="8243" actId="47"/>
        <pc:sldMkLst>
          <pc:docMk/>
          <pc:sldMk cId="2444429457" sldId="269"/>
        </pc:sldMkLst>
        <pc:spChg chg="del mod">
          <ac:chgData name="Nikolaj Godsk Vestergaard" userId="13f6e931-e8bb-4f58-9241-2f10614c3355" providerId="ADAL" clId="{E4806A0B-DC8E-4AB6-B884-FF8A33E1EF07}" dt="2022-11-28T14:47:11.797" v="6931" actId="478"/>
          <ac:spMkLst>
            <pc:docMk/>
            <pc:sldMk cId="2444429457" sldId="269"/>
            <ac:spMk id="2" creationId="{A45A65A8-DABB-460B-83EE-3FE098D4FA67}"/>
          </ac:spMkLst>
        </pc:spChg>
        <pc:spChg chg="del">
          <ac:chgData name="Nikolaj Godsk Vestergaard" userId="13f6e931-e8bb-4f58-9241-2f10614c3355" providerId="ADAL" clId="{E4806A0B-DC8E-4AB6-B884-FF8A33E1EF07}" dt="2022-11-28T14:48:43.699" v="7017" actId="478"/>
          <ac:spMkLst>
            <pc:docMk/>
            <pc:sldMk cId="2444429457" sldId="269"/>
            <ac:spMk id="3" creationId="{E244B2A3-ABEB-4AC9-AABD-2B7F369CDDBC}"/>
          </ac:spMkLst>
        </pc:spChg>
        <pc:spChg chg="mod ord">
          <ac:chgData name="Nikolaj Godsk Vestergaard" userId="13f6e931-e8bb-4f58-9241-2f10614c3355" providerId="ADAL" clId="{E4806A0B-DC8E-4AB6-B884-FF8A33E1EF07}" dt="2022-11-28T14:57:52.194" v="7299"/>
          <ac:spMkLst>
            <pc:docMk/>
            <pc:sldMk cId="2444429457" sldId="269"/>
            <ac:spMk id="4" creationId="{B7FC3C18-0E4F-49B9-85D2-82FF8A035D13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69" v="1173"/>
          <ac:spMkLst>
            <pc:docMk/>
            <pc:sldMk cId="2444429457" sldId="269"/>
            <ac:spMk id="6" creationId="{105E49AE-4EE0-4976-B7F8-285903B0C0B6}"/>
          </ac:spMkLst>
        </pc:spChg>
        <pc:spChg chg="add del mod">
          <ac:chgData name="Nikolaj Godsk Vestergaard" userId="13f6e931-e8bb-4f58-9241-2f10614c3355" providerId="ADAL" clId="{E4806A0B-DC8E-4AB6-B884-FF8A33E1EF07}" dt="2022-11-28T14:47:13.161" v="6935" actId="478"/>
          <ac:spMkLst>
            <pc:docMk/>
            <pc:sldMk cId="2444429457" sldId="269"/>
            <ac:spMk id="7" creationId="{8300F34C-9CBF-4265-8FFF-6B247A1F59AE}"/>
          </ac:spMkLst>
        </pc:spChg>
        <pc:spChg chg="add mod ord">
          <ac:chgData name="Nikolaj Godsk Vestergaard" userId="13f6e931-e8bb-4f58-9241-2f10614c3355" providerId="ADAL" clId="{E4806A0B-DC8E-4AB6-B884-FF8A33E1EF07}" dt="2022-11-28T15:22:11.360" v="7967" actId="6549"/>
          <ac:spMkLst>
            <pc:docMk/>
            <pc:sldMk cId="2444429457" sldId="269"/>
            <ac:spMk id="8" creationId="{04668915-09E4-41EE-82CA-960C056DB399}"/>
          </ac:spMkLst>
        </pc:spChg>
        <pc:spChg chg="add del mod">
          <ac:chgData name="Nikolaj Godsk Vestergaard" userId="13f6e931-e8bb-4f58-9241-2f10614c3355" providerId="ADAL" clId="{E4806A0B-DC8E-4AB6-B884-FF8A33E1EF07}" dt="2022-11-28T14:48:45.348" v="7018" actId="478"/>
          <ac:spMkLst>
            <pc:docMk/>
            <pc:sldMk cId="2444429457" sldId="269"/>
            <ac:spMk id="10" creationId="{FD8DAEBC-9D7B-4D05-9C82-965C0CD67CC1}"/>
          </ac:spMkLst>
        </pc:spChg>
        <pc:spChg chg="add del mod">
          <ac:chgData name="Nikolaj Godsk Vestergaard" userId="13f6e931-e8bb-4f58-9241-2f10614c3355" providerId="ADAL" clId="{E4806A0B-DC8E-4AB6-B884-FF8A33E1EF07}" dt="2022-11-28T14:48:52.751" v="7021" actId="478"/>
          <ac:spMkLst>
            <pc:docMk/>
            <pc:sldMk cId="2444429457" sldId="269"/>
            <ac:spMk id="11" creationId="{CF1B9553-0637-4ED3-8AD4-A12880804297}"/>
          </ac:spMkLst>
        </pc:spChg>
        <pc:spChg chg="add del mod">
          <ac:chgData name="Nikolaj Godsk Vestergaard" userId="13f6e931-e8bb-4f58-9241-2f10614c3355" providerId="ADAL" clId="{E4806A0B-DC8E-4AB6-B884-FF8A33E1EF07}" dt="2022-11-28T14:50:58.082" v="7045" actId="478"/>
          <ac:spMkLst>
            <pc:docMk/>
            <pc:sldMk cId="2444429457" sldId="269"/>
            <ac:spMk id="12" creationId="{55F6FE2C-3202-45D7-B4FE-11AD81605B81}"/>
          </ac:spMkLst>
        </pc:spChg>
        <pc:spChg chg="add del mod ord">
          <ac:chgData name="Nikolaj Godsk Vestergaard" userId="13f6e931-e8bb-4f58-9241-2f10614c3355" providerId="ADAL" clId="{E4806A0B-DC8E-4AB6-B884-FF8A33E1EF07}" dt="2022-11-28T15:21:44.934" v="7960" actId="478"/>
          <ac:spMkLst>
            <pc:docMk/>
            <pc:sldMk cId="2444429457" sldId="269"/>
            <ac:spMk id="13" creationId="{818D88F9-7045-465A-90FD-E6621EC65A22}"/>
          </ac:spMkLst>
        </pc:spChg>
        <pc:spChg chg="add del mod ord">
          <ac:chgData name="Nikolaj Godsk Vestergaard" userId="13f6e931-e8bb-4f58-9241-2f10614c3355" providerId="ADAL" clId="{E4806A0B-DC8E-4AB6-B884-FF8A33E1EF07}" dt="2022-11-28T15:21:45.841" v="7961" actId="478"/>
          <ac:spMkLst>
            <pc:docMk/>
            <pc:sldMk cId="2444429457" sldId="269"/>
            <ac:spMk id="14" creationId="{C31A9DCA-70F8-42DA-8B74-0133DFA53CAB}"/>
          </ac:spMkLst>
        </pc:spChg>
        <pc:spChg chg="add del mod ord">
          <ac:chgData name="Nikolaj Godsk Vestergaard" userId="13f6e931-e8bb-4f58-9241-2f10614c3355" providerId="ADAL" clId="{E4806A0B-DC8E-4AB6-B884-FF8A33E1EF07}" dt="2022-11-28T15:21:47.748" v="7963" actId="478"/>
          <ac:spMkLst>
            <pc:docMk/>
            <pc:sldMk cId="2444429457" sldId="269"/>
            <ac:spMk id="15" creationId="{58E994DB-DDB4-4AF2-BE23-2E37FB9E70A0}"/>
          </ac:spMkLst>
        </pc:spChg>
        <pc:spChg chg="add del mod ord">
          <ac:chgData name="Nikolaj Godsk Vestergaard" userId="13f6e931-e8bb-4f58-9241-2f10614c3355" providerId="ADAL" clId="{E4806A0B-DC8E-4AB6-B884-FF8A33E1EF07}" dt="2022-11-28T15:21:46.450" v="7962" actId="478"/>
          <ac:spMkLst>
            <pc:docMk/>
            <pc:sldMk cId="2444429457" sldId="269"/>
            <ac:spMk id="16" creationId="{022BAB04-DDAB-4226-80AC-26AD5075ED9F}"/>
          </ac:spMkLst>
        </pc:spChg>
        <pc:spChg chg="add mod ord">
          <ac:chgData name="Nikolaj Godsk Vestergaard" userId="13f6e931-e8bb-4f58-9241-2f10614c3355" providerId="ADAL" clId="{E4806A0B-DC8E-4AB6-B884-FF8A33E1EF07}" dt="2022-11-28T15:23:09.335" v="7978" actId="14100"/>
          <ac:spMkLst>
            <pc:docMk/>
            <pc:sldMk cId="2444429457" sldId="269"/>
            <ac:spMk id="17" creationId="{77DA3BC5-65CB-487C-9B74-FC34B7959C1F}"/>
          </ac:spMkLst>
        </pc:spChg>
        <pc:spChg chg="add mod ord">
          <ac:chgData name="Nikolaj Godsk Vestergaard" userId="13f6e931-e8bb-4f58-9241-2f10614c3355" providerId="ADAL" clId="{E4806A0B-DC8E-4AB6-B884-FF8A33E1EF07}" dt="2022-11-28T15:23:09.335" v="7978" actId="14100"/>
          <ac:spMkLst>
            <pc:docMk/>
            <pc:sldMk cId="2444429457" sldId="269"/>
            <ac:spMk id="18" creationId="{524B3632-4EEA-4583-9E10-5261379CADDF}"/>
          </ac:spMkLst>
        </pc:spChg>
        <pc:spChg chg="add mod ord">
          <ac:chgData name="Nikolaj Godsk Vestergaard" userId="13f6e931-e8bb-4f58-9241-2f10614c3355" providerId="ADAL" clId="{E4806A0B-DC8E-4AB6-B884-FF8A33E1EF07}" dt="2022-11-28T15:23:09.335" v="7978" actId="14100"/>
          <ac:spMkLst>
            <pc:docMk/>
            <pc:sldMk cId="2444429457" sldId="269"/>
            <ac:spMk id="19" creationId="{F168D4F1-7BDD-4B3E-B7FA-3566C44FE1C1}"/>
          </ac:spMkLst>
        </pc:spChg>
        <pc:spChg chg="add mod ord">
          <ac:chgData name="Nikolaj Godsk Vestergaard" userId="13f6e931-e8bb-4f58-9241-2f10614c3355" providerId="ADAL" clId="{E4806A0B-DC8E-4AB6-B884-FF8A33E1EF07}" dt="2022-11-28T15:23:09.335" v="7978" actId="14100"/>
          <ac:spMkLst>
            <pc:docMk/>
            <pc:sldMk cId="2444429457" sldId="269"/>
            <ac:spMk id="20" creationId="{80B090C5-3F20-4A18-A744-62FD80CD662F}"/>
          </ac:spMkLst>
        </pc:spChg>
        <pc:spChg chg="add mod ord">
          <ac:chgData name="Nikolaj Godsk Vestergaard" userId="13f6e931-e8bb-4f58-9241-2f10614c3355" providerId="ADAL" clId="{E4806A0B-DC8E-4AB6-B884-FF8A33E1EF07}" dt="2022-11-28T15:23:09.335" v="7978" actId="14100"/>
          <ac:spMkLst>
            <pc:docMk/>
            <pc:sldMk cId="2444429457" sldId="269"/>
            <ac:spMk id="21" creationId="{2898FA5D-AF34-45A9-96AE-D3BA782383F1}"/>
          </ac:spMkLst>
        </pc:spChg>
        <pc:spChg chg="add mod ord">
          <ac:chgData name="Nikolaj Godsk Vestergaard" userId="13f6e931-e8bb-4f58-9241-2f10614c3355" providerId="ADAL" clId="{E4806A0B-DC8E-4AB6-B884-FF8A33E1EF07}" dt="2022-11-28T15:23:09.335" v="7978" actId="14100"/>
          <ac:spMkLst>
            <pc:docMk/>
            <pc:sldMk cId="2444429457" sldId="269"/>
            <ac:spMk id="22" creationId="{8951AA3C-5B32-4341-A2A3-E20C947EDBB0}"/>
          </ac:spMkLst>
        </pc:spChg>
        <pc:spChg chg="add mod">
          <ac:chgData name="Nikolaj Godsk Vestergaard" userId="13f6e931-e8bb-4f58-9241-2f10614c3355" providerId="ADAL" clId="{E4806A0B-DC8E-4AB6-B884-FF8A33E1EF07}" dt="2022-11-28T15:26:00.209" v="8053" actId="20577"/>
          <ac:spMkLst>
            <pc:docMk/>
            <pc:sldMk cId="2444429457" sldId="269"/>
            <ac:spMk id="23" creationId="{DC5BA239-F355-465B-B045-727B918ECA6B}"/>
          </ac:spMkLst>
        </pc:spChg>
        <pc:spChg chg="add del mod">
          <ac:chgData name="Nikolaj Godsk Vestergaard" userId="13f6e931-e8bb-4f58-9241-2f10614c3355" providerId="ADAL" clId="{E4806A0B-DC8E-4AB6-B884-FF8A33E1EF07}" dt="2022-11-28T15:23:18.918" v="7982" actId="478"/>
          <ac:spMkLst>
            <pc:docMk/>
            <pc:sldMk cId="2444429457" sldId="269"/>
            <ac:spMk id="24" creationId="{B93ABC0E-56F3-4539-AAC6-4837193322F1}"/>
          </ac:spMkLst>
        </pc:spChg>
        <pc:spChg chg="add del mod">
          <ac:chgData name="Nikolaj Godsk Vestergaard" userId="13f6e931-e8bb-4f58-9241-2f10614c3355" providerId="ADAL" clId="{E4806A0B-DC8E-4AB6-B884-FF8A33E1EF07}" dt="2022-11-28T15:23:20.190" v="7983" actId="478"/>
          <ac:spMkLst>
            <pc:docMk/>
            <pc:sldMk cId="2444429457" sldId="269"/>
            <ac:spMk id="25" creationId="{D7149E78-DC2A-453E-850D-EA792ED3F67D}"/>
          </ac:spMkLst>
        </pc:spChg>
        <pc:spChg chg="add del mod">
          <ac:chgData name="Nikolaj Godsk Vestergaard" userId="13f6e931-e8bb-4f58-9241-2f10614c3355" providerId="ADAL" clId="{E4806A0B-DC8E-4AB6-B884-FF8A33E1EF07}" dt="2022-11-28T15:23:21.215" v="7985" actId="478"/>
          <ac:spMkLst>
            <pc:docMk/>
            <pc:sldMk cId="2444429457" sldId="269"/>
            <ac:spMk id="26" creationId="{76A1FCD9-C66E-4DA2-9D96-134998AE80D2}"/>
          </ac:spMkLst>
        </pc:spChg>
        <pc:spChg chg="add del mod">
          <ac:chgData name="Nikolaj Godsk Vestergaard" userId="13f6e931-e8bb-4f58-9241-2f10614c3355" providerId="ADAL" clId="{E4806A0B-DC8E-4AB6-B884-FF8A33E1EF07}" dt="2022-11-28T15:23:20.805" v="7984" actId="478"/>
          <ac:spMkLst>
            <pc:docMk/>
            <pc:sldMk cId="2444429457" sldId="269"/>
            <ac:spMk id="27" creationId="{7FC8ED9B-2E4C-452B-AD06-834923E7C1B1}"/>
          </ac:spMkLst>
        </pc:spChg>
        <pc:spChg chg="add del mod">
          <ac:chgData name="Nikolaj Godsk Vestergaard" userId="13f6e931-e8bb-4f58-9241-2f10614c3355" providerId="ADAL" clId="{E4806A0B-DC8E-4AB6-B884-FF8A33E1EF07}" dt="2022-11-28T15:24:21.486" v="8000" actId="478"/>
          <ac:spMkLst>
            <pc:docMk/>
            <pc:sldMk cId="2444429457" sldId="269"/>
            <ac:spMk id="28" creationId="{B0189AEA-EB4A-49BF-9EA2-9C35A0C6DC3E}"/>
          </ac:spMkLst>
        </pc:spChg>
        <pc:spChg chg="add del mod">
          <ac:chgData name="Nikolaj Godsk Vestergaard" userId="13f6e931-e8bb-4f58-9241-2f10614c3355" providerId="ADAL" clId="{E4806A0B-DC8E-4AB6-B884-FF8A33E1EF07}" dt="2022-11-28T15:24:30.774" v="8003" actId="478"/>
          <ac:spMkLst>
            <pc:docMk/>
            <pc:sldMk cId="2444429457" sldId="269"/>
            <ac:spMk id="29" creationId="{163E6D24-D37E-40C6-AC02-F0DA3D45CE7D}"/>
          </ac:spMkLst>
        </pc:spChg>
        <pc:spChg chg="add del mod">
          <ac:chgData name="Nikolaj Godsk Vestergaard" userId="13f6e931-e8bb-4f58-9241-2f10614c3355" providerId="ADAL" clId="{E4806A0B-DC8E-4AB6-B884-FF8A33E1EF07}" dt="2022-11-28T15:26:04.063" v="8056" actId="478"/>
          <ac:spMkLst>
            <pc:docMk/>
            <pc:sldMk cId="2444429457" sldId="269"/>
            <ac:spMk id="30" creationId="{7C1DB3BA-76F6-43DF-A737-4BA676E267CB}"/>
          </ac:spMkLst>
        </pc:spChg>
        <pc:spChg chg="add del mod">
          <ac:chgData name="Nikolaj Godsk Vestergaard" userId="13f6e931-e8bb-4f58-9241-2f10614c3355" providerId="ADAL" clId="{E4806A0B-DC8E-4AB6-B884-FF8A33E1EF07}" dt="2022-11-28T15:24:42.199" v="8007" actId="478"/>
          <ac:spMkLst>
            <pc:docMk/>
            <pc:sldMk cId="2444429457" sldId="269"/>
            <ac:spMk id="31" creationId="{3F97B89D-8CF5-4FEB-85D1-8F479A5753C7}"/>
          </ac:spMkLst>
        </pc:spChg>
        <pc:spChg chg="add mod">
          <ac:chgData name="Nikolaj Godsk Vestergaard" userId="13f6e931-e8bb-4f58-9241-2f10614c3355" providerId="ADAL" clId="{E4806A0B-DC8E-4AB6-B884-FF8A33E1EF07}" dt="2022-11-28T15:25:53.053" v="8044" actId="1076"/>
          <ac:spMkLst>
            <pc:docMk/>
            <pc:sldMk cId="2444429457" sldId="269"/>
            <ac:spMk id="32" creationId="{6B597D88-B5A2-4C3F-8B3D-E682FCD8FD8F}"/>
          </ac:spMkLst>
        </pc:spChg>
        <pc:spChg chg="add del mod">
          <ac:chgData name="Nikolaj Godsk Vestergaard" userId="13f6e931-e8bb-4f58-9241-2f10614c3355" providerId="ADAL" clId="{E4806A0B-DC8E-4AB6-B884-FF8A33E1EF07}" dt="2022-11-28T15:24:04.420" v="7997" actId="478"/>
          <ac:spMkLst>
            <pc:docMk/>
            <pc:sldMk cId="2444429457" sldId="269"/>
            <ac:spMk id="33" creationId="{E56AADD9-A399-497D-8A2E-85E84AA803BA}"/>
          </ac:spMkLst>
        </pc:spChg>
        <pc:spChg chg="add del mod">
          <ac:chgData name="Nikolaj Godsk Vestergaard" userId="13f6e931-e8bb-4f58-9241-2f10614c3355" providerId="ADAL" clId="{E4806A0B-DC8E-4AB6-B884-FF8A33E1EF07}" dt="2022-11-28T15:26:03.046" v="8054" actId="478"/>
          <ac:spMkLst>
            <pc:docMk/>
            <pc:sldMk cId="2444429457" sldId="269"/>
            <ac:spMk id="34" creationId="{5C694549-4AA9-4048-899C-250364F0ECB9}"/>
          </ac:spMkLst>
        </pc:spChg>
        <pc:spChg chg="add del mod">
          <ac:chgData name="Nikolaj Godsk Vestergaard" userId="13f6e931-e8bb-4f58-9241-2f10614c3355" providerId="ADAL" clId="{E4806A0B-DC8E-4AB6-B884-FF8A33E1EF07}" dt="2022-11-28T15:26:03.463" v="8055" actId="478"/>
          <ac:spMkLst>
            <pc:docMk/>
            <pc:sldMk cId="2444429457" sldId="269"/>
            <ac:spMk id="35" creationId="{E81CFFA0-47F0-412D-BDAF-06E300E2B5E2}"/>
          </ac:spMkLst>
        </pc:spChg>
        <pc:spChg chg="add del mod">
          <ac:chgData name="Nikolaj Godsk Vestergaard" userId="13f6e931-e8bb-4f58-9241-2f10614c3355" providerId="ADAL" clId="{E4806A0B-DC8E-4AB6-B884-FF8A33E1EF07}" dt="2022-11-28T15:26:05.710" v="8057" actId="478"/>
          <ac:spMkLst>
            <pc:docMk/>
            <pc:sldMk cId="2444429457" sldId="269"/>
            <ac:spMk id="36" creationId="{21D32ABD-DB4F-4F36-8E82-E77C6F869E84}"/>
          </ac:spMkLst>
        </pc:spChg>
        <pc:spChg chg="add del mod">
          <ac:chgData name="Nikolaj Godsk Vestergaard" userId="13f6e931-e8bb-4f58-9241-2f10614c3355" providerId="ADAL" clId="{E4806A0B-DC8E-4AB6-B884-FF8A33E1EF07}" dt="2022-11-28T15:26:06.326" v="8058" actId="478"/>
          <ac:spMkLst>
            <pc:docMk/>
            <pc:sldMk cId="2444429457" sldId="269"/>
            <ac:spMk id="37" creationId="{5CB99825-17A6-4A59-9E01-3B1138BD8087}"/>
          </ac:spMkLst>
        </pc:spChg>
        <pc:spChg chg="add del mod">
          <ac:chgData name="Nikolaj Godsk Vestergaard" userId="13f6e931-e8bb-4f58-9241-2f10614c3355" providerId="ADAL" clId="{E4806A0B-DC8E-4AB6-B884-FF8A33E1EF07}" dt="2022-11-28T15:26:06.863" v="8059" actId="478"/>
          <ac:spMkLst>
            <pc:docMk/>
            <pc:sldMk cId="2444429457" sldId="269"/>
            <ac:spMk id="38" creationId="{7FBC2B26-9007-4C8B-8392-4F33045E77F3}"/>
          </ac:spMkLst>
        </pc:spChg>
        <pc:spChg chg="add del mod">
          <ac:chgData name="Nikolaj Godsk Vestergaard" userId="13f6e931-e8bb-4f58-9241-2f10614c3355" providerId="ADAL" clId="{E4806A0B-DC8E-4AB6-B884-FF8A33E1EF07}" dt="2022-11-28T15:26:07.287" v="8060" actId="478"/>
          <ac:spMkLst>
            <pc:docMk/>
            <pc:sldMk cId="2444429457" sldId="269"/>
            <ac:spMk id="39" creationId="{F4C13B19-33BB-4348-8B87-32270022E1A2}"/>
          </ac:spMkLst>
        </pc:spChg>
        <pc:spChg chg="add mod">
          <ac:chgData name="Nikolaj Godsk Vestergaard" userId="13f6e931-e8bb-4f58-9241-2f10614c3355" providerId="ADAL" clId="{E4806A0B-DC8E-4AB6-B884-FF8A33E1EF07}" dt="2022-11-28T15:26:11.207" v="8061" actId="571"/>
          <ac:spMkLst>
            <pc:docMk/>
            <pc:sldMk cId="2444429457" sldId="269"/>
            <ac:spMk id="40" creationId="{4093BAFE-0CBD-48FF-95B4-C3F9E9037199}"/>
          </ac:spMkLst>
        </pc:spChg>
        <pc:spChg chg="add mod">
          <ac:chgData name="Nikolaj Godsk Vestergaard" userId="13f6e931-e8bb-4f58-9241-2f10614c3355" providerId="ADAL" clId="{E4806A0B-DC8E-4AB6-B884-FF8A33E1EF07}" dt="2022-11-28T15:26:11.207" v="8061" actId="571"/>
          <ac:spMkLst>
            <pc:docMk/>
            <pc:sldMk cId="2444429457" sldId="269"/>
            <ac:spMk id="41" creationId="{C4B13857-D48B-4C32-8AB1-7BD24B3D6FC0}"/>
          </ac:spMkLst>
        </pc:spChg>
        <pc:spChg chg="add mod">
          <ac:chgData name="Nikolaj Godsk Vestergaard" userId="13f6e931-e8bb-4f58-9241-2f10614c3355" providerId="ADAL" clId="{E4806A0B-DC8E-4AB6-B884-FF8A33E1EF07}" dt="2022-11-28T15:26:13.336" v="8062" actId="571"/>
          <ac:spMkLst>
            <pc:docMk/>
            <pc:sldMk cId="2444429457" sldId="269"/>
            <ac:spMk id="42" creationId="{F02E4B90-C164-4C64-ABC2-8EDD052EC413}"/>
          </ac:spMkLst>
        </pc:spChg>
        <pc:spChg chg="add mod">
          <ac:chgData name="Nikolaj Godsk Vestergaard" userId="13f6e931-e8bb-4f58-9241-2f10614c3355" providerId="ADAL" clId="{E4806A0B-DC8E-4AB6-B884-FF8A33E1EF07}" dt="2022-11-28T15:26:13.336" v="8062" actId="571"/>
          <ac:spMkLst>
            <pc:docMk/>
            <pc:sldMk cId="2444429457" sldId="269"/>
            <ac:spMk id="43" creationId="{2F91982E-5AFE-4B2A-BEF4-311048278B26}"/>
          </ac:spMkLst>
        </pc:spChg>
        <pc:graphicFrameChg chg="mod">
          <ac:chgData name="Nikolaj Godsk Vestergaard" userId="13f6e931-e8bb-4f58-9241-2f10614c3355" providerId="ADAL" clId="{E4806A0B-DC8E-4AB6-B884-FF8A33E1EF07}" dt="2022-11-28T14:57:52.202" v="7322"/>
          <ac:graphicFrameMkLst>
            <pc:docMk/>
            <pc:sldMk cId="2444429457" sldId="269"/>
            <ac:graphicFrameMk id="5" creationId="{494DFD4A-C58C-4389-9344-CB1D175806AB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5:33:38.681" v="8244" actId="47"/>
        <pc:sldMkLst>
          <pc:docMk/>
          <pc:sldMk cId="2032091183" sldId="270"/>
        </pc:sldMkLst>
        <pc:spChg chg="mod">
          <ac:chgData name="Nikolaj Godsk Vestergaard" userId="13f6e931-e8bb-4f58-9241-2f10614c3355" providerId="ADAL" clId="{E4806A0B-DC8E-4AB6-B884-FF8A33E1EF07}" dt="2022-11-28T12:52:02.447" v="900" actId="948"/>
          <ac:spMkLst>
            <pc:docMk/>
            <pc:sldMk cId="2032091183" sldId="270"/>
            <ac:spMk id="2" creationId="{A45A65A8-DABB-460B-83EE-3FE098D4FA67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71" v="1177"/>
          <ac:spMkLst>
            <pc:docMk/>
            <pc:sldMk cId="2032091183" sldId="270"/>
            <ac:spMk id="6" creationId="{CD3C7A4F-715A-40F8-B93A-5BA8AC895214}"/>
          </ac:spMkLst>
        </pc:spChg>
        <pc:graphicFrameChg chg="mod">
          <ac:chgData name="Nikolaj Godsk Vestergaard" userId="13f6e931-e8bb-4f58-9241-2f10614c3355" providerId="ADAL" clId="{E4806A0B-DC8E-4AB6-B884-FF8A33E1EF07}" dt="2022-11-28T12:52:02.675" v="1179"/>
          <ac:graphicFrameMkLst>
            <pc:docMk/>
            <pc:sldMk cId="2032091183" sldId="270"/>
            <ac:graphicFrameMk id="5" creationId="{494DFD4A-C58C-4389-9344-CB1D175806AB}"/>
          </ac:graphicFrameMkLst>
        </pc:graphicFrameChg>
      </pc:sldChg>
      <pc:sldChg chg="modSp del mod">
        <pc:chgData name="Nikolaj Godsk Vestergaard" userId="13f6e931-e8bb-4f58-9241-2f10614c3355" providerId="ADAL" clId="{E4806A0B-DC8E-4AB6-B884-FF8A33E1EF07}" dt="2022-11-28T14:34:56.407" v="5707" actId="47"/>
        <pc:sldMkLst>
          <pc:docMk/>
          <pc:sldMk cId="2128664152" sldId="271"/>
        </pc:sldMkLst>
        <pc:spChg chg="mod">
          <ac:chgData name="Nikolaj Godsk Vestergaard" userId="13f6e931-e8bb-4f58-9241-2f10614c3355" providerId="ADAL" clId="{E4806A0B-DC8E-4AB6-B884-FF8A33E1EF07}" dt="2022-11-28T12:52:02.479" v="938" actId="948"/>
          <ac:spMkLst>
            <pc:docMk/>
            <pc:sldMk cId="2128664152" sldId="271"/>
            <ac:spMk id="2" creationId="{0F8BF24F-A2E6-4CF6-8D40-59F7B68CAF25}"/>
          </ac:spMkLst>
        </pc:spChg>
        <pc:graphicFrameChg chg="mod">
          <ac:chgData name="Nikolaj Godsk Vestergaard" userId="13f6e931-e8bb-4f58-9241-2f10614c3355" providerId="ADAL" clId="{E4806A0B-DC8E-4AB6-B884-FF8A33E1EF07}" dt="2022-11-28T12:52:02.677" v="1181"/>
          <ac:graphicFrameMkLst>
            <pc:docMk/>
            <pc:sldMk cId="2128664152" sldId="271"/>
            <ac:graphicFrameMk id="6" creationId="{2CA615AF-F9B8-4523-BF47-85C929EE8B61}"/>
          </ac:graphicFrameMkLst>
        </pc:graphicFrameChg>
      </pc:sldChg>
      <pc:sldChg chg="modSp del mod">
        <pc:chgData name="Nikolaj Godsk Vestergaard" userId="13f6e931-e8bb-4f58-9241-2f10614c3355" providerId="ADAL" clId="{E4806A0B-DC8E-4AB6-B884-FF8A33E1EF07}" dt="2022-11-28T15:34:51.477" v="8288" actId="47"/>
        <pc:sldMkLst>
          <pc:docMk/>
          <pc:sldMk cId="1410566856" sldId="272"/>
        </pc:sldMkLst>
        <pc:spChg chg="mod">
          <ac:chgData name="Nikolaj Godsk Vestergaard" userId="13f6e931-e8bb-4f58-9241-2f10614c3355" providerId="ADAL" clId="{E4806A0B-DC8E-4AB6-B884-FF8A33E1EF07}" dt="2022-11-28T12:52:02.512" v="977" actId="948"/>
          <ac:spMkLst>
            <pc:docMk/>
            <pc:sldMk cId="1410566856" sldId="272"/>
            <ac:spMk id="2" creationId="{0F8BF24F-A2E6-4CF6-8D40-59F7B68CAF25}"/>
          </ac:spMkLst>
        </pc:spChg>
        <pc:graphicFrameChg chg="mod">
          <ac:chgData name="Nikolaj Godsk Vestergaard" userId="13f6e931-e8bb-4f58-9241-2f10614c3355" providerId="ADAL" clId="{E4806A0B-DC8E-4AB6-B884-FF8A33E1EF07}" dt="2022-11-28T12:52:02.682" v="1187"/>
          <ac:graphicFrameMkLst>
            <pc:docMk/>
            <pc:sldMk cId="1410566856" sldId="272"/>
            <ac:graphicFrameMk id="6" creationId="{2CA615AF-F9B8-4523-BF47-85C929EE8B61}"/>
          </ac:graphicFrameMkLst>
        </pc:graphicFrameChg>
      </pc:sldChg>
      <pc:sldChg chg="addSp delSp modSp mod addCm delCm">
        <pc:chgData name="Nikolaj Godsk Vestergaard" userId="13f6e931-e8bb-4f58-9241-2f10614c3355" providerId="ADAL" clId="{E4806A0B-DC8E-4AB6-B884-FF8A33E1EF07}" dt="2022-12-02T10:24:49.383" v="12254"/>
        <pc:sldMkLst>
          <pc:docMk/>
          <pc:sldMk cId="2932001311" sldId="273"/>
        </pc:sldMkLst>
        <pc:spChg chg="del mod">
          <ac:chgData name="Nikolaj Godsk Vestergaard" userId="13f6e931-e8bb-4f58-9241-2f10614c3355" providerId="ADAL" clId="{E4806A0B-DC8E-4AB6-B884-FF8A33E1EF07}" dt="2022-11-28T15:40:10.125" v="8407" actId="478"/>
          <ac:spMkLst>
            <pc:docMk/>
            <pc:sldMk cId="2932001311" sldId="273"/>
            <ac:spMk id="2" creationId="{6B97FE77-1B7A-44FE-A000-C33B6DED4ACE}"/>
          </ac:spMkLst>
        </pc:spChg>
        <pc:spChg chg="mod">
          <ac:chgData name="Nikolaj Godsk Vestergaard" userId="13f6e931-e8bb-4f58-9241-2f10614c3355" providerId="ADAL" clId="{E4806A0B-DC8E-4AB6-B884-FF8A33E1EF07}" dt="2022-12-02T10:24:38.760" v="12253" actId="179"/>
          <ac:spMkLst>
            <pc:docMk/>
            <pc:sldMk cId="2932001311" sldId="273"/>
            <ac:spMk id="3" creationId="{2822D710-83C3-41B6-BCD3-E40E2A00814C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78" v="1183"/>
          <ac:spMkLst>
            <pc:docMk/>
            <pc:sldMk cId="2932001311" sldId="273"/>
            <ac:spMk id="5" creationId="{E08B2F5C-6618-4F2B-BDAF-0B9E139B4A83}"/>
          </ac:spMkLst>
        </pc:spChg>
        <pc:spChg chg="add del mod">
          <ac:chgData name="Nikolaj Godsk Vestergaard" userId="13f6e931-e8bb-4f58-9241-2f10614c3355" providerId="ADAL" clId="{E4806A0B-DC8E-4AB6-B884-FF8A33E1EF07}" dt="2022-11-28T15:40:12.334" v="8411" actId="478"/>
          <ac:spMkLst>
            <pc:docMk/>
            <pc:sldMk cId="2932001311" sldId="273"/>
            <ac:spMk id="7" creationId="{E1512CA1-C401-49B1-82CE-E3EF7EF7BD74}"/>
          </ac:spMkLst>
        </pc:spChg>
        <pc:spChg chg="add mod">
          <ac:chgData name="Nikolaj Godsk Vestergaard" userId="13f6e931-e8bb-4f58-9241-2f10614c3355" providerId="ADAL" clId="{E4806A0B-DC8E-4AB6-B884-FF8A33E1EF07}" dt="2022-11-28T15:40:20.703" v="8453" actId="20577"/>
          <ac:spMkLst>
            <pc:docMk/>
            <pc:sldMk cId="2932001311" sldId="273"/>
            <ac:spMk id="8" creationId="{4EB62837-F3AF-49A4-A96D-0C6AFE314DC7}"/>
          </ac:spMkLst>
        </pc:spChg>
        <pc:graphicFrameChg chg="mod">
          <ac:chgData name="Nikolaj Godsk Vestergaard" userId="13f6e931-e8bb-4f58-9241-2f10614c3355" providerId="ADAL" clId="{E4806A0B-DC8E-4AB6-B884-FF8A33E1EF07}" dt="2022-11-28T15:40:12.834" v="8415"/>
          <ac:graphicFrameMkLst>
            <pc:docMk/>
            <pc:sldMk cId="2932001311" sldId="273"/>
            <ac:graphicFrameMk id="6" creationId="{38771DE6-9A6E-4EDA-A879-36DF36EAF024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5:58:04.734" v="10023" actId="47"/>
        <pc:sldMkLst>
          <pc:docMk/>
          <pc:sldMk cId="258188884" sldId="274"/>
        </pc:sldMkLst>
        <pc:spChg chg="mod">
          <ac:chgData name="Nikolaj Godsk Vestergaard" userId="13f6e931-e8bb-4f58-9241-2f10614c3355" providerId="ADAL" clId="{E4806A0B-DC8E-4AB6-B884-FF8A33E1EF07}" dt="2022-11-28T12:52:02.515" v="978" actId="948"/>
          <ac:spMkLst>
            <pc:docMk/>
            <pc:sldMk cId="258188884" sldId="274"/>
            <ac:spMk id="2" creationId="{34199CAC-8557-4D63-9769-5DC5DF799CAF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83" v="1189"/>
          <ac:spMkLst>
            <pc:docMk/>
            <pc:sldMk cId="258188884" sldId="274"/>
            <ac:spMk id="6" creationId="{8743352F-3C37-4522-BF58-205FC152463A}"/>
          </ac:spMkLst>
        </pc:spChg>
        <pc:graphicFrameChg chg="mod">
          <ac:chgData name="Nikolaj Godsk Vestergaard" userId="13f6e931-e8bb-4f58-9241-2f10614c3355" providerId="ADAL" clId="{E4806A0B-DC8E-4AB6-B884-FF8A33E1EF07}" dt="2022-11-28T12:52:02.686" v="1191"/>
          <ac:graphicFrameMkLst>
            <pc:docMk/>
            <pc:sldMk cId="258188884" sldId="274"/>
            <ac:graphicFrameMk id="5" creationId="{B8DE40DA-84D2-4106-BE8E-0D1A845215A8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5:58:08.690" v="10025" actId="47"/>
        <pc:sldMkLst>
          <pc:docMk/>
          <pc:sldMk cId="17200743" sldId="275"/>
        </pc:sldMkLst>
        <pc:spChg chg="mod">
          <ac:chgData name="Nikolaj Godsk Vestergaard" userId="13f6e931-e8bb-4f58-9241-2f10614c3355" providerId="ADAL" clId="{E4806A0B-DC8E-4AB6-B884-FF8A33E1EF07}" dt="2022-11-28T12:52:02.579" v="1055" actId="948"/>
          <ac:spMkLst>
            <pc:docMk/>
            <pc:sldMk cId="17200743" sldId="275"/>
            <ac:spMk id="2" creationId="{34199CAC-8557-4D63-9769-5DC5DF799CAF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92" v="1199"/>
          <ac:spMkLst>
            <pc:docMk/>
            <pc:sldMk cId="17200743" sldId="275"/>
            <ac:spMk id="6" creationId="{2E0B0FDE-5FC1-4C9C-AE56-713A394B4035}"/>
          </ac:spMkLst>
        </pc:spChg>
        <pc:graphicFrameChg chg="mod">
          <ac:chgData name="Nikolaj Godsk Vestergaard" userId="13f6e931-e8bb-4f58-9241-2f10614c3355" providerId="ADAL" clId="{E4806A0B-DC8E-4AB6-B884-FF8A33E1EF07}" dt="2022-11-28T12:52:02.695" v="1201"/>
          <ac:graphicFrameMkLst>
            <pc:docMk/>
            <pc:sldMk cId="17200743" sldId="275"/>
            <ac:graphicFrameMk id="5" creationId="{B8DE40DA-84D2-4106-BE8E-0D1A845215A8}"/>
          </ac:graphicFrameMkLst>
        </pc:graphicFrameChg>
      </pc:sldChg>
      <pc:sldChg chg="modSp del mod">
        <pc:chgData name="Nikolaj Godsk Vestergaard" userId="13f6e931-e8bb-4f58-9241-2f10614c3355" providerId="ADAL" clId="{E4806A0B-DC8E-4AB6-B884-FF8A33E1EF07}" dt="2022-11-28T15:36:02.809" v="8334" actId="47"/>
        <pc:sldMkLst>
          <pc:docMk/>
          <pc:sldMk cId="2253518221" sldId="276"/>
        </pc:sldMkLst>
        <pc:spChg chg="mod">
          <ac:chgData name="Nikolaj Godsk Vestergaard" userId="13f6e931-e8bb-4f58-9241-2f10614c3355" providerId="ADAL" clId="{E4806A0B-DC8E-4AB6-B884-FF8A33E1EF07}" dt="2022-11-28T12:52:02.546" v="1016" actId="948"/>
          <ac:spMkLst>
            <pc:docMk/>
            <pc:sldMk cId="2253518221" sldId="276"/>
            <ac:spMk id="2" creationId="{0F8BF24F-A2E6-4CF6-8D40-59F7B68CAF25}"/>
          </ac:spMkLst>
        </pc:spChg>
        <pc:graphicFrameChg chg="mod">
          <ac:chgData name="Nikolaj Godsk Vestergaard" userId="13f6e931-e8bb-4f58-9241-2f10614c3355" providerId="ADAL" clId="{E4806A0B-DC8E-4AB6-B884-FF8A33E1EF07}" dt="2022-11-28T12:52:02.687" v="1193"/>
          <ac:graphicFrameMkLst>
            <pc:docMk/>
            <pc:sldMk cId="2253518221" sldId="276"/>
            <ac:graphicFrameMk id="6" creationId="{2CA615AF-F9B8-4523-BF47-85C929EE8B61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6:01:17.909" v="10331" actId="47"/>
        <pc:sldMkLst>
          <pc:docMk/>
          <pc:sldMk cId="1699648498" sldId="277"/>
        </pc:sldMkLst>
        <pc:spChg chg="mod">
          <ac:chgData name="Nikolaj Godsk Vestergaard" userId="13f6e931-e8bb-4f58-9241-2f10614c3355" providerId="ADAL" clId="{E4806A0B-DC8E-4AB6-B884-FF8A33E1EF07}" dt="2022-11-28T12:52:02.548" v="1017" actId="948"/>
          <ac:spMkLst>
            <pc:docMk/>
            <pc:sldMk cId="1699648498" sldId="277"/>
            <ac:spMk id="2" creationId="{0C1115A6-6C9D-4655-A8EA-4B9FE040A2D1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88" v="1195"/>
          <ac:spMkLst>
            <pc:docMk/>
            <pc:sldMk cId="1699648498" sldId="277"/>
            <ac:spMk id="6" creationId="{8196A247-F5B8-4FA0-A426-4185FC455530}"/>
          </ac:spMkLst>
        </pc:spChg>
        <pc:graphicFrameChg chg="mod">
          <ac:chgData name="Nikolaj Godsk Vestergaard" userId="13f6e931-e8bb-4f58-9241-2f10614c3355" providerId="ADAL" clId="{E4806A0B-DC8E-4AB6-B884-FF8A33E1EF07}" dt="2022-11-28T12:52:02.691" v="1197"/>
          <ac:graphicFrameMkLst>
            <pc:docMk/>
            <pc:sldMk cId="1699648498" sldId="277"/>
            <ac:graphicFrameMk id="5" creationId="{BBA9165B-04A8-43C7-88E9-5FF92236C581}"/>
          </ac:graphicFrameMkLst>
        </pc:graphicFrameChg>
      </pc:sldChg>
      <pc:sldChg chg="addSp delSp modSp del mod">
        <pc:chgData name="Nikolaj Godsk Vestergaard" userId="13f6e931-e8bb-4f58-9241-2f10614c3355" providerId="ADAL" clId="{E4806A0B-DC8E-4AB6-B884-FF8A33E1EF07}" dt="2022-11-28T15:36:09.837" v="8338" actId="47"/>
        <pc:sldMkLst>
          <pc:docMk/>
          <pc:sldMk cId="2000639187" sldId="278"/>
        </pc:sldMkLst>
        <pc:spChg chg="mod">
          <ac:chgData name="Nikolaj Godsk Vestergaard" userId="13f6e931-e8bb-4f58-9241-2f10614c3355" providerId="ADAL" clId="{E4806A0B-DC8E-4AB6-B884-FF8A33E1EF07}" dt="2022-11-28T12:52:02.610" v="1093" actId="948"/>
          <ac:spMkLst>
            <pc:docMk/>
            <pc:sldMk cId="2000639187" sldId="278"/>
            <ac:spMk id="2" creationId="{0F8BF24F-A2E6-4CF6-8D40-59F7B68CAF25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96" v="1203"/>
          <ac:spMkLst>
            <pc:docMk/>
            <pc:sldMk cId="2000639187" sldId="278"/>
            <ac:spMk id="5" creationId="{7A98CC1B-E3E8-46C6-9746-758AE30C0974}"/>
          </ac:spMkLst>
        </pc:spChg>
        <pc:graphicFrameChg chg="mod">
          <ac:chgData name="Nikolaj Godsk Vestergaard" userId="13f6e931-e8bb-4f58-9241-2f10614c3355" providerId="ADAL" clId="{E4806A0B-DC8E-4AB6-B884-FF8A33E1EF07}" dt="2022-11-28T12:52:02.698" v="1205"/>
          <ac:graphicFrameMkLst>
            <pc:docMk/>
            <pc:sldMk cId="2000639187" sldId="278"/>
            <ac:graphicFrameMk id="6" creationId="{2CA615AF-F9B8-4523-BF47-85C929EE8B61}"/>
          </ac:graphicFrameMkLst>
        </pc:graphicFrameChg>
      </pc:sldChg>
      <pc:sldChg chg="del">
        <pc:chgData name="Nikolaj Godsk Vestergaard" userId="13f6e931-e8bb-4f58-9241-2f10614c3355" providerId="ADAL" clId="{E4806A0B-DC8E-4AB6-B884-FF8A33E1EF07}" dt="2022-11-28T12:37:35.416" v="138" actId="47"/>
        <pc:sldMkLst>
          <pc:docMk/>
          <pc:sldMk cId="664770772" sldId="282"/>
        </pc:sldMkLst>
      </pc:sldChg>
      <pc:sldChg chg="addSp delSp modSp del mod setBg">
        <pc:chgData name="Nikolaj Godsk Vestergaard" userId="13f6e931-e8bb-4f58-9241-2f10614c3355" providerId="ADAL" clId="{E4806A0B-DC8E-4AB6-B884-FF8A33E1EF07}" dt="2022-11-28T12:40:57.537" v="256" actId="47"/>
        <pc:sldMkLst>
          <pc:docMk/>
          <pc:sldMk cId="3160652727" sldId="330"/>
        </pc:sldMkLst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23" creationId="{27DDC119-78DF-433F-8799-52E89C2F6A75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24" creationId="{BE78AFAC-465A-4F65-9110-BF77C4D48187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25" creationId="{7A81C725-DC27-4AE3-8D68-FE7C0303D2C5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26" creationId="{D956C9E4-56D3-4A5D-8AFD-15E30B00F6DE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27" creationId="{3BBE1A56-3AA2-4C09-BEC1-79C8B121B13E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28" creationId="{59CFE57F-379D-42E4-91DA-7BE9902DC5FE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29" creationId="{5C1EB049-0EAF-4725-A0E5-DDB8E17C301D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0" creationId="{492D0EB1-2531-4A0C-ADBB-8EAF87B9C1CB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1" creationId="{C8013E93-E618-4ABA-BFD3-430B17E5282E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2" creationId="{E7BD96F4-871C-48A6-96A2-CDF010931F64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3" creationId="{2A87A6BE-FE2F-4716-9CAF-D9A4DA14D50C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4" creationId="{EF67716B-2449-4499-8588-83796037B493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5" creationId="{2E501059-6F46-4353-9636-5361F9D1DA47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6" creationId="{1BC15AD9-1389-4470-A1DD-F358B55CA4C0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7" creationId="{744981B1-C5B3-4A83-907D-159453FE470D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8" creationId="{78711FBF-037B-4C8E-B556-C8945AC35B45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39" creationId="{11AB034A-0247-4E22-A62B-ACCDB053874D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40" creationId="{5D4C21B1-3228-4429-BA70-446A041FA9D2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41" creationId="{3168B0D6-F5F0-4FE1-AC99-22A4EE709327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42" creationId="{A10A710F-006A-4FBF-8D55-2B7D3DCB1995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44" creationId="{1879C620-80D2-46C6-AE07-19D497A050A4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45" creationId="{07904C77-DCDE-4631-B114-5D55BAEE557A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47" creationId="{47E0A437-865A-4260-8CDC-18249B1EBC7E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48" creationId="{9497E4CB-8F41-4330-931C-84865065F063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49" creationId="{9B8B92FF-06DC-46B8-B9A9-509EB2A0F880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0" creationId="{9F2892FE-EBD1-4FDD-B4CB-94C5A8E05FEA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1" creationId="{7CB55B71-0724-42F1-AA66-1F246D2F06CD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2" creationId="{48DBC595-2676-491E-92EA-CE608CCA8676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3" creationId="{8C987389-2D9F-440F-95EB-013B8D3AA158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4" creationId="{31A1ADD1-3882-4A87-A275-50EE497011CD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5" creationId="{15DB1DCB-57BF-41B1-8E9A-5EE95B5049B5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6" creationId="{5246621A-9029-4AE7-BEF0-3E9A027AA3BF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7" creationId="{75DA4FD2-A7CC-441D-AE9B-54EF85C197DD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8" creationId="{C1CF0B91-6BF2-47E1-851E-727A12144858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59" creationId="{66222650-559D-4E7E-86AB-E678479AC9ED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60" creationId="{6A95B6A8-3CE4-4E7B-9C37-D40EA2AEBE78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61" creationId="{44AC986D-AA0E-42CD-97AE-E131F07209B2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62" creationId="{AEC27802-142F-4EEB-9AA5-405A6719AEFE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63" creationId="{E2CF504F-BE63-4F2A-A715-0ACC11654897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64" creationId="{6DE472D4-B4FC-4EFA-943D-99E88107A219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65" creationId="{40C293A1-4124-4CEF-9515-30ED78C66341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66" creationId="{9FE0D9B5-CAF1-44BF-8AD5-F1B94E9C33BE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68" creationId="{FB87D7AC-11BB-4148-8685-F97D75CD0FA5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69" creationId="{B6C9777A-2A85-400E-8938-34C10BD8DA6F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71" creationId="{783C176C-AD5E-4F8B-BB41-11FD1E761E6E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72" creationId="{0D4C5BA7-B18E-4417-9488-889477BAE4D8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73" creationId="{A27B1122-7940-4E67-9780-244E770A031A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74" creationId="{C2D78D3B-BAA6-4FF6-AD26-C345EEB55CAE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75" creationId="{C0F12B51-84EB-4F5F-ABF3-C244000F8886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76" creationId="{F515024A-2438-492E-A9A4-2D2DED7B1F3F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77" creationId="{EAF18AAC-0509-41FF-B20E-BA1DFCE6A83D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78" creationId="{CE9D23B1-6175-4944-9F8C-E355EC92AE1F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79" creationId="{5F19D4EC-6D40-4A19-99FC-E1B18913045C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80" creationId="{5C4D0813-10BF-46D3-9083-37BCE317AAA7}"/>
          </ac:spMkLst>
        </pc:spChg>
        <pc:spChg chg="mod">
          <ac:chgData name="Nikolaj Godsk Vestergaard" userId="13f6e931-e8bb-4f58-9241-2f10614c3355" providerId="ADAL" clId="{E4806A0B-DC8E-4AB6-B884-FF8A33E1EF07}" dt="2022-11-28T12:32:38.904" v="5"/>
          <ac:spMkLst>
            <pc:docMk/>
            <pc:sldMk cId="3160652727" sldId="330"/>
            <ac:spMk id="81" creationId="{FB4A08E7-810C-429E-91DB-645136E7C7C4}"/>
          </ac:spMkLst>
        </pc:spChg>
        <pc:grpChg chg="add del mod">
          <ac:chgData name="Nikolaj Godsk Vestergaard" userId="13f6e931-e8bb-4f58-9241-2f10614c3355" providerId="ADAL" clId="{E4806A0B-DC8E-4AB6-B884-FF8A33E1EF07}" dt="2022-11-28T12:32:42.756" v="7" actId="21"/>
          <ac:grpSpMkLst>
            <pc:docMk/>
            <pc:sldMk cId="3160652727" sldId="330"/>
            <ac:grpSpMk id="22" creationId="{42AFB99E-9F3B-40C3-9AF3-6BFD5759EC64}"/>
          </ac:grpSpMkLst>
        </pc:grpChg>
        <pc:grpChg chg="mod">
          <ac:chgData name="Nikolaj Godsk Vestergaard" userId="13f6e931-e8bb-4f58-9241-2f10614c3355" providerId="ADAL" clId="{E4806A0B-DC8E-4AB6-B884-FF8A33E1EF07}" dt="2022-11-28T12:32:38.904" v="5"/>
          <ac:grpSpMkLst>
            <pc:docMk/>
            <pc:sldMk cId="3160652727" sldId="330"/>
            <ac:grpSpMk id="43" creationId="{2AB4DADE-2AEF-4E8C-82A4-B87DB74C5B51}"/>
          </ac:grpSpMkLst>
        </pc:grpChg>
        <pc:grpChg chg="mod">
          <ac:chgData name="Nikolaj Godsk Vestergaard" userId="13f6e931-e8bb-4f58-9241-2f10614c3355" providerId="ADAL" clId="{E4806A0B-DC8E-4AB6-B884-FF8A33E1EF07}" dt="2022-11-28T12:32:38.904" v="5"/>
          <ac:grpSpMkLst>
            <pc:docMk/>
            <pc:sldMk cId="3160652727" sldId="330"/>
            <ac:grpSpMk id="46" creationId="{6531BEDC-B98B-4120-A82B-D83ECF22926F}"/>
          </ac:grpSpMkLst>
        </pc:grpChg>
        <pc:grpChg chg="mod">
          <ac:chgData name="Nikolaj Godsk Vestergaard" userId="13f6e931-e8bb-4f58-9241-2f10614c3355" providerId="ADAL" clId="{E4806A0B-DC8E-4AB6-B884-FF8A33E1EF07}" dt="2022-11-28T12:32:38.904" v="5"/>
          <ac:grpSpMkLst>
            <pc:docMk/>
            <pc:sldMk cId="3160652727" sldId="330"/>
            <ac:grpSpMk id="67" creationId="{9CEBDC98-003E-4C95-8F0E-CAB325FEDB2D}"/>
          </ac:grpSpMkLst>
        </pc:grpChg>
        <pc:grpChg chg="mod">
          <ac:chgData name="Nikolaj Godsk Vestergaard" userId="13f6e931-e8bb-4f58-9241-2f10614c3355" providerId="ADAL" clId="{E4806A0B-DC8E-4AB6-B884-FF8A33E1EF07}" dt="2022-11-28T12:32:38.904" v="5"/>
          <ac:grpSpMkLst>
            <pc:docMk/>
            <pc:sldMk cId="3160652727" sldId="330"/>
            <ac:grpSpMk id="70" creationId="{5AE4628B-AF0D-4B0A-9592-2C8C210277BA}"/>
          </ac:grpSpMkLst>
        </pc:grpChg>
      </pc:sldChg>
      <pc:sldChg chg="addSp delSp modSp del mod">
        <pc:chgData name="Nikolaj Godsk Vestergaard" userId="13f6e931-e8bb-4f58-9241-2f10614c3355" providerId="ADAL" clId="{E4806A0B-DC8E-4AB6-B884-FF8A33E1EF07}" dt="2022-11-28T12:53:02.357" v="1211" actId="47"/>
        <pc:sldMkLst>
          <pc:docMk/>
          <pc:sldMk cId="529458152" sldId="331"/>
        </pc:sldMkLst>
        <pc:spChg chg="mod">
          <ac:chgData name="Nikolaj Godsk Vestergaard" userId="13f6e931-e8bb-4f58-9241-2f10614c3355" providerId="ADAL" clId="{E4806A0B-DC8E-4AB6-B884-FF8A33E1EF07}" dt="2022-11-28T12:52:02.163" v="557" actId="948"/>
          <ac:spMkLst>
            <pc:docMk/>
            <pc:sldMk cId="529458152" sldId="331"/>
            <ac:spMk id="2" creationId="{4DC788D3-B488-4645-9551-29A5DDA197B4}"/>
          </ac:spMkLst>
        </pc:spChg>
        <pc:spChg chg="add del mod modVis">
          <ac:chgData name="Nikolaj Godsk Vestergaard" userId="13f6e931-e8bb-4f58-9241-2f10614c3355" providerId="ADAL" clId="{E4806A0B-DC8E-4AB6-B884-FF8A33E1EF07}" dt="2022-11-28T12:52:02.645" v="1139"/>
          <ac:spMkLst>
            <pc:docMk/>
            <pc:sldMk cId="529458152" sldId="331"/>
            <ac:spMk id="5" creationId="{44C2EE5E-05F0-4212-A7F3-BF9B908EB2D1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8" creationId="{189D7599-42A6-424A-B170-5ECFFBFC4A15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9" creationId="{8D478693-ECAB-4686-A994-C6A7D84CE9B4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0" creationId="{36118CA5-16C3-4D1C-A8F3-D3EDB73E722C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1" creationId="{A78CEC1B-D9FD-4156-8478-829D60DC0588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2" creationId="{9C087281-1092-45B8-ADC6-4D788C991EED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3" creationId="{E2085654-E9F2-44DC-A0FE-D1F504B68BEC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4" creationId="{6E667D9A-46F1-4417-A332-91CBF5E7C919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5" creationId="{587AABFE-2037-42A1-9EE2-1042B6958EC8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6" creationId="{AE253893-5A7C-4FD6-8B67-FF187021EB25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7" creationId="{51B35295-FED0-4628-9644-8DA805878AE4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8" creationId="{0BCE11A9-D6B9-444A-A2EC-B5380DE81859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19" creationId="{BD3E9AB4-2B82-4B7F-B52B-E9B88CF18384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20" creationId="{C7BBF12B-058A-4A4B-9553-4526BA5A3BE1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21" creationId="{A62810E2-0632-452C-906D-EE6873886A4E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22" creationId="{32AB69F7-18D1-44F3-8DA6-4972E2981153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23" creationId="{FC58D9CB-B434-46F3-9F1F-9100F409B89E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24" creationId="{AE059490-C6D6-45EA-A960-DC35BA66B5D1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25" creationId="{915A2186-CBBC-43FB-8AAB-EB7D61016597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26" creationId="{8B49DFC4-80EE-462D-95F9-2CDD80B13DDD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27" creationId="{3AB29F15-13D9-4DD4-8E0C-11FC7AC75146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29" creationId="{D4B11E39-0BA2-44AF-87B5-D15B2A9AD6E5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30" creationId="{526640A9-83FA-45B2-8C8F-DF69707C7DB3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32" creationId="{307AE5C5-8BD5-4FDF-8689-986DDDC92BC1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33" creationId="{817D15CA-CCCA-4D2E-A2EB-17F3E2FA7A06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34" creationId="{035C6228-9470-40C4-A393-CF8E97922CB6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35" creationId="{538C870D-1C90-423A-9560-62ED4DEBB9F1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36" creationId="{9BD8D194-41BF-4806-B4AF-9986EC5B5641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37" creationId="{E75C2887-D32B-40C4-9190-1AB44EDB8E52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38" creationId="{CB8C761E-7223-4CA5-86D6-96DA1F7664A7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39" creationId="{6FB3ABE8-E2FB-4912-A460-E20E314D3584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0" creationId="{1788DFA2-5724-4BE5-99DA-44B03593336D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1" creationId="{04185917-66F8-48AC-8E77-516E68B50EA7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2" creationId="{BB2107D1-7B7D-499E-8570-BE2C5F317C05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3" creationId="{74B21C23-70B2-48B1-9B9B-70254EE9720D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4" creationId="{16CC58FE-DBC1-4587-9236-807B8E98BA1F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5" creationId="{CC4ADAD8-D4BA-4D70-9AF3-CD056F914B8B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6" creationId="{715584F6-7978-44FC-A0B8-825667BD165B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7" creationId="{FB653873-9B6A-4646-9C45-787191A84D73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8" creationId="{70E9F266-81DD-4CCD-BF07-B45156483363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49" creationId="{C95DF2B1-DFA7-411E-8F1D-1177C2C4C1C9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50" creationId="{17E07D3C-CCBE-4F60-BFF0-20EBCE8085B1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51" creationId="{461AD1FD-12BE-4404-AA1B-73A14AEB57C3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53" creationId="{CE694D2E-4624-472A-8953-63327C804ED8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54" creationId="{690D96A3-E925-4E72-9B69-9F3348F16401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56" creationId="{AB226075-50CA-4169-BCA4-D4EE59DDC69D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57" creationId="{B26D9B85-D579-4CE8-BB5F-97C77475970A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58" creationId="{7F75D7AB-3A12-420B-B5B2-5D4B9E91153F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59" creationId="{5226EAB2-EA9C-47DB-AB30-657F3AD2974A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60" creationId="{5FD3B3AC-F857-4D24-A6B5-8E72A9DF7C21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61" creationId="{EF579A99-ADCA-47B6-A2DE-9E2FBB532DE0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62" creationId="{F2005147-F287-4281-B9C1-D05993628FAA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63" creationId="{F7E76567-E1EA-4EBC-8D25-C7DF1DA47DB6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64" creationId="{6FA029A4-2687-43CB-87C6-AF273AAEEA0E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65" creationId="{1F33FBB8-E784-4A46-9024-C808E02DF12A}"/>
          </ac:spMkLst>
        </pc:spChg>
        <pc:spChg chg="mod">
          <ac:chgData name="Nikolaj Godsk Vestergaard" userId="13f6e931-e8bb-4f58-9241-2f10614c3355" providerId="ADAL" clId="{E4806A0B-DC8E-4AB6-B884-FF8A33E1EF07}" dt="2022-11-28T12:32:44.439" v="8"/>
          <ac:spMkLst>
            <pc:docMk/>
            <pc:sldMk cId="529458152" sldId="331"/>
            <ac:spMk id="66" creationId="{244A5B66-AD9C-4CE5-8AA0-48C61A2B10EC}"/>
          </ac:spMkLst>
        </pc:spChg>
        <pc:grpChg chg="add del mod">
          <ac:chgData name="Nikolaj Godsk Vestergaard" userId="13f6e931-e8bb-4f58-9241-2f10614c3355" providerId="ADAL" clId="{E4806A0B-DC8E-4AB6-B884-FF8A33E1EF07}" dt="2022-11-28T12:34:23.760" v="38" actId="478"/>
          <ac:grpSpMkLst>
            <pc:docMk/>
            <pc:sldMk cId="529458152" sldId="331"/>
            <ac:grpSpMk id="7" creationId="{4707F686-F628-435A-8985-5A12E26C3CDC}"/>
          </ac:grpSpMkLst>
        </pc:grpChg>
        <pc:grpChg chg="mod">
          <ac:chgData name="Nikolaj Godsk Vestergaard" userId="13f6e931-e8bb-4f58-9241-2f10614c3355" providerId="ADAL" clId="{E4806A0B-DC8E-4AB6-B884-FF8A33E1EF07}" dt="2022-11-28T12:32:44.439" v="8"/>
          <ac:grpSpMkLst>
            <pc:docMk/>
            <pc:sldMk cId="529458152" sldId="331"/>
            <ac:grpSpMk id="28" creationId="{00262AAA-4672-4168-854A-35ACEC3F73AB}"/>
          </ac:grpSpMkLst>
        </pc:grpChg>
        <pc:grpChg chg="mod">
          <ac:chgData name="Nikolaj Godsk Vestergaard" userId="13f6e931-e8bb-4f58-9241-2f10614c3355" providerId="ADAL" clId="{E4806A0B-DC8E-4AB6-B884-FF8A33E1EF07}" dt="2022-11-28T12:32:44.439" v="8"/>
          <ac:grpSpMkLst>
            <pc:docMk/>
            <pc:sldMk cId="529458152" sldId="331"/>
            <ac:grpSpMk id="31" creationId="{5C76980D-655C-4A00-891E-7DFB37405406}"/>
          </ac:grpSpMkLst>
        </pc:grpChg>
        <pc:grpChg chg="mod">
          <ac:chgData name="Nikolaj Godsk Vestergaard" userId="13f6e931-e8bb-4f58-9241-2f10614c3355" providerId="ADAL" clId="{E4806A0B-DC8E-4AB6-B884-FF8A33E1EF07}" dt="2022-11-28T12:32:44.439" v="8"/>
          <ac:grpSpMkLst>
            <pc:docMk/>
            <pc:sldMk cId="529458152" sldId="331"/>
            <ac:grpSpMk id="52" creationId="{CCE34512-7262-49F1-8436-A1784B642561}"/>
          </ac:grpSpMkLst>
        </pc:grpChg>
        <pc:grpChg chg="mod">
          <ac:chgData name="Nikolaj Godsk Vestergaard" userId="13f6e931-e8bb-4f58-9241-2f10614c3355" providerId="ADAL" clId="{E4806A0B-DC8E-4AB6-B884-FF8A33E1EF07}" dt="2022-11-28T12:32:44.439" v="8"/>
          <ac:grpSpMkLst>
            <pc:docMk/>
            <pc:sldMk cId="529458152" sldId="331"/>
            <ac:grpSpMk id="55" creationId="{F1EFFD3E-42BB-429B-BBB1-BC0E67F99031}"/>
          </ac:grpSpMkLst>
        </pc:grpChg>
        <pc:graphicFrameChg chg="mod">
          <ac:chgData name="Nikolaj Godsk Vestergaard" userId="13f6e931-e8bb-4f58-9241-2f10614c3355" providerId="ADAL" clId="{E4806A0B-DC8E-4AB6-B884-FF8A33E1EF07}" dt="2022-11-28T12:52:02.647" v="1141"/>
          <ac:graphicFrameMkLst>
            <pc:docMk/>
            <pc:sldMk cId="529458152" sldId="331"/>
            <ac:graphicFrameMk id="6" creationId="{04387A61-43FE-46B6-8C73-F239F7BF4336}"/>
          </ac:graphicFrameMkLst>
        </pc:graphicFrameChg>
      </pc:sldChg>
      <pc:sldChg chg="addSp delSp modSp add mod ord setBg addCm modCm">
        <pc:chgData name="Nikolaj Godsk Vestergaard" userId="13f6e931-e8bb-4f58-9241-2f10614c3355" providerId="ADAL" clId="{E4806A0B-DC8E-4AB6-B884-FF8A33E1EF07}" dt="2022-12-02T11:51:12.166" v="13596"/>
        <pc:sldMkLst>
          <pc:docMk/>
          <pc:sldMk cId="2818176505" sldId="332"/>
        </pc:sldMkLst>
        <pc:spChg chg="del">
          <ac:chgData name="Nikolaj Godsk Vestergaard" userId="13f6e931-e8bb-4f58-9241-2f10614c3355" providerId="ADAL" clId="{E4806A0B-DC8E-4AB6-B884-FF8A33E1EF07}" dt="2022-11-28T12:37:51.227" v="142" actId="478"/>
          <ac:spMkLst>
            <pc:docMk/>
            <pc:sldMk cId="2818176505" sldId="332"/>
            <ac:spMk id="2" creationId="{4DC788D3-B488-4645-9551-29A5DDA197B4}"/>
          </ac:spMkLst>
        </pc:spChg>
        <pc:spChg chg="del">
          <ac:chgData name="Nikolaj Godsk Vestergaard" userId="13f6e931-e8bb-4f58-9241-2f10614c3355" providerId="ADAL" clId="{E4806A0B-DC8E-4AB6-B884-FF8A33E1EF07}" dt="2022-11-28T12:35:57.804" v="44" actId="478"/>
          <ac:spMkLst>
            <pc:docMk/>
            <pc:sldMk cId="2818176505" sldId="332"/>
            <ac:spMk id="3" creationId="{87F6D32E-DB67-4417-9E4B-4A05FEAADF32}"/>
          </ac:spMkLst>
        </pc:spChg>
        <pc:spChg chg="del">
          <ac:chgData name="Nikolaj Godsk Vestergaard" userId="13f6e931-e8bb-4f58-9241-2f10614c3355" providerId="ADAL" clId="{E4806A0B-DC8E-4AB6-B884-FF8A33E1EF07}" dt="2022-11-28T12:37:18.679" v="137" actId="478"/>
          <ac:spMkLst>
            <pc:docMk/>
            <pc:sldMk cId="2818176505" sldId="332"/>
            <ac:spMk id="4" creationId="{BC5C2B99-9DE5-4E37-AAAC-21FD72DC2542}"/>
          </ac:spMkLst>
        </pc:spChg>
        <pc:spChg chg="add del mod">
          <ac:chgData name="Nikolaj Godsk Vestergaard" userId="13f6e931-e8bb-4f58-9241-2f10614c3355" providerId="ADAL" clId="{E4806A0B-DC8E-4AB6-B884-FF8A33E1EF07}" dt="2022-11-28T12:36:00.783" v="45" actId="478"/>
          <ac:spMkLst>
            <pc:docMk/>
            <pc:sldMk cId="2818176505" sldId="332"/>
            <ac:spMk id="7" creationId="{B8F753AE-59B9-4D51-9520-D7B9342591F6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8" creationId="{18F14FD9-3FAB-4EF3-974D-C061C651508D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9" creationId="{6CB39BD7-EE54-4465-8739-A0C3421098D8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0" creationId="{F69EF964-24C2-4DD9-B881-9F245CCB947D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1" creationId="{6FC3653F-1370-443D-BFCD-B6702CE6F403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2" creationId="{40AAC384-C4C2-4E30-BF87-04D6AABB6B8A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3" creationId="{C8ACBE09-3625-4D46-85FA-A1488565C725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4" creationId="{B5499348-D02B-4B1E-ADFF-1FAFEF8E9AE3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5" creationId="{8B724FFF-72B8-43CF-A210-6A76AAF7DC48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6" creationId="{91A65BAF-F160-414E-A773-0668CF513010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7" creationId="{2E4AB12A-AFB0-45E5-8FE4-0A2457ADC242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8" creationId="{9D256130-79C2-4942-90D1-61382AC68BFE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19" creationId="{5169B9EB-F71C-41E1-9C65-F5078A24236A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20" creationId="{FD510315-B523-4138-85B0-21B09229074D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28" creationId="{098879FA-E91D-496F-B965-55F394CD8C73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30" creationId="{4477B7A4-A1DD-49C1-BCD7-F575CA02E476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32" creationId="{E71B1CC5-72DD-4648-AB59-FB2ABE70B059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34" creationId="{B02E3268-0A94-4281-92F6-53580227EEF6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36" creationId="{50BB9E5D-1CA4-4A0B-99D6-0C6C04ED726C}"/>
          </ac:spMkLst>
        </pc:spChg>
        <pc:spChg chg="add del mod">
          <ac:chgData name="Nikolaj Godsk Vestergaard" userId="13f6e931-e8bb-4f58-9241-2f10614c3355" providerId="ADAL" clId="{E4806A0B-DC8E-4AB6-B884-FF8A33E1EF07}" dt="2022-11-28T12:36:03.256" v="47"/>
          <ac:spMkLst>
            <pc:docMk/>
            <pc:sldMk cId="2818176505" sldId="332"/>
            <ac:spMk id="38" creationId="{0D54A889-B5A6-41E0-98C7-DB1E73AF8C3C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39" creationId="{BF5BCCF6-69E9-4A66-A4C1-9CD0CF200266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0" creationId="{E9523A0F-3A57-4498-90F9-F42BBB3254AE}"/>
          </ac:spMkLst>
        </pc:spChg>
        <pc:spChg chg="add mod ord">
          <ac:chgData name="Nikolaj Godsk Vestergaard" userId="13f6e931-e8bb-4f58-9241-2f10614c3355" providerId="ADAL" clId="{E4806A0B-DC8E-4AB6-B884-FF8A33E1EF07}" dt="2022-12-02T08:42:38.876" v="11017"/>
          <ac:spMkLst>
            <pc:docMk/>
            <pc:sldMk cId="2818176505" sldId="332"/>
            <ac:spMk id="41" creationId="{7DD1BEFE-FF04-46C0-8C82-875A228C70F3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1" creationId="{B5B92C93-C23F-4E1E-A03A-AF63CC386F36}"/>
          </ac:spMkLst>
        </pc:spChg>
        <pc:spChg chg="add mod ord">
          <ac:chgData name="Nikolaj Godsk Vestergaard" userId="13f6e931-e8bb-4f58-9241-2f10614c3355" providerId="ADAL" clId="{E4806A0B-DC8E-4AB6-B884-FF8A33E1EF07}" dt="2022-12-02T08:44:37.832" v="11047" actId="207"/>
          <ac:spMkLst>
            <pc:docMk/>
            <pc:sldMk cId="2818176505" sldId="332"/>
            <ac:spMk id="42" creationId="{6FC8D232-7EFB-47BE-9AE1-D266FD7725F0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2" creationId="{75B3E8FA-766E-4567-84AC-E00DB6F4916E}"/>
          </ac:spMkLst>
        </pc:spChg>
        <pc:spChg chg="add mod ord">
          <ac:chgData name="Nikolaj Godsk Vestergaard" userId="13f6e931-e8bb-4f58-9241-2f10614c3355" providerId="ADAL" clId="{E4806A0B-DC8E-4AB6-B884-FF8A33E1EF07}" dt="2022-12-02T08:44:56.591" v="11049" actId="20577"/>
          <ac:spMkLst>
            <pc:docMk/>
            <pc:sldMk cId="2818176505" sldId="332"/>
            <ac:spMk id="43" creationId="{5EBB8361-371A-4E35-B569-7E6C11CA483A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3" creationId="{A1548F08-D864-4CB9-B927-BF0A0C92CAFC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4" creationId="{21E17BC4-8677-49CE-9882-628486CCAC1D}"/>
          </ac:spMkLst>
        </pc:spChg>
        <pc:spChg chg="add mod ord">
          <ac:chgData name="Nikolaj Godsk Vestergaard" userId="13f6e931-e8bb-4f58-9241-2f10614c3355" providerId="ADAL" clId="{E4806A0B-DC8E-4AB6-B884-FF8A33E1EF07}" dt="2022-12-02T08:44:44.463" v="11048" actId="20577"/>
          <ac:spMkLst>
            <pc:docMk/>
            <pc:sldMk cId="2818176505" sldId="332"/>
            <ac:spMk id="44" creationId="{F15A940C-88AE-4D92-8730-B7E13B27B57B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5" creationId="{7936FDCF-4685-4313-A35F-EDB479B1CE67}"/>
          </ac:spMkLst>
        </pc:spChg>
        <pc:spChg chg="add mod ord">
          <ac:chgData name="Nikolaj Godsk Vestergaard" userId="13f6e931-e8bb-4f58-9241-2f10614c3355" providerId="ADAL" clId="{E4806A0B-DC8E-4AB6-B884-FF8A33E1EF07}" dt="2022-12-02T08:44:37.832" v="11047" actId="207"/>
          <ac:spMkLst>
            <pc:docMk/>
            <pc:sldMk cId="2818176505" sldId="332"/>
            <ac:spMk id="45" creationId="{E5BCBACD-978C-4938-BB72-DC19BF4B878E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6" creationId="{74E5E0C8-94A2-4F1E-A584-478A878E610E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7" creationId="{298C4F84-B2AD-4FCC-BF4E-6D1A449BED22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8" creationId="{27022802-94C7-4D3E-9BCE-45C935691362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49" creationId="{64BCDB8E-3626-4778-A23A-9E45D36B9C99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50" creationId="{45EA6578-F542-4DF1-95A7-0F5FE3258061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51" creationId="{37BB5212-C54B-4FC3-886B-CC0D268F9F51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59" creationId="{0415CE0E-E711-4544-8870-C3945E07CDAC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61" creationId="{C2D56120-3A51-4726-A7D6-8A8FB17B6349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63" creationId="{7F499E51-0EEE-4A7E-A225-8B6F5B919D38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65" creationId="{D58E735C-034F-4D41-A439-594AE6006829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67" creationId="{7D1694A6-A86A-409E-8BF2-182F9A18FE06}"/>
          </ac:spMkLst>
        </pc:spChg>
        <pc:spChg chg="add del mod">
          <ac:chgData name="Nikolaj Godsk Vestergaard" userId="13f6e931-e8bb-4f58-9241-2f10614c3355" providerId="ADAL" clId="{E4806A0B-DC8E-4AB6-B884-FF8A33E1EF07}" dt="2022-11-28T12:36:16.881" v="49" actId="478"/>
          <ac:spMkLst>
            <pc:docMk/>
            <pc:sldMk cId="2818176505" sldId="332"/>
            <ac:spMk id="69" creationId="{ABF45201-5806-41A9-A78E-1D80314AAAF6}"/>
          </ac:spMkLst>
        </pc:spChg>
        <pc:spChg chg="add del mod">
          <ac:chgData name="Nikolaj Godsk Vestergaard" userId="13f6e931-e8bb-4f58-9241-2f10614c3355" providerId="ADAL" clId="{E4806A0B-DC8E-4AB6-B884-FF8A33E1EF07}" dt="2022-12-02T08:41:14.973" v="10637" actId="478"/>
          <ac:spMkLst>
            <pc:docMk/>
            <pc:sldMk cId="2818176505" sldId="332"/>
            <ac:spMk id="70" creationId="{21F26288-DAB4-49CB-84A4-AFD5DD569484}"/>
          </ac:spMkLst>
        </pc:spChg>
        <pc:spChg chg="add del mod">
          <ac:chgData name="Nikolaj Godsk Vestergaard" userId="13f6e931-e8bb-4f58-9241-2f10614c3355" providerId="ADAL" clId="{E4806A0B-DC8E-4AB6-B884-FF8A33E1EF07}" dt="2022-12-02T08:41:12.262" v="10635" actId="478"/>
          <ac:spMkLst>
            <pc:docMk/>
            <pc:sldMk cId="2818176505" sldId="332"/>
            <ac:spMk id="71" creationId="{611FBFB0-DBE9-4480-983A-6E3CF0D97B74}"/>
          </ac:spMkLst>
        </pc:spChg>
        <pc:spChg chg="add del mod">
          <ac:chgData name="Nikolaj Godsk Vestergaard" userId="13f6e931-e8bb-4f58-9241-2f10614c3355" providerId="ADAL" clId="{E4806A0B-DC8E-4AB6-B884-FF8A33E1EF07}" dt="2022-12-02T08:41:12.262" v="10635" actId="478"/>
          <ac:spMkLst>
            <pc:docMk/>
            <pc:sldMk cId="2818176505" sldId="332"/>
            <ac:spMk id="72" creationId="{4CA9999E-CC1F-46A1-BBE0-51BE893A0CF6}"/>
          </ac:spMkLst>
        </pc:spChg>
        <pc:spChg chg="add del mod">
          <ac:chgData name="Nikolaj Godsk Vestergaard" userId="13f6e931-e8bb-4f58-9241-2f10614c3355" providerId="ADAL" clId="{E4806A0B-DC8E-4AB6-B884-FF8A33E1EF07}" dt="2022-12-02T08:41:12.262" v="10635" actId="478"/>
          <ac:spMkLst>
            <pc:docMk/>
            <pc:sldMk cId="2818176505" sldId="332"/>
            <ac:spMk id="73" creationId="{4A899259-5624-4C43-839C-4BE571CC03A7}"/>
          </ac:spMkLst>
        </pc:spChg>
        <pc:spChg chg="add del mod">
          <ac:chgData name="Nikolaj Godsk Vestergaard" userId="13f6e931-e8bb-4f58-9241-2f10614c3355" providerId="ADAL" clId="{E4806A0B-DC8E-4AB6-B884-FF8A33E1EF07}" dt="2022-12-02T08:41:12.262" v="10635" actId="478"/>
          <ac:spMkLst>
            <pc:docMk/>
            <pc:sldMk cId="2818176505" sldId="332"/>
            <ac:spMk id="74" creationId="{BE7ED44A-A618-4809-979F-421E102068A1}"/>
          </ac:spMkLst>
        </pc:spChg>
        <pc:spChg chg="add del mod">
          <ac:chgData name="Nikolaj Godsk Vestergaard" userId="13f6e931-e8bb-4f58-9241-2f10614c3355" providerId="ADAL" clId="{E4806A0B-DC8E-4AB6-B884-FF8A33E1EF07}" dt="2022-12-02T08:41:12.262" v="10635" actId="478"/>
          <ac:spMkLst>
            <pc:docMk/>
            <pc:sldMk cId="2818176505" sldId="332"/>
            <ac:spMk id="75" creationId="{C0DB32E3-58A9-480C-BA58-42B155A2D36A}"/>
          </ac:spMkLst>
        </pc:spChg>
        <pc:spChg chg="add del mod">
          <ac:chgData name="Nikolaj Godsk Vestergaard" userId="13f6e931-e8bb-4f58-9241-2f10614c3355" providerId="ADAL" clId="{E4806A0B-DC8E-4AB6-B884-FF8A33E1EF07}" dt="2022-12-02T08:41:12.262" v="10635" actId="478"/>
          <ac:spMkLst>
            <pc:docMk/>
            <pc:sldMk cId="2818176505" sldId="332"/>
            <ac:spMk id="76" creationId="{B9807305-7D30-4C02-BE34-0B2A81BF9345}"/>
          </ac:spMkLst>
        </pc:spChg>
        <pc:spChg chg="add del mod">
          <ac:chgData name="Nikolaj Godsk Vestergaard" userId="13f6e931-e8bb-4f58-9241-2f10614c3355" providerId="ADAL" clId="{E4806A0B-DC8E-4AB6-B884-FF8A33E1EF07}" dt="2022-12-02T08:41:12.262" v="10635" actId="478"/>
          <ac:spMkLst>
            <pc:docMk/>
            <pc:sldMk cId="2818176505" sldId="332"/>
            <ac:spMk id="77" creationId="{4DE16F1D-040E-4626-9C2B-A1128BD170F0}"/>
          </ac:spMkLst>
        </pc:spChg>
        <pc:spChg chg="add del mod">
          <ac:chgData name="Nikolaj Godsk Vestergaard" userId="13f6e931-e8bb-4f58-9241-2f10614c3355" providerId="ADAL" clId="{E4806A0B-DC8E-4AB6-B884-FF8A33E1EF07}" dt="2022-12-02T08:41:12.262" v="10635" actId="478"/>
          <ac:spMkLst>
            <pc:docMk/>
            <pc:sldMk cId="2818176505" sldId="332"/>
            <ac:spMk id="78" creationId="{78B4E5D5-8C54-43D9-BFB7-212979C23F61}"/>
          </ac:spMkLst>
        </pc:spChg>
        <pc:spChg chg="add del mod">
          <ac:chgData name="Nikolaj Godsk Vestergaard" userId="13f6e931-e8bb-4f58-9241-2f10614c3355" providerId="ADAL" clId="{E4806A0B-DC8E-4AB6-B884-FF8A33E1EF07}" dt="2022-12-02T08:41:12.262" v="10635" actId="478"/>
          <ac:spMkLst>
            <pc:docMk/>
            <pc:sldMk cId="2818176505" sldId="332"/>
            <ac:spMk id="79" creationId="{ACD1223E-81F1-4F22-87B9-132CB774314E}"/>
          </ac:spMkLst>
        </pc:spChg>
        <pc:spChg chg="add del mod">
          <ac:chgData name="Nikolaj Godsk Vestergaard" userId="13f6e931-e8bb-4f58-9241-2f10614c3355" providerId="ADAL" clId="{E4806A0B-DC8E-4AB6-B884-FF8A33E1EF07}" dt="2022-12-02T08:41:13.951" v="10636" actId="478"/>
          <ac:spMkLst>
            <pc:docMk/>
            <pc:sldMk cId="2818176505" sldId="332"/>
            <ac:spMk id="80" creationId="{A1E6705F-D39F-42B3-AB7A-59EB168E0E94}"/>
          </ac:spMkLst>
        </pc:spChg>
        <pc:spChg chg="add mod ord">
          <ac:chgData name="Nikolaj Godsk Vestergaard" userId="13f6e931-e8bb-4f58-9241-2f10614c3355" providerId="ADAL" clId="{E4806A0B-DC8E-4AB6-B884-FF8A33E1EF07}" dt="2022-12-02T11:45:10.103" v="13505" actId="14100"/>
          <ac:spMkLst>
            <pc:docMk/>
            <pc:sldMk cId="2818176505" sldId="332"/>
            <ac:spMk id="81" creationId="{F0769BA3-66CD-4FC1-9AA0-CF03C4D0115B}"/>
          </ac:spMkLst>
        </pc:spChg>
        <pc:spChg chg="add mod ord">
          <ac:chgData name="Nikolaj Godsk Vestergaard" userId="13f6e931-e8bb-4f58-9241-2f10614c3355" providerId="ADAL" clId="{E4806A0B-DC8E-4AB6-B884-FF8A33E1EF07}" dt="2022-12-02T08:43:11.876" v="11028" actId="14100"/>
          <ac:spMkLst>
            <pc:docMk/>
            <pc:sldMk cId="2818176505" sldId="332"/>
            <ac:spMk id="82" creationId="{0ECF3D48-5D1C-411A-98C1-80FB4A4AA4F4}"/>
          </ac:spMkLst>
        </pc:spChg>
        <pc:spChg chg="add del mod">
          <ac:chgData name="Nikolaj Godsk Vestergaard" userId="13f6e931-e8bb-4f58-9241-2f10614c3355" providerId="ADAL" clId="{E4806A0B-DC8E-4AB6-B884-FF8A33E1EF07}" dt="2022-12-02T08:40:34.417" v="10604" actId="478"/>
          <ac:spMkLst>
            <pc:docMk/>
            <pc:sldMk cId="2818176505" sldId="332"/>
            <ac:spMk id="84" creationId="{6A888D5B-0F92-49E0-BB6C-F313DCAA380B}"/>
          </ac:spMkLst>
        </pc:spChg>
        <pc:spChg chg="add del mod">
          <ac:chgData name="Nikolaj Godsk Vestergaard" userId="13f6e931-e8bb-4f58-9241-2f10614c3355" providerId="ADAL" clId="{E4806A0B-DC8E-4AB6-B884-FF8A33E1EF07}" dt="2022-12-02T08:40:34.417" v="10604" actId="478"/>
          <ac:spMkLst>
            <pc:docMk/>
            <pc:sldMk cId="2818176505" sldId="332"/>
            <ac:spMk id="86" creationId="{DFBEC3B8-825A-49AD-A9EE-BB101F5FE081}"/>
          </ac:spMkLst>
        </pc:spChg>
        <pc:spChg chg="add del mod">
          <ac:chgData name="Nikolaj Godsk Vestergaard" userId="13f6e931-e8bb-4f58-9241-2f10614c3355" providerId="ADAL" clId="{E4806A0B-DC8E-4AB6-B884-FF8A33E1EF07}" dt="2022-12-02T08:40:34.417" v="10604" actId="478"/>
          <ac:spMkLst>
            <pc:docMk/>
            <pc:sldMk cId="2818176505" sldId="332"/>
            <ac:spMk id="88" creationId="{9FAFA766-9C90-4BA1-87CD-8949449D48F9}"/>
          </ac:spMkLst>
        </pc:spChg>
        <pc:spChg chg="add del mod">
          <ac:chgData name="Nikolaj Godsk Vestergaard" userId="13f6e931-e8bb-4f58-9241-2f10614c3355" providerId="ADAL" clId="{E4806A0B-DC8E-4AB6-B884-FF8A33E1EF07}" dt="2022-12-02T08:40:34.417" v="10604" actId="478"/>
          <ac:spMkLst>
            <pc:docMk/>
            <pc:sldMk cId="2818176505" sldId="332"/>
            <ac:spMk id="90" creationId="{4EB6E242-0749-4864-9A7F-A3389912D2C3}"/>
          </ac:spMkLst>
        </pc:spChg>
        <pc:spChg chg="add del mod">
          <ac:chgData name="Nikolaj Godsk Vestergaard" userId="13f6e931-e8bb-4f58-9241-2f10614c3355" providerId="ADAL" clId="{E4806A0B-DC8E-4AB6-B884-FF8A33E1EF07}" dt="2022-12-02T08:40:34.417" v="10604" actId="478"/>
          <ac:spMkLst>
            <pc:docMk/>
            <pc:sldMk cId="2818176505" sldId="332"/>
            <ac:spMk id="92" creationId="{C7576BE3-F3BD-41E0-AD7C-61395EDA50A8}"/>
          </ac:spMkLst>
        </pc:spChg>
        <pc:spChg chg="add del mod">
          <ac:chgData name="Nikolaj Godsk Vestergaard" userId="13f6e931-e8bb-4f58-9241-2f10614c3355" providerId="ADAL" clId="{E4806A0B-DC8E-4AB6-B884-FF8A33E1EF07}" dt="2022-12-02T08:40:30.009" v="10601" actId="478"/>
          <ac:spMkLst>
            <pc:docMk/>
            <pc:sldMk cId="2818176505" sldId="332"/>
            <ac:spMk id="94" creationId="{56217BBC-D09A-4DB5-892A-0EF64B28D946}"/>
          </ac:spMkLst>
        </pc:spChg>
        <pc:spChg chg="add del mod">
          <ac:chgData name="Nikolaj Godsk Vestergaard" userId="13f6e931-e8bb-4f58-9241-2f10614c3355" providerId="ADAL" clId="{E4806A0B-DC8E-4AB6-B884-FF8A33E1EF07}" dt="2022-12-02T08:40:42.631" v="10611" actId="478"/>
          <ac:spMkLst>
            <pc:docMk/>
            <pc:sldMk cId="2818176505" sldId="332"/>
            <ac:spMk id="96" creationId="{DE74A01E-E294-4529-930D-B8488612C721}"/>
          </ac:spMkLst>
        </pc:spChg>
        <pc:spChg chg="add del mod">
          <ac:chgData name="Nikolaj Godsk Vestergaard" userId="13f6e931-e8bb-4f58-9241-2f10614c3355" providerId="ADAL" clId="{E4806A0B-DC8E-4AB6-B884-FF8A33E1EF07}" dt="2022-12-02T08:40:42.631" v="10611" actId="478"/>
          <ac:spMkLst>
            <pc:docMk/>
            <pc:sldMk cId="2818176505" sldId="332"/>
            <ac:spMk id="98" creationId="{6DB634E8-1E4D-45FA-AB0B-B7E2CBD0B1FE}"/>
          </ac:spMkLst>
        </pc:spChg>
        <pc:spChg chg="add del mod">
          <ac:chgData name="Nikolaj Godsk Vestergaard" userId="13f6e931-e8bb-4f58-9241-2f10614c3355" providerId="ADAL" clId="{E4806A0B-DC8E-4AB6-B884-FF8A33E1EF07}" dt="2022-12-02T08:40:42.631" v="10611" actId="478"/>
          <ac:spMkLst>
            <pc:docMk/>
            <pc:sldMk cId="2818176505" sldId="332"/>
            <ac:spMk id="100" creationId="{A6055611-ECDD-4A4C-B420-B7FEC27156AC}"/>
          </ac:spMkLst>
        </pc:spChg>
        <pc:spChg chg="add del mod">
          <ac:chgData name="Nikolaj Godsk Vestergaard" userId="13f6e931-e8bb-4f58-9241-2f10614c3355" providerId="ADAL" clId="{E4806A0B-DC8E-4AB6-B884-FF8A33E1EF07}" dt="2022-12-02T08:40:42.631" v="10611" actId="478"/>
          <ac:spMkLst>
            <pc:docMk/>
            <pc:sldMk cId="2818176505" sldId="332"/>
            <ac:spMk id="102" creationId="{4345DBE1-346C-472D-ADCC-E0EDF045E3B4}"/>
          </ac:spMkLst>
        </pc:spChg>
        <pc:spChg chg="add del mod">
          <ac:chgData name="Nikolaj Godsk Vestergaard" userId="13f6e931-e8bb-4f58-9241-2f10614c3355" providerId="ADAL" clId="{E4806A0B-DC8E-4AB6-B884-FF8A33E1EF07}" dt="2022-12-02T08:40:42.631" v="10611" actId="478"/>
          <ac:spMkLst>
            <pc:docMk/>
            <pc:sldMk cId="2818176505" sldId="332"/>
            <ac:spMk id="104" creationId="{4E601221-6269-4900-B11C-ED11861D9B55}"/>
          </ac:spMkLst>
        </pc:spChg>
        <pc:spChg chg="add del mod">
          <ac:chgData name="Nikolaj Godsk Vestergaard" userId="13f6e931-e8bb-4f58-9241-2f10614c3355" providerId="ADAL" clId="{E4806A0B-DC8E-4AB6-B884-FF8A33E1EF07}" dt="2022-12-02T08:40:42.631" v="10611" actId="478"/>
          <ac:spMkLst>
            <pc:docMk/>
            <pc:sldMk cId="2818176505" sldId="332"/>
            <ac:spMk id="106" creationId="{8E1C6042-D95A-4241-AA39-FECEF418CE90}"/>
          </ac:spMkLst>
        </pc:spChg>
        <pc:spChg chg="add del mod">
          <ac:chgData name="Nikolaj Godsk Vestergaard" userId="13f6e931-e8bb-4f58-9241-2f10614c3355" providerId="ADAL" clId="{E4806A0B-DC8E-4AB6-B884-FF8A33E1EF07}" dt="2022-11-28T12:37:46.329" v="140"/>
          <ac:spMkLst>
            <pc:docMk/>
            <pc:sldMk cId="2818176505" sldId="332"/>
            <ac:spMk id="107" creationId="{0CEF8CB3-AE7F-4859-A169-06C763AA8BF2}"/>
          </ac:spMkLst>
        </pc:spChg>
        <pc:spChg chg="add mod ord">
          <ac:chgData name="Nikolaj Godsk Vestergaard" userId="13f6e931-e8bb-4f58-9241-2f10614c3355" providerId="ADAL" clId="{E4806A0B-DC8E-4AB6-B884-FF8A33E1EF07}" dt="2022-12-02T08:42:38.876" v="11015"/>
          <ac:spMkLst>
            <pc:docMk/>
            <pc:sldMk cId="2818176505" sldId="332"/>
            <ac:spMk id="108" creationId="{F7505CCF-6B2D-4791-8B8E-A8068ECE6AE7}"/>
          </ac:spMkLst>
        </pc:spChg>
        <pc:spChg chg="add del mod">
          <ac:chgData name="Nikolaj Godsk Vestergaard" userId="13f6e931-e8bb-4f58-9241-2f10614c3355" providerId="ADAL" clId="{E4806A0B-DC8E-4AB6-B884-FF8A33E1EF07}" dt="2022-11-28T12:37:53.738" v="146" actId="478"/>
          <ac:spMkLst>
            <pc:docMk/>
            <pc:sldMk cId="2818176505" sldId="332"/>
            <ac:spMk id="110" creationId="{07D73433-29AE-4C0D-A518-7B741BAC699E}"/>
          </ac:spMkLst>
        </pc:spChg>
        <pc:spChg chg="add del mod">
          <ac:chgData name="Nikolaj Godsk Vestergaard" userId="13f6e931-e8bb-4f58-9241-2f10614c3355" providerId="ADAL" clId="{E4806A0B-DC8E-4AB6-B884-FF8A33E1EF07}" dt="2022-11-28T12:55:38.140" v="1254" actId="478"/>
          <ac:spMkLst>
            <pc:docMk/>
            <pc:sldMk cId="2818176505" sldId="332"/>
            <ac:spMk id="111" creationId="{60A6CE46-0364-495B-BD3A-FC59CDFB403B}"/>
          </ac:spMkLst>
        </pc:spChg>
        <pc:graphicFrameChg chg="mod">
          <ac:chgData name="Nikolaj Godsk Vestergaard" userId="13f6e931-e8bb-4f58-9241-2f10614c3355" providerId="ADAL" clId="{E4806A0B-DC8E-4AB6-B884-FF8A33E1EF07}" dt="2022-12-02T08:42:38.878" v="11020"/>
          <ac:graphicFrameMkLst>
            <pc:docMk/>
            <pc:sldMk cId="2818176505" sldId="332"/>
            <ac:graphicFrameMk id="6" creationId="{04387A61-43FE-46B6-8C73-F239F7BF4336}"/>
          </ac:graphicFrameMkLst>
        </pc:graphicFrame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21" creationId="{8A7014C6-6829-4364-92B1-A96F04827142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22" creationId="{56AAD859-196F-4AB5-8F9C-FECC1C7E840E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23" creationId="{AAB20988-96BB-4DB4-8EDE-7549FC9DD21A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24" creationId="{6252BEC9-E1FC-4D01-8D8F-174BCD18AACE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25" creationId="{D1650228-2B38-41BB-8C78-B56D8BF8316C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26" creationId="{B34C4B56-5C50-438D-A1CE-CFFFC8D79EA4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27" creationId="{07A8AB05-55B6-4190-8CE7-E55F7551D756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29" creationId="{890DAA2C-C2E7-427C-B425-52A19AE67B8F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31" creationId="{B6531A29-6CEE-47EA-ADCB-2AAFC41B6270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33" creationId="{57814C90-4662-4731-B7A8-E2076EFF8A38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35" creationId="{6D1D951B-6A3C-4F0A-BA10-8AA6DD9E74D9}"/>
          </ac:cxnSpMkLst>
        </pc:cxnChg>
        <pc:cxnChg chg="add del mod">
          <ac:chgData name="Nikolaj Godsk Vestergaard" userId="13f6e931-e8bb-4f58-9241-2f10614c3355" providerId="ADAL" clId="{E4806A0B-DC8E-4AB6-B884-FF8A33E1EF07}" dt="2022-11-28T12:36:03.256" v="47"/>
          <ac:cxnSpMkLst>
            <pc:docMk/>
            <pc:sldMk cId="2818176505" sldId="332"/>
            <ac:cxnSpMk id="37" creationId="{0708ABC2-E6B0-400F-A243-39AE35896AA2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52" creationId="{952EC5D4-98D3-450C-9819-B32C75BB34FA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53" creationId="{E995131A-58AD-4DA6-A41D-D6DEBAB2E1B4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54" creationId="{496663EF-B520-452A-A1F1-1D704930BED3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55" creationId="{BFC4A3CB-59E5-42CF-9F7C-A65E517F7C59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56" creationId="{4D95FD4E-9AB9-498C-B32B-D10FA4920A43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57" creationId="{53D25803-6027-44CF-A023-36F1DFE526F1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58" creationId="{B9B6BCF3-C547-4654-8E79-497E40821F8A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60" creationId="{6E17780F-A5E1-49C8-A0A5-DADA3280CD45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62" creationId="{42B7D806-93DF-4EAE-AC85-280E050D5A07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64" creationId="{C8A924BB-CBCF-4D3D-842F-4AF0A473317B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66" creationId="{D1617DCD-167F-4F4B-B735-26DF66AF9F59}"/>
          </ac:cxnSpMkLst>
        </pc:cxnChg>
        <pc:cxnChg chg="add del mod">
          <ac:chgData name="Nikolaj Godsk Vestergaard" userId="13f6e931-e8bb-4f58-9241-2f10614c3355" providerId="ADAL" clId="{E4806A0B-DC8E-4AB6-B884-FF8A33E1EF07}" dt="2022-11-28T12:36:16.881" v="49" actId="478"/>
          <ac:cxnSpMkLst>
            <pc:docMk/>
            <pc:sldMk cId="2818176505" sldId="332"/>
            <ac:cxnSpMk id="68" creationId="{EE04184C-D608-42CD-8E65-255537F8B80F}"/>
          </ac:cxnSpMkLst>
        </pc:cxnChg>
        <pc:cxnChg chg="add del mod">
          <ac:chgData name="Nikolaj Godsk Vestergaard" userId="13f6e931-e8bb-4f58-9241-2f10614c3355" providerId="ADAL" clId="{E4806A0B-DC8E-4AB6-B884-FF8A33E1EF07}" dt="2022-12-02T08:40:38.448" v="10609" actId="478"/>
          <ac:cxnSpMkLst>
            <pc:docMk/>
            <pc:sldMk cId="2818176505" sldId="332"/>
            <ac:cxnSpMk id="83" creationId="{B3BAB8D9-F6D6-447E-8D82-26E5D10BC619}"/>
          </ac:cxnSpMkLst>
        </pc:cxnChg>
        <pc:cxnChg chg="add del mod">
          <ac:chgData name="Nikolaj Godsk Vestergaard" userId="13f6e931-e8bb-4f58-9241-2f10614c3355" providerId="ADAL" clId="{E4806A0B-DC8E-4AB6-B884-FF8A33E1EF07}" dt="2022-12-02T08:40:37.693" v="10608" actId="478"/>
          <ac:cxnSpMkLst>
            <pc:docMk/>
            <pc:sldMk cId="2818176505" sldId="332"/>
            <ac:cxnSpMk id="85" creationId="{8DF5EC93-6807-4951-9CC0-4214D757AB2C}"/>
          </ac:cxnSpMkLst>
        </pc:cxnChg>
        <pc:cxnChg chg="add del mod">
          <ac:chgData name="Nikolaj Godsk Vestergaard" userId="13f6e931-e8bb-4f58-9241-2f10614c3355" providerId="ADAL" clId="{E4806A0B-DC8E-4AB6-B884-FF8A33E1EF07}" dt="2022-12-02T08:40:36.639" v="10607" actId="478"/>
          <ac:cxnSpMkLst>
            <pc:docMk/>
            <pc:sldMk cId="2818176505" sldId="332"/>
            <ac:cxnSpMk id="87" creationId="{1642505F-5117-4105-BC50-9FB184DC0D0A}"/>
          </ac:cxnSpMkLst>
        </pc:cxnChg>
        <pc:cxnChg chg="add del mod">
          <ac:chgData name="Nikolaj Godsk Vestergaard" userId="13f6e931-e8bb-4f58-9241-2f10614c3355" providerId="ADAL" clId="{E4806A0B-DC8E-4AB6-B884-FF8A33E1EF07}" dt="2022-12-02T08:40:35.803" v="10606" actId="478"/>
          <ac:cxnSpMkLst>
            <pc:docMk/>
            <pc:sldMk cId="2818176505" sldId="332"/>
            <ac:cxnSpMk id="89" creationId="{A481B954-4AAA-4D06-86C0-83B422B0FE82}"/>
          </ac:cxnSpMkLst>
        </pc:cxnChg>
        <pc:cxnChg chg="add del mod">
          <ac:chgData name="Nikolaj Godsk Vestergaard" userId="13f6e931-e8bb-4f58-9241-2f10614c3355" providerId="ADAL" clId="{E4806A0B-DC8E-4AB6-B884-FF8A33E1EF07}" dt="2022-12-02T08:40:35.198" v="10605" actId="478"/>
          <ac:cxnSpMkLst>
            <pc:docMk/>
            <pc:sldMk cId="2818176505" sldId="332"/>
            <ac:cxnSpMk id="91" creationId="{FF7B8B66-C1E2-46BD-8755-C6D004DD831F}"/>
          </ac:cxnSpMkLst>
        </pc:cxnChg>
        <pc:cxnChg chg="add del mod">
          <ac:chgData name="Nikolaj Godsk Vestergaard" userId="13f6e931-e8bb-4f58-9241-2f10614c3355" providerId="ADAL" clId="{E4806A0B-DC8E-4AB6-B884-FF8A33E1EF07}" dt="2022-12-02T08:40:30.693" v="10602" actId="478"/>
          <ac:cxnSpMkLst>
            <pc:docMk/>
            <pc:sldMk cId="2818176505" sldId="332"/>
            <ac:cxnSpMk id="93" creationId="{42D4E7DD-E3F3-4C95-880F-079067E421CA}"/>
          </ac:cxnSpMkLst>
        </pc:cxnChg>
        <pc:cxnChg chg="add del mod">
          <ac:chgData name="Nikolaj Godsk Vestergaard" userId="13f6e931-e8bb-4f58-9241-2f10614c3355" providerId="ADAL" clId="{E4806A0B-DC8E-4AB6-B884-FF8A33E1EF07}" dt="2022-12-02T08:40:40.025" v="10610" actId="478"/>
          <ac:cxnSpMkLst>
            <pc:docMk/>
            <pc:sldMk cId="2818176505" sldId="332"/>
            <ac:cxnSpMk id="95" creationId="{01F89884-501C-4FD9-885E-DA71CC198CF1}"/>
          </ac:cxnSpMkLst>
        </pc:cxnChg>
        <pc:cxnChg chg="add del mod">
          <ac:chgData name="Nikolaj Godsk Vestergaard" userId="13f6e931-e8bb-4f58-9241-2f10614c3355" providerId="ADAL" clId="{E4806A0B-DC8E-4AB6-B884-FF8A33E1EF07}" dt="2022-12-02T08:40:47.651" v="10616" actId="478"/>
          <ac:cxnSpMkLst>
            <pc:docMk/>
            <pc:sldMk cId="2818176505" sldId="332"/>
            <ac:cxnSpMk id="97" creationId="{D05DA3A4-9C6B-49EF-BB68-F258EAF2C5B8}"/>
          </ac:cxnSpMkLst>
        </pc:cxnChg>
        <pc:cxnChg chg="add del mod">
          <ac:chgData name="Nikolaj Godsk Vestergaard" userId="13f6e931-e8bb-4f58-9241-2f10614c3355" providerId="ADAL" clId="{E4806A0B-DC8E-4AB6-B884-FF8A33E1EF07}" dt="2022-12-02T08:40:46.614" v="10615" actId="478"/>
          <ac:cxnSpMkLst>
            <pc:docMk/>
            <pc:sldMk cId="2818176505" sldId="332"/>
            <ac:cxnSpMk id="99" creationId="{A79AF86C-F903-47DE-A8F9-71DC20E286A2}"/>
          </ac:cxnSpMkLst>
        </pc:cxnChg>
        <pc:cxnChg chg="add del mod">
          <ac:chgData name="Nikolaj Godsk Vestergaard" userId="13f6e931-e8bb-4f58-9241-2f10614c3355" providerId="ADAL" clId="{E4806A0B-DC8E-4AB6-B884-FF8A33E1EF07}" dt="2022-12-02T08:40:45.780" v="10614" actId="478"/>
          <ac:cxnSpMkLst>
            <pc:docMk/>
            <pc:sldMk cId="2818176505" sldId="332"/>
            <ac:cxnSpMk id="101" creationId="{915D1E63-4B2B-41C4-9FAF-A1D6AA7B4CBA}"/>
          </ac:cxnSpMkLst>
        </pc:cxnChg>
        <pc:cxnChg chg="add del mod">
          <ac:chgData name="Nikolaj Godsk Vestergaard" userId="13f6e931-e8bb-4f58-9241-2f10614c3355" providerId="ADAL" clId="{E4806A0B-DC8E-4AB6-B884-FF8A33E1EF07}" dt="2022-12-02T08:40:44.789" v="10613" actId="478"/>
          <ac:cxnSpMkLst>
            <pc:docMk/>
            <pc:sldMk cId="2818176505" sldId="332"/>
            <ac:cxnSpMk id="103" creationId="{1D3EDEDB-14D2-439E-A112-FC697838C294}"/>
          </ac:cxnSpMkLst>
        </pc:cxnChg>
        <pc:cxnChg chg="add del mod">
          <ac:chgData name="Nikolaj Godsk Vestergaard" userId="13f6e931-e8bb-4f58-9241-2f10614c3355" providerId="ADAL" clId="{E4806A0B-DC8E-4AB6-B884-FF8A33E1EF07}" dt="2022-12-02T08:40:43.793" v="10612" actId="478"/>
          <ac:cxnSpMkLst>
            <pc:docMk/>
            <pc:sldMk cId="2818176505" sldId="332"/>
            <ac:cxnSpMk id="105" creationId="{6CC36A74-6506-4F55-993D-AB82FB5BDBDA}"/>
          </ac:cxnSpMkLst>
        </pc:cxnChg>
      </pc:sldChg>
      <pc:sldChg chg="addSp delSp modSp add mod setBg">
        <pc:chgData name="Nikolaj Godsk Vestergaard" userId="13f6e931-e8bb-4f58-9241-2f10614c3355" providerId="ADAL" clId="{E4806A0B-DC8E-4AB6-B884-FF8A33E1EF07}" dt="2022-11-28T15:38:45.841" v="8404"/>
        <pc:sldMkLst>
          <pc:docMk/>
          <pc:sldMk cId="4046010928" sldId="333"/>
        </pc:sldMkLst>
        <pc:spChg chg="add mod">
          <ac:chgData name="Nikolaj Godsk Vestergaard" userId="13f6e931-e8bb-4f58-9241-2f10614c3355" providerId="ADAL" clId="{E4806A0B-DC8E-4AB6-B884-FF8A33E1EF07}" dt="2022-11-28T15:38:45.841" v="8404"/>
          <ac:spMkLst>
            <pc:docMk/>
            <pc:sldMk cId="4046010928" sldId="333"/>
            <ac:spMk id="37" creationId="{E02E948A-D5C9-48C7-9C1A-34BF94B82E8D}"/>
          </ac:spMkLst>
        </pc:spChg>
        <pc:spChg chg="add del mod">
          <ac:chgData name="Nikolaj Godsk Vestergaard" userId="13f6e931-e8bb-4f58-9241-2f10614c3355" providerId="ADAL" clId="{E4806A0B-DC8E-4AB6-B884-FF8A33E1EF07}" dt="2022-11-28T12:40:40.223" v="252"/>
          <ac:spMkLst>
            <pc:docMk/>
            <pc:sldMk cId="4046010928" sldId="333"/>
            <ac:spMk id="41" creationId="{EAD68FD6-2D6F-4689-B89B-58BBBF093ECD}"/>
          </ac:spMkLst>
        </pc:spChg>
        <pc:spChg chg="mod">
          <ac:chgData name="Nikolaj Godsk Vestergaard" userId="13f6e931-e8bb-4f58-9241-2f10614c3355" providerId="ADAL" clId="{E4806A0B-DC8E-4AB6-B884-FF8A33E1EF07}" dt="2022-11-28T12:40:39.086" v="251"/>
          <ac:spMkLst>
            <pc:docMk/>
            <pc:sldMk cId="4046010928" sldId="333"/>
            <ac:spMk id="43" creationId="{ECCBA21C-6212-403B-8989-718E0DC22EB0}"/>
          </ac:spMkLst>
        </pc:spChg>
        <pc:spChg chg="mod">
          <ac:chgData name="Nikolaj Godsk Vestergaard" userId="13f6e931-e8bb-4f58-9241-2f10614c3355" providerId="ADAL" clId="{E4806A0B-DC8E-4AB6-B884-FF8A33E1EF07}" dt="2022-11-28T12:40:39.086" v="251"/>
          <ac:spMkLst>
            <pc:docMk/>
            <pc:sldMk cId="4046010928" sldId="333"/>
            <ac:spMk id="44" creationId="{C14DFF1F-BB0F-4CDF-8BC4-AD70E3E1CF18}"/>
          </ac:spMkLst>
        </pc:spChg>
        <pc:spChg chg="mod">
          <ac:chgData name="Nikolaj Godsk Vestergaard" userId="13f6e931-e8bb-4f58-9241-2f10614c3355" providerId="ADAL" clId="{E4806A0B-DC8E-4AB6-B884-FF8A33E1EF07}" dt="2022-11-28T12:40:39.086" v="251"/>
          <ac:spMkLst>
            <pc:docMk/>
            <pc:sldMk cId="4046010928" sldId="333"/>
            <ac:spMk id="46" creationId="{DCB3F7EC-8100-498B-A117-1B9A864D49AA}"/>
          </ac:spMkLst>
        </pc:spChg>
        <pc:spChg chg="mod">
          <ac:chgData name="Nikolaj Godsk Vestergaard" userId="13f6e931-e8bb-4f58-9241-2f10614c3355" providerId="ADAL" clId="{E4806A0B-DC8E-4AB6-B884-FF8A33E1EF07}" dt="2022-11-28T12:40:39.086" v="251"/>
          <ac:spMkLst>
            <pc:docMk/>
            <pc:sldMk cId="4046010928" sldId="333"/>
            <ac:spMk id="47" creationId="{8D19B65F-578B-46C2-8D20-37CF6A013BDB}"/>
          </ac:spMkLst>
        </pc:spChg>
        <pc:spChg chg="mod">
          <ac:chgData name="Nikolaj Godsk Vestergaard" userId="13f6e931-e8bb-4f58-9241-2f10614c3355" providerId="ADAL" clId="{E4806A0B-DC8E-4AB6-B884-FF8A33E1EF07}" dt="2022-11-28T12:40:39.086" v="251"/>
          <ac:spMkLst>
            <pc:docMk/>
            <pc:sldMk cId="4046010928" sldId="333"/>
            <ac:spMk id="49" creationId="{1CAB7513-9E5F-4953-BDEF-D75C0FB8F3BA}"/>
          </ac:spMkLst>
        </pc:spChg>
        <pc:spChg chg="mod">
          <ac:chgData name="Nikolaj Godsk Vestergaard" userId="13f6e931-e8bb-4f58-9241-2f10614c3355" providerId="ADAL" clId="{E4806A0B-DC8E-4AB6-B884-FF8A33E1EF07}" dt="2022-11-28T12:40:39.086" v="251"/>
          <ac:spMkLst>
            <pc:docMk/>
            <pc:sldMk cId="4046010928" sldId="333"/>
            <ac:spMk id="50" creationId="{E77044ED-9D64-4530-8DEF-3B41D7A8AB7E}"/>
          </ac:spMkLst>
        </pc:spChg>
        <pc:spChg chg="mod">
          <ac:chgData name="Nikolaj Godsk Vestergaard" userId="13f6e931-e8bb-4f58-9241-2f10614c3355" providerId="ADAL" clId="{E4806A0B-DC8E-4AB6-B884-FF8A33E1EF07}" dt="2022-11-28T12:40:39.086" v="251"/>
          <ac:spMkLst>
            <pc:docMk/>
            <pc:sldMk cId="4046010928" sldId="333"/>
            <ac:spMk id="52" creationId="{90C512BC-530E-4FF0-AB86-D326278F5D35}"/>
          </ac:spMkLst>
        </pc:spChg>
        <pc:spChg chg="mod">
          <ac:chgData name="Nikolaj Godsk Vestergaard" userId="13f6e931-e8bb-4f58-9241-2f10614c3355" providerId="ADAL" clId="{E4806A0B-DC8E-4AB6-B884-FF8A33E1EF07}" dt="2022-11-28T12:40:39.086" v="251"/>
          <ac:spMkLst>
            <pc:docMk/>
            <pc:sldMk cId="4046010928" sldId="333"/>
            <ac:spMk id="53" creationId="{41BD2268-42D4-447A-BD36-557F8973587A}"/>
          </ac:spMkLst>
        </pc:spChg>
        <pc:spChg chg="add del mod">
          <ac:chgData name="Nikolaj Godsk Vestergaard" userId="13f6e931-e8bb-4f58-9241-2f10614c3355" providerId="ADAL" clId="{E4806A0B-DC8E-4AB6-B884-FF8A33E1EF07}" dt="2022-11-28T12:40:40.223" v="252"/>
          <ac:spMkLst>
            <pc:docMk/>
            <pc:sldMk cId="4046010928" sldId="333"/>
            <ac:spMk id="54" creationId="{70EAB610-00DE-429C-9A57-D09F1C671002}"/>
          </ac:spMkLst>
        </pc:spChg>
        <pc:spChg chg="add del mod">
          <ac:chgData name="Nikolaj Godsk Vestergaard" userId="13f6e931-e8bb-4f58-9241-2f10614c3355" providerId="ADAL" clId="{E4806A0B-DC8E-4AB6-B884-FF8A33E1EF07}" dt="2022-11-28T12:40:40.223" v="252"/>
          <ac:spMkLst>
            <pc:docMk/>
            <pc:sldMk cId="4046010928" sldId="333"/>
            <ac:spMk id="55" creationId="{CFFC5543-32B1-4774-AC1F-16EC551D8DE8}"/>
          </ac:spMkLst>
        </pc:spChg>
        <pc:spChg chg="add del mod">
          <ac:chgData name="Nikolaj Godsk Vestergaard" userId="13f6e931-e8bb-4f58-9241-2f10614c3355" providerId="ADAL" clId="{E4806A0B-DC8E-4AB6-B884-FF8A33E1EF07}" dt="2022-11-28T12:40:40.223" v="252"/>
          <ac:spMkLst>
            <pc:docMk/>
            <pc:sldMk cId="4046010928" sldId="333"/>
            <ac:spMk id="56" creationId="{45ACF3CF-CE9A-4739-B81C-50B984CB72F1}"/>
          </ac:spMkLst>
        </pc:spChg>
        <pc:spChg chg="add del mod">
          <ac:chgData name="Nikolaj Godsk Vestergaard" userId="13f6e931-e8bb-4f58-9241-2f10614c3355" providerId="ADAL" clId="{E4806A0B-DC8E-4AB6-B884-FF8A33E1EF07}" dt="2022-11-28T12:40:40.223" v="252"/>
          <ac:spMkLst>
            <pc:docMk/>
            <pc:sldMk cId="4046010928" sldId="333"/>
            <ac:spMk id="57" creationId="{898F3D7F-E58E-4A1B-89BA-3BC5C464C104}"/>
          </ac:spMkLst>
        </pc:spChg>
        <pc:spChg chg="add del mod">
          <ac:chgData name="Nikolaj Godsk Vestergaard" userId="13f6e931-e8bb-4f58-9241-2f10614c3355" providerId="ADAL" clId="{E4806A0B-DC8E-4AB6-B884-FF8A33E1EF07}" dt="2022-11-28T12:41:02.039" v="258" actId="478"/>
          <ac:spMkLst>
            <pc:docMk/>
            <pc:sldMk cId="4046010928" sldId="333"/>
            <ac:spMk id="58" creationId="{CD427B26-F474-489D-96FF-A549125F7B84}"/>
          </ac:spMkLst>
        </pc:spChg>
        <pc:spChg chg="mod">
          <ac:chgData name="Nikolaj Godsk Vestergaard" userId="13f6e931-e8bb-4f58-9241-2f10614c3355" providerId="ADAL" clId="{E4806A0B-DC8E-4AB6-B884-FF8A33E1EF07}" dt="2022-11-28T12:40:42.615" v="253"/>
          <ac:spMkLst>
            <pc:docMk/>
            <pc:sldMk cId="4046010928" sldId="333"/>
            <ac:spMk id="60" creationId="{55EF8D7F-8D5D-421A-A348-13389CD713B5}"/>
          </ac:spMkLst>
        </pc:spChg>
        <pc:spChg chg="mod">
          <ac:chgData name="Nikolaj Godsk Vestergaard" userId="13f6e931-e8bb-4f58-9241-2f10614c3355" providerId="ADAL" clId="{E4806A0B-DC8E-4AB6-B884-FF8A33E1EF07}" dt="2022-11-28T12:40:42.615" v="253"/>
          <ac:spMkLst>
            <pc:docMk/>
            <pc:sldMk cId="4046010928" sldId="333"/>
            <ac:spMk id="61" creationId="{8457B651-618E-4B58-AABC-0B534194C9E6}"/>
          </ac:spMkLst>
        </pc:spChg>
        <pc:spChg chg="mod">
          <ac:chgData name="Nikolaj Godsk Vestergaard" userId="13f6e931-e8bb-4f58-9241-2f10614c3355" providerId="ADAL" clId="{E4806A0B-DC8E-4AB6-B884-FF8A33E1EF07}" dt="2022-11-28T12:40:42.615" v="253"/>
          <ac:spMkLst>
            <pc:docMk/>
            <pc:sldMk cId="4046010928" sldId="333"/>
            <ac:spMk id="63" creationId="{D894309A-314E-4C4B-B5DF-D1162F6DE7F3}"/>
          </ac:spMkLst>
        </pc:spChg>
        <pc:spChg chg="mod">
          <ac:chgData name="Nikolaj Godsk Vestergaard" userId="13f6e931-e8bb-4f58-9241-2f10614c3355" providerId="ADAL" clId="{E4806A0B-DC8E-4AB6-B884-FF8A33E1EF07}" dt="2022-11-28T12:40:42.615" v="253"/>
          <ac:spMkLst>
            <pc:docMk/>
            <pc:sldMk cId="4046010928" sldId="333"/>
            <ac:spMk id="64" creationId="{CC92E1DD-90C8-4C10-92B7-9DC1B007E90E}"/>
          </ac:spMkLst>
        </pc:spChg>
        <pc:spChg chg="mod">
          <ac:chgData name="Nikolaj Godsk Vestergaard" userId="13f6e931-e8bb-4f58-9241-2f10614c3355" providerId="ADAL" clId="{E4806A0B-DC8E-4AB6-B884-FF8A33E1EF07}" dt="2022-11-28T12:40:42.615" v="253"/>
          <ac:spMkLst>
            <pc:docMk/>
            <pc:sldMk cId="4046010928" sldId="333"/>
            <ac:spMk id="66" creationId="{5F756AEF-8849-4E4D-870A-A9E80373D804}"/>
          </ac:spMkLst>
        </pc:spChg>
        <pc:spChg chg="mod">
          <ac:chgData name="Nikolaj Godsk Vestergaard" userId="13f6e931-e8bb-4f58-9241-2f10614c3355" providerId="ADAL" clId="{E4806A0B-DC8E-4AB6-B884-FF8A33E1EF07}" dt="2022-11-28T12:40:42.615" v="253"/>
          <ac:spMkLst>
            <pc:docMk/>
            <pc:sldMk cId="4046010928" sldId="333"/>
            <ac:spMk id="67" creationId="{0143C4F6-6752-4719-90DF-A320A38212AD}"/>
          </ac:spMkLst>
        </pc:spChg>
        <pc:spChg chg="mod">
          <ac:chgData name="Nikolaj Godsk Vestergaard" userId="13f6e931-e8bb-4f58-9241-2f10614c3355" providerId="ADAL" clId="{E4806A0B-DC8E-4AB6-B884-FF8A33E1EF07}" dt="2022-11-28T12:40:42.615" v="253"/>
          <ac:spMkLst>
            <pc:docMk/>
            <pc:sldMk cId="4046010928" sldId="333"/>
            <ac:spMk id="69" creationId="{A64E5F7A-5399-4EE3-AEBA-55C48815BC8D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0" creationId="{21F26288-DAB4-49CB-84A4-AFD5DD569484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1" creationId="{611FBFB0-DBE9-4480-983A-6E3CF0D97B74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2" creationId="{4CA9999E-CC1F-46A1-BBE0-51BE893A0CF6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3" creationId="{4A899259-5624-4C43-839C-4BE571CC03A7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4" creationId="{BE7ED44A-A618-4809-979F-421E102068A1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5" creationId="{C0DB32E3-58A9-480C-BA58-42B155A2D36A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6" creationId="{B9807305-7D30-4C02-BE34-0B2A81BF9345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7" creationId="{4DE16F1D-040E-4626-9C2B-A1128BD170F0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8" creationId="{78B4E5D5-8C54-43D9-BFB7-212979C23F61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79" creationId="{ACD1223E-81F1-4F22-87B9-132CB774314E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80" creationId="{A1E6705F-D39F-42B3-AB7A-59EB168E0E94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81" creationId="{F0769BA3-66CD-4FC1-9AA0-CF03C4D0115B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82" creationId="{0ECF3D48-5D1C-411A-98C1-80FB4A4AA4F4}"/>
          </ac:spMkLst>
        </pc:spChg>
        <pc:spChg chg="del">
          <ac:chgData name="Nikolaj Godsk Vestergaard" userId="13f6e931-e8bb-4f58-9241-2f10614c3355" providerId="ADAL" clId="{E4806A0B-DC8E-4AB6-B884-FF8A33E1EF07}" dt="2022-11-28T12:40:29.548" v="250" actId="478"/>
          <ac:spMkLst>
            <pc:docMk/>
            <pc:sldMk cId="4046010928" sldId="333"/>
            <ac:spMk id="84" creationId="{6A888D5B-0F92-49E0-BB6C-F313DCAA380B}"/>
          </ac:spMkLst>
        </pc:spChg>
        <pc:spChg chg="del">
          <ac:chgData name="Nikolaj Godsk Vestergaard" userId="13f6e931-e8bb-4f58-9241-2f10614c3355" providerId="ADAL" clId="{E4806A0B-DC8E-4AB6-B884-FF8A33E1EF07}" dt="2022-11-28T12:40:29.548" v="250" actId="478"/>
          <ac:spMkLst>
            <pc:docMk/>
            <pc:sldMk cId="4046010928" sldId="333"/>
            <ac:spMk id="86" creationId="{DFBEC3B8-825A-49AD-A9EE-BB101F5FE081}"/>
          </ac:spMkLst>
        </pc:spChg>
        <pc:spChg chg="del">
          <ac:chgData name="Nikolaj Godsk Vestergaard" userId="13f6e931-e8bb-4f58-9241-2f10614c3355" providerId="ADAL" clId="{E4806A0B-DC8E-4AB6-B884-FF8A33E1EF07}" dt="2022-11-28T12:40:29.548" v="250" actId="478"/>
          <ac:spMkLst>
            <pc:docMk/>
            <pc:sldMk cId="4046010928" sldId="333"/>
            <ac:spMk id="88" creationId="{9FAFA766-9C90-4BA1-87CD-8949449D48F9}"/>
          </ac:spMkLst>
        </pc:spChg>
        <pc:spChg chg="del">
          <ac:chgData name="Nikolaj Godsk Vestergaard" userId="13f6e931-e8bb-4f58-9241-2f10614c3355" providerId="ADAL" clId="{E4806A0B-DC8E-4AB6-B884-FF8A33E1EF07}" dt="2022-11-28T12:40:29.548" v="250" actId="478"/>
          <ac:spMkLst>
            <pc:docMk/>
            <pc:sldMk cId="4046010928" sldId="333"/>
            <ac:spMk id="90" creationId="{4EB6E242-0749-4864-9A7F-A3389912D2C3}"/>
          </ac:spMkLst>
        </pc:spChg>
        <pc:spChg chg="del">
          <ac:chgData name="Nikolaj Godsk Vestergaard" userId="13f6e931-e8bb-4f58-9241-2f10614c3355" providerId="ADAL" clId="{E4806A0B-DC8E-4AB6-B884-FF8A33E1EF07}" dt="2022-11-28T12:40:29.548" v="250" actId="478"/>
          <ac:spMkLst>
            <pc:docMk/>
            <pc:sldMk cId="4046010928" sldId="333"/>
            <ac:spMk id="92" creationId="{C7576BE3-F3BD-41E0-AD7C-61395EDA50A8}"/>
          </ac:spMkLst>
        </pc:spChg>
        <pc:spChg chg="del">
          <ac:chgData name="Nikolaj Godsk Vestergaard" userId="13f6e931-e8bb-4f58-9241-2f10614c3355" providerId="ADAL" clId="{E4806A0B-DC8E-4AB6-B884-FF8A33E1EF07}" dt="2022-11-28T12:40:29.548" v="250" actId="478"/>
          <ac:spMkLst>
            <pc:docMk/>
            <pc:sldMk cId="4046010928" sldId="333"/>
            <ac:spMk id="94" creationId="{56217BBC-D09A-4DB5-892A-0EF64B28D946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96" creationId="{DE74A01E-E294-4529-930D-B8488612C721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98" creationId="{6DB634E8-1E4D-45FA-AB0B-B7E2CBD0B1FE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100" creationId="{A6055611-ECDD-4A4C-B420-B7FEC27156AC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102" creationId="{4345DBE1-346C-472D-ADCC-E0EDF045E3B4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104" creationId="{4E601221-6269-4900-B11C-ED11861D9B55}"/>
          </ac:spMkLst>
        </pc:spChg>
        <pc:spChg chg="del">
          <ac:chgData name="Nikolaj Godsk Vestergaard" userId="13f6e931-e8bb-4f58-9241-2f10614c3355" providerId="ADAL" clId="{E4806A0B-DC8E-4AB6-B884-FF8A33E1EF07}" dt="2022-11-28T12:40:26.914" v="249" actId="478"/>
          <ac:spMkLst>
            <pc:docMk/>
            <pc:sldMk cId="4046010928" sldId="333"/>
            <ac:spMk id="106" creationId="{8E1C6042-D95A-4241-AA39-FECEF418CE90}"/>
          </ac:spMkLst>
        </pc:spChg>
        <pc:spChg chg="mod">
          <ac:chgData name="Nikolaj Godsk Vestergaard" userId="13f6e931-e8bb-4f58-9241-2f10614c3355" providerId="ADAL" clId="{E4806A0B-DC8E-4AB6-B884-FF8A33E1EF07}" dt="2022-11-28T12:40:42.615" v="253"/>
          <ac:spMkLst>
            <pc:docMk/>
            <pc:sldMk cId="4046010928" sldId="333"/>
            <ac:spMk id="107" creationId="{CDBDE9A0-BA48-415E-B472-8C007BDB8F48}"/>
          </ac:spMkLst>
        </pc:spChg>
        <pc:spChg chg="mod">
          <ac:chgData name="Nikolaj Godsk Vestergaard" userId="13f6e931-e8bb-4f58-9241-2f10614c3355" providerId="ADAL" clId="{E4806A0B-DC8E-4AB6-B884-FF8A33E1EF07}" dt="2022-11-28T12:40:21.777" v="248" actId="20577"/>
          <ac:spMkLst>
            <pc:docMk/>
            <pc:sldMk cId="4046010928" sldId="333"/>
            <ac:spMk id="108" creationId="{F7505CCF-6B2D-4791-8B8E-A8068ECE6AE7}"/>
          </ac:spMkLst>
        </pc:spChg>
        <pc:spChg chg="add del mod">
          <ac:chgData name="Nikolaj Godsk Vestergaard" userId="13f6e931-e8bb-4f58-9241-2f10614c3355" providerId="ADAL" clId="{E4806A0B-DC8E-4AB6-B884-FF8A33E1EF07}" dt="2022-11-28T12:41:00.819" v="257" actId="478"/>
          <ac:spMkLst>
            <pc:docMk/>
            <pc:sldMk cId="4046010928" sldId="333"/>
            <ac:spMk id="109" creationId="{308E867B-2CC2-444F-A9A2-57EB3BB96065}"/>
          </ac:spMkLst>
        </pc:spChg>
        <pc:spChg chg="add del mod">
          <ac:chgData name="Nikolaj Godsk Vestergaard" userId="13f6e931-e8bb-4f58-9241-2f10614c3355" providerId="ADAL" clId="{E4806A0B-DC8E-4AB6-B884-FF8A33E1EF07}" dt="2022-11-28T12:41:00.819" v="257" actId="478"/>
          <ac:spMkLst>
            <pc:docMk/>
            <pc:sldMk cId="4046010928" sldId="333"/>
            <ac:spMk id="110" creationId="{915C8C7C-EC6B-473F-BDE7-226036BDBDC2}"/>
          </ac:spMkLst>
        </pc:spChg>
        <pc:spChg chg="add del mod">
          <ac:chgData name="Nikolaj Godsk Vestergaard" userId="13f6e931-e8bb-4f58-9241-2f10614c3355" providerId="ADAL" clId="{E4806A0B-DC8E-4AB6-B884-FF8A33E1EF07}" dt="2022-11-28T12:41:00.819" v="257" actId="478"/>
          <ac:spMkLst>
            <pc:docMk/>
            <pc:sldMk cId="4046010928" sldId="333"/>
            <ac:spMk id="111" creationId="{D859819D-8636-4489-9D79-BCC0DEEC332B}"/>
          </ac:spMkLst>
        </pc:spChg>
        <pc:spChg chg="add del mod">
          <ac:chgData name="Nikolaj Godsk Vestergaard" userId="13f6e931-e8bb-4f58-9241-2f10614c3355" providerId="ADAL" clId="{E4806A0B-DC8E-4AB6-B884-FF8A33E1EF07}" dt="2022-11-28T12:41:00.819" v="257" actId="478"/>
          <ac:spMkLst>
            <pc:docMk/>
            <pc:sldMk cId="4046010928" sldId="333"/>
            <ac:spMk id="112" creationId="{DB91FB80-8686-4F4C-8A65-C10AAE239E95}"/>
          </ac:spMkLst>
        </pc:spChg>
        <pc:spChg chg="add del mod">
          <ac:chgData name="Nikolaj Godsk Vestergaard" userId="13f6e931-e8bb-4f58-9241-2f10614c3355" providerId="ADAL" clId="{E4806A0B-DC8E-4AB6-B884-FF8A33E1EF07}" dt="2022-11-28T12:40:48.333" v="255"/>
          <ac:spMkLst>
            <pc:docMk/>
            <pc:sldMk cId="4046010928" sldId="333"/>
            <ac:spMk id="113" creationId="{7B308C8E-3090-4B17-A6A7-CA87EE95CE17}"/>
          </ac:spMkLst>
        </pc:spChg>
        <pc:spChg chg="add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14" creationId="{E8451A55-BB16-47AD-AA63-3FF4C86E6B8F}"/>
          </ac:spMkLst>
        </pc:spChg>
        <pc:spChg chg="add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15" creationId="{B8E09B4E-86C2-48D6-9427-3DE7C9690391}"/>
          </ac:spMkLst>
        </pc:spChg>
        <pc:spChg chg="mod topLvl">
          <ac:chgData name="Nikolaj Godsk Vestergaard" userId="13f6e931-e8bb-4f58-9241-2f10614c3355" providerId="ADAL" clId="{E4806A0B-DC8E-4AB6-B884-FF8A33E1EF07}" dt="2022-11-28T12:52:16.308" v="1206" actId="207"/>
          <ac:spMkLst>
            <pc:docMk/>
            <pc:sldMk cId="4046010928" sldId="333"/>
            <ac:spMk id="117" creationId="{D31BA5E2-C6BE-45A2-B6F5-78CB8F95E6F7}"/>
          </ac:spMkLst>
        </pc:spChg>
        <pc:spChg chg="mod topLvl">
          <ac:chgData name="Nikolaj Godsk Vestergaard" userId="13f6e931-e8bb-4f58-9241-2f10614c3355" providerId="ADAL" clId="{E4806A0B-DC8E-4AB6-B884-FF8A33E1EF07}" dt="2022-11-28T12:56:24.606" v="1256" actId="20577"/>
          <ac:spMkLst>
            <pc:docMk/>
            <pc:sldMk cId="4046010928" sldId="333"/>
            <ac:spMk id="118" creationId="{24A9BDE7-FDBC-45D4-A03B-38C97EB14872}"/>
          </ac:spMkLst>
        </pc:spChg>
        <pc:spChg chg="mod">
          <ac:chgData name="Nikolaj Godsk Vestergaard" userId="13f6e931-e8bb-4f58-9241-2f10614c3355" providerId="ADAL" clId="{E4806A0B-DC8E-4AB6-B884-FF8A33E1EF07}" dt="2022-11-28T12:52:32.413" v="1208" actId="207"/>
          <ac:spMkLst>
            <pc:docMk/>
            <pc:sldMk cId="4046010928" sldId="333"/>
            <ac:spMk id="120" creationId="{924232FF-1F32-44A0-9E16-24A078D0C4E3}"/>
          </ac:spMkLst>
        </pc:spChg>
        <pc:spChg chg="mod">
          <ac:chgData name="Nikolaj Godsk Vestergaard" userId="13f6e931-e8bb-4f58-9241-2f10614c3355" providerId="ADAL" clId="{E4806A0B-DC8E-4AB6-B884-FF8A33E1EF07}" dt="2022-11-28T12:56:29.607" v="1260" actId="20577"/>
          <ac:spMkLst>
            <pc:docMk/>
            <pc:sldMk cId="4046010928" sldId="333"/>
            <ac:spMk id="121" creationId="{5DAC0ED1-1E61-4D60-98B1-2FCAF31E598E}"/>
          </ac:spMkLst>
        </pc:spChg>
        <pc:spChg chg="mod">
          <ac:chgData name="Nikolaj Godsk Vestergaard" userId="13f6e931-e8bb-4f58-9241-2f10614c3355" providerId="ADAL" clId="{E4806A0B-DC8E-4AB6-B884-FF8A33E1EF07}" dt="2022-11-28T12:49:00.779" v="516" actId="207"/>
          <ac:spMkLst>
            <pc:docMk/>
            <pc:sldMk cId="4046010928" sldId="333"/>
            <ac:spMk id="123" creationId="{D58C3111-53A4-4D1B-A4D4-B21746FFA06F}"/>
          </ac:spMkLst>
        </pc:spChg>
        <pc:spChg chg="mod">
          <ac:chgData name="Nikolaj Godsk Vestergaard" userId="13f6e931-e8bb-4f58-9241-2f10614c3355" providerId="ADAL" clId="{E4806A0B-DC8E-4AB6-B884-FF8A33E1EF07}" dt="2022-11-28T12:56:32.085" v="1262" actId="20577"/>
          <ac:spMkLst>
            <pc:docMk/>
            <pc:sldMk cId="4046010928" sldId="333"/>
            <ac:spMk id="124" creationId="{2B839870-3482-4A6A-B1A6-B790272AA36C}"/>
          </ac:spMkLst>
        </pc:spChg>
        <pc:spChg chg="mod">
          <ac:chgData name="Nikolaj Godsk Vestergaard" userId="13f6e931-e8bb-4f58-9241-2f10614c3355" providerId="ADAL" clId="{E4806A0B-DC8E-4AB6-B884-FF8A33E1EF07}" dt="2022-11-28T12:52:27.068" v="1207" actId="207"/>
          <ac:spMkLst>
            <pc:docMk/>
            <pc:sldMk cId="4046010928" sldId="333"/>
            <ac:spMk id="126" creationId="{12F2A5C3-6D72-4159-B965-2ACA08671F6E}"/>
          </ac:spMkLst>
        </pc:spChg>
        <pc:spChg chg="mod">
          <ac:chgData name="Nikolaj Godsk Vestergaard" userId="13f6e931-e8bb-4f58-9241-2f10614c3355" providerId="ADAL" clId="{E4806A0B-DC8E-4AB6-B884-FF8A33E1EF07}" dt="2022-11-28T12:56:26.972" v="1258" actId="20577"/>
          <ac:spMkLst>
            <pc:docMk/>
            <pc:sldMk cId="4046010928" sldId="333"/>
            <ac:spMk id="127" creationId="{4BD583A6-7344-4C7F-B860-560937993F66}"/>
          </ac:spMkLst>
        </pc:spChg>
        <pc:spChg chg="add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28" creationId="{31D7343F-7AFC-41CB-A4E9-DDD00AC5B0B5}"/>
          </ac:spMkLst>
        </pc:spChg>
        <pc:spChg chg="add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29" creationId="{5CBEEF4A-054B-4A20-B97B-35C9D81B8FFA}"/>
          </ac:spMkLst>
        </pc:spChg>
        <pc:spChg chg="add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30" creationId="{0222A031-CF5A-4E75-BDC8-33E393DEF39E}"/>
          </ac:spMkLst>
        </pc:spChg>
        <pc:spChg chg="add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31" creationId="{F8C60C91-9C5F-441C-A4A1-AF0C8603E481}"/>
          </ac:spMkLst>
        </pc:spChg>
        <pc:spChg chg="add mod topLvl">
          <ac:chgData name="Nikolaj Godsk Vestergaard" userId="13f6e931-e8bb-4f58-9241-2f10614c3355" providerId="ADAL" clId="{E4806A0B-DC8E-4AB6-B884-FF8A33E1EF07}" dt="2022-11-28T12:43:27.089" v="291" actId="164"/>
          <ac:spMkLst>
            <pc:docMk/>
            <pc:sldMk cId="4046010928" sldId="333"/>
            <ac:spMk id="132" creationId="{43DA8721-AD03-493B-B938-DA99A43F9BD4}"/>
          </ac:spMkLst>
        </pc:spChg>
        <pc:spChg chg="add mod topLvl">
          <ac:chgData name="Nikolaj Godsk Vestergaard" userId="13f6e931-e8bb-4f58-9241-2f10614c3355" providerId="ADAL" clId="{E4806A0B-DC8E-4AB6-B884-FF8A33E1EF07}" dt="2022-11-28T12:43:27.089" v="291" actId="164"/>
          <ac:spMkLst>
            <pc:docMk/>
            <pc:sldMk cId="4046010928" sldId="333"/>
            <ac:spMk id="133" creationId="{CC10C51E-BB46-4B4B-9C78-D29E69565342}"/>
          </ac:spMkLst>
        </pc:spChg>
        <pc:spChg chg="mod">
          <ac:chgData name="Nikolaj Godsk Vestergaard" userId="13f6e931-e8bb-4f58-9241-2f10614c3355" providerId="ADAL" clId="{E4806A0B-DC8E-4AB6-B884-FF8A33E1EF07}" dt="2022-11-28T12:42:10.079" v="262" actId="571"/>
          <ac:spMkLst>
            <pc:docMk/>
            <pc:sldMk cId="4046010928" sldId="333"/>
            <ac:spMk id="135" creationId="{DBB6331A-C319-4DAA-A66A-1630F9357D54}"/>
          </ac:spMkLst>
        </pc:spChg>
        <pc:spChg chg="mod">
          <ac:chgData name="Nikolaj Godsk Vestergaard" userId="13f6e931-e8bb-4f58-9241-2f10614c3355" providerId="ADAL" clId="{E4806A0B-DC8E-4AB6-B884-FF8A33E1EF07}" dt="2022-11-28T12:42:10.079" v="262" actId="571"/>
          <ac:spMkLst>
            <pc:docMk/>
            <pc:sldMk cId="4046010928" sldId="333"/>
            <ac:spMk id="136" creationId="{C0AC5E30-4E95-4E19-8E58-E17B75505E70}"/>
          </ac:spMkLst>
        </pc:spChg>
        <pc:spChg chg="add mod">
          <ac:chgData name="Nikolaj Godsk Vestergaard" userId="13f6e931-e8bb-4f58-9241-2f10614c3355" providerId="ADAL" clId="{E4806A0B-DC8E-4AB6-B884-FF8A33E1EF07}" dt="2022-11-28T12:52:37.731" v="1209" actId="207"/>
          <ac:spMkLst>
            <pc:docMk/>
            <pc:sldMk cId="4046010928" sldId="333"/>
            <ac:spMk id="137" creationId="{7E080339-7202-450C-9435-CC0C00F07FF2}"/>
          </ac:spMkLst>
        </pc:spChg>
        <pc:spChg chg="add mod">
          <ac:chgData name="Nikolaj Godsk Vestergaard" userId="13f6e931-e8bb-4f58-9241-2f10614c3355" providerId="ADAL" clId="{E4806A0B-DC8E-4AB6-B884-FF8A33E1EF07}" dt="2022-11-28T12:56:34.884" v="1264" actId="20577"/>
          <ac:spMkLst>
            <pc:docMk/>
            <pc:sldMk cId="4046010928" sldId="333"/>
            <ac:spMk id="138" creationId="{21777F68-4CE3-4A66-9BE5-D1B6BCFC909F}"/>
          </ac:spMkLst>
        </pc:spChg>
        <pc:spChg chg="mod">
          <ac:chgData name="Nikolaj Godsk Vestergaard" userId="13f6e931-e8bb-4f58-9241-2f10614c3355" providerId="ADAL" clId="{E4806A0B-DC8E-4AB6-B884-FF8A33E1EF07}" dt="2022-11-28T12:52:42.674" v="1210" actId="207"/>
          <ac:spMkLst>
            <pc:docMk/>
            <pc:sldMk cId="4046010928" sldId="333"/>
            <ac:spMk id="140" creationId="{1CB30BC7-7DEB-40CF-AA76-8F4AB7DB2A72}"/>
          </ac:spMkLst>
        </pc:spChg>
        <pc:spChg chg="mod">
          <ac:chgData name="Nikolaj Godsk Vestergaard" userId="13f6e931-e8bb-4f58-9241-2f10614c3355" providerId="ADAL" clId="{E4806A0B-DC8E-4AB6-B884-FF8A33E1EF07}" dt="2022-11-28T12:56:37.493" v="1266" actId="20577"/>
          <ac:spMkLst>
            <pc:docMk/>
            <pc:sldMk cId="4046010928" sldId="333"/>
            <ac:spMk id="141" creationId="{C90B37BB-F966-4738-934A-9371B2007563}"/>
          </ac:spMkLst>
        </pc:spChg>
        <pc:spChg chg="mod">
          <ac:chgData name="Nikolaj Godsk Vestergaard" userId="13f6e931-e8bb-4f58-9241-2f10614c3355" providerId="ADAL" clId="{E4806A0B-DC8E-4AB6-B884-FF8A33E1EF07}" dt="2022-11-28T12:42:26.577" v="266" actId="571"/>
          <ac:spMkLst>
            <pc:docMk/>
            <pc:sldMk cId="4046010928" sldId="333"/>
            <ac:spMk id="143" creationId="{864CCD6A-C986-4E37-A2A6-C10F4BCCE798}"/>
          </ac:spMkLst>
        </pc:spChg>
        <pc:spChg chg="mod">
          <ac:chgData name="Nikolaj Godsk Vestergaard" userId="13f6e931-e8bb-4f58-9241-2f10614c3355" providerId="ADAL" clId="{E4806A0B-DC8E-4AB6-B884-FF8A33E1EF07}" dt="2022-11-28T12:42:26.577" v="266" actId="571"/>
          <ac:spMkLst>
            <pc:docMk/>
            <pc:sldMk cId="4046010928" sldId="333"/>
            <ac:spMk id="144" creationId="{0B2DC0F2-FDC7-4A8C-ABB6-B0B23D04568A}"/>
          </ac:spMkLst>
        </pc:spChg>
        <pc:spChg chg="mod">
          <ac:chgData name="Nikolaj Godsk Vestergaard" userId="13f6e931-e8bb-4f58-9241-2f10614c3355" providerId="ADAL" clId="{E4806A0B-DC8E-4AB6-B884-FF8A33E1EF07}" dt="2022-11-28T12:42:26.577" v="266" actId="571"/>
          <ac:spMkLst>
            <pc:docMk/>
            <pc:sldMk cId="4046010928" sldId="333"/>
            <ac:spMk id="145" creationId="{CC11C90D-4D6D-4EFA-83C0-7922361C4290}"/>
          </ac:spMkLst>
        </pc:spChg>
        <pc:spChg chg="mod">
          <ac:chgData name="Nikolaj Godsk Vestergaard" userId="13f6e931-e8bb-4f58-9241-2f10614c3355" providerId="ADAL" clId="{E4806A0B-DC8E-4AB6-B884-FF8A33E1EF07}" dt="2022-11-28T12:42:26.577" v="266" actId="571"/>
          <ac:spMkLst>
            <pc:docMk/>
            <pc:sldMk cId="4046010928" sldId="333"/>
            <ac:spMk id="146" creationId="{B48EA4D1-9C33-415F-BE34-C16BAAF4D6CD}"/>
          </ac:spMkLst>
        </pc:spChg>
        <pc:spChg chg="add del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47" creationId="{6B5C2729-BF50-4685-B447-F0A6FC19218F}"/>
          </ac:spMkLst>
        </pc:spChg>
        <pc:spChg chg="add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48" creationId="{B5D14973-1DD0-4B23-81E1-569BF532A2D8}"/>
          </ac:spMkLst>
        </pc:spChg>
        <pc:spChg chg="add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49" creationId="{81B53C2F-CB15-4274-8561-1095742C49C8}"/>
          </ac:spMkLst>
        </pc:spChg>
        <pc:spChg chg="add mod">
          <ac:chgData name="Nikolaj Godsk Vestergaard" userId="13f6e931-e8bb-4f58-9241-2f10614c3355" providerId="ADAL" clId="{E4806A0B-DC8E-4AB6-B884-FF8A33E1EF07}" dt="2022-11-28T12:48:05.769" v="511" actId="1076"/>
          <ac:spMkLst>
            <pc:docMk/>
            <pc:sldMk cId="4046010928" sldId="333"/>
            <ac:spMk id="150" creationId="{F25CEEF7-F197-401D-8BDE-2E7508D7241B}"/>
          </ac:spMkLst>
        </pc:spChg>
        <pc:grpChg chg="add del mod">
          <ac:chgData name="Nikolaj Godsk Vestergaard" userId="13f6e931-e8bb-4f58-9241-2f10614c3355" providerId="ADAL" clId="{E4806A0B-DC8E-4AB6-B884-FF8A33E1EF07}" dt="2022-11-28T12:52:01.558" v="517" actId="16037"/>
          <ac:grpSpMkLst>
            <pc:docMk/>
            <pc:sldMk cId="4046010928" sldId="333"/>
            <ac:grpSpMk id="2" creationId="{7EBDD84C-C75A-4216-9D7B-3C6A62D6F56A}"/>
          </ac:grpSpMkLst>
        </pc:grpChg>
        <pc:grpChg chg="add mod">
          <ac:chgData name="Nikolaj Godsk Vestergaard" userId="13f6e931-e8bb-4f58-9241-2f10614c3355" providerId="ADAL" clId="{E4806A0B-DC8E-4AB6-B884-FF8A33E1EF07}" dt="2022-11-28T12:48:45.983" v="512" actId="164"/>
          <ac:grpSpMkLst>
            <pc:docMk/>
            <pc:sldMk cId="4046010928" sldId="333"/>
            <ac:grpSpMk id="3" creationId="{D27786BC-F5DF-43E4-AE81-725251D6575C}"/>
          </ac:grpSpMkLst>
        </pc:grpChg>
        <pc:grpChg chg="add del mod">
          <ac:chgData name="Nikolaj Godsk Vestergaard" userId="13f6e931-e8bb-4f58-9241-2f10614c3355" providerId="ADAL" clId="{E4806A0B-DC8E-4AB6-B884-FF8A33E1EF07}" dt="2022-11-28T12:40:40.223" v="252"/>
          <ac:grpSpMkLst>
            <pc:docMk/>
            <pc:sldMk cId="4046010928" sldId="333"/>
            <ac:grpSpMk id="42" creationId="{DF4B59D6-895C-4751-A9A5-3200E147D23B}"/>
          </ac:grpSpMkLst>
        </pc:grpChg>
        <pc:grpChg chg="add del mod">
          <ac:chgData name="Nikolaj Godsk Vestergaard" userId="13f6e931-e8bb-4f58-9241-2f10614c3355" providerId="ADAL" clId="{E4806A0B-DC8E-4AB6-B884-FF8A33E1EF07}" dt="2022-11-28T12:40:40.223" v="252"/>
          <ac:grpSpMkLst>
            <pc:docMk/>
            <pc:sldMk cId="4046010928" sldId="333"/>
            <ac:grpSpMk id="45" creationId="{E8B56686-E939-4756-BC5F-2714042DD7B4}"/>
          </ac:grpSpMkLst>
        </pc:grpChg>
        <pc:grpChg chg="add del mod">
          <ac:chgData name="Nikolaj Godsk Vestergaard" userId="13f6e931-e8bb-4f58-9241-2f10614c3355" providerId="ADAL" clId="{E4806A0B-DC8E-4AB6-B884-FF8A33E1EF07}" dt="2022-11-28T12:40:40.223" v="252"/>
          <ac:grpSpMkLst>
            <pc:docMk/>
            <pc:sldMk cId="4046010928" sldId="333"/>
            <ac:grpSpMk id="48" creationId="{4BE53149-3C4A-48D2-A837-E65085995DF3}"/>
          </ac:grpSpMkLst>
        </pc:grpChg>
        <pc:grpChg chg="add del mod">
          <ac:chgData name="Nikolaj Godsk Vestergaard" userId="13f6e931-e8bb-4f58-9241-2f10614c3355" providerId="ADAL" clId="{E4806A0B-DC8E-4AB6-B884-FF8A33E1EF07}" dt="2022-11-28T12:40:40.223" v="252"/>
          <ac:grpSpMkLst>
            <pc:docMk/>
            <pc:sldMk cId="4046010928" sldId="333"/>
            <ac:grpSpMk id="51" creationId="{98D4D362-C9DC-4B5B-B9D7-B80E8E67CA58}"/>
          </ac:grpSpMkLst>
        </pc:grpChg>
        <pc:grpChg chg="add del mod">
          <ac:chgData name="Nikolaj Godsk Vestergaard" userId="13f6e931-e8bb-4f58-9241-2f10614c3355" providerId="ADAL" clId="{E4806A0B-DC8E-4AB6-B884-FF8A33E1EF07}" dt="2022-11-28T12:41:00.819" v="257" actId="478"/>
          <ac:grpSpMkLst>
            <pc:docMk/>
            <pc:sldMk cId="4046010928" sldId="333"/>
            <ac:grpSpMk id="59" creationId="{570F256B-4A4C-4521-8C45-59909360A467}"/>
          </ac:grpSpMkLst>
        </pc:grpChg>
        <pc:grpChg chg="add del mod">
          <ac:chgData name="Nikolaj Godsk Vestergaard" userId="13f6e931-e8bb-4f58-9241-2f10614c3355" providerId="ADAL" clId="{E4806A0B-DC8E-4AB6-B884-FF8A33E1EF07}" dt="2022-11-28T12:41:00.819" v="257" actId="478"/>
          <ac:grpSpMkLst>
            <pc:docMk/>
            <pc:sldMk cId="4046010928" sldId="333"/>
            <ac:grpSpMk id="62" creationId="{099975A1-0A09-4EA9-899A-9EC58396AB2A}"/>
          </ac:grpSpMkLst>
        </pc:grpChg>
        <pc:grpChg chg="add del mod">
          <ac:chgData name="Nikolaj Godsk Vestergaard" userId="13f6e931-e8bb-4f58-9241-2f10614c3355" providerId="ADAL" clId="{E4806A0B-DC8E-4AB6-B884-FF8A33E1EF07}" dt="2022-11-28T12:41:00.819" v="257" actId="478"/>
          <ac:grpSpMkLst>
            <pc:docMk/>
            <pc:sldMk cId="4046010928" sldId="333"/>
            <ac:grpSpMk id="65" creationId="{CA1A4A7B-93A4-4B45-9761-31EA5ADC7502}"/>
          </ac:grpSpMkLst>
        </pc:grpChg>
        <pc:grpChg chg="add del mod">
          <ac:chgData name="Nikolaj Godsk Vestergaard" userId="13f6e931-e8bb-4f58-9241-2f10614c3355" providerId="ADAL" clId="{E4806A0B-DC8E-4AB6-B884-FF8A33E1EF07}" dt="2022-11-28T12:41:00.819" v="257" actId="478"/>
          <ac:grpSpMkLst>
            <pc:docMk/>
            <pc:sldMk cId="4046010928" sldId="333"/>
            <ac:grpSpMk id="68" creationId="{8FFEF555-8E18-4D97-A470-7868215F6BBF}"/>
          </ac:grpSpMkLst>
        </pc:grpChg>
        <pc:grpChg chg="add del mod">
          <ac:chgData name="Nikolaj Godsk Vestergaard" userId="13f6e931-e8bb-4f58-9241-2f10614c3355" providerId="ADAL" clId="{E4806A0B-DC8E-4AB6-B884-FF8A33E1EF07}" dt="2022-11-28T12:43:20.645" v="289" actId="165"/>
          <ac:grpSpMkLst>
            <pc:docMk/>
            <pc:sldMk cId="4046010928" sldId="333"/>
            <ac:grpSpMk id="116" creationId="{939A593A-C196-481E-B0EB-3B920D05A406}"/>
          </ac:grpSpMkLst>
        </pc:grpChg>
        <pc:grpChg chg="add mod">
          <ac:chgData name="Nikolaj Godsk Vestergaard" userId="13f6e931-e8bb-4f58-9241-2f10614c3355" providerId="ADAL" clId="{E4806A0B-DC8E-4AB6-B884-FF8A33E1EF07}" dt="2022-11-28T12:48:05.769" v="511" actId="1076"/>
          <ac:grpSpMkLst>
            <pc:docMk/>
            <pc:sldMk cId="4046010928" sldId="333"/>
            <ac:grpSpMk id="119" creationId="{E85E0858-1604-46FB-B06E-7C0E09F5542E}"/>
          </ac:grpSpMkLst>
        </pc:grpChg>
        <pc:grpChg chg="add mod">
          <ac:chgData name="Nikolaj Godsk Vestergaard" userId="13f6e931-e8bb-4f58-9241-2f10614c3355" providerId="ADAL" clId="{E4806A0B-DC8E-4AB6-B884-FF8A33E1EF07}" dt="2022-11-28T12:48:58.682" v="515" actId="207"/>
          <ac:grpSpMkLst>
            <pc:docMk/>
            <pc:sldMk cId="4046010928" sldId="333"/>
            <ac:grpSpMk id="122" creationId="{56470BE8-7A14-4D94-AEEA-BE5F61A16309}"/>
          </ac:grpSpMkLst>
        </pc:grpChg>
        <pc:grpChg chg="add mod">
          <ac:chgData name="Nikolaj Godsk Vestergaard" userId="13f6e931-e8bb-4f58-9241-2f10614c3355" providerId="ADAL" clId="{E4806A0B-DC8E-4AB6-B884-FF8A33E1EF07}" dt="2022-11-28T12:48:05.769" v="511" actId="1076"/>
          <ac:grpSpMkLst>
            <pc:docMk/>
            <pc:sldMk cId="4046010928" sldId="333"/>
            <ac:grpSpMk id="125" creationId="{7C758581-D098-4B02-960D-61851755D63D}"/>
          </ac:grpSpMkLst>
        </pc:grpChg>
        <pc:grpChg chg="add mod">
          <ac:chgData name="Nikolaj Godsk Vestergaard" userId="13f6e931-e8bb-4f58-9241-2f10614c3355" providerId="ADAL" clId="{E4806A0B-DC8E-4AB6-B884-FF8A33E1EF07}" dt="2022-11-28T12:48:05.769" v="511" actId="1076"/>
          <ac:grpSpMkLst>
            <pc:docMk/>
            <pc:sldMk cId="4046010928" sldId="333"/>
            <ac:grpSpMk id="134" creationId="{FD7238A3-176F-4F47-A7AE-23EB7862148C}"/>
          </ac:grpSpMkLst>
        </pc:grpChg>
        <pc:grpChg chg="add mod">
          <ac:chgData name="Nikolaj Godsk Vestergaard" userId="13f6e931-e8bb-4f58-9241-2f10614c3355" providerId="ADAL" clId="{E4806A0B-DC8E-4AB6-B884-FF8A33E1EF07}" dt="2022-11-28T12:48:05.769" v="511" actId="1076"/>
          <ac:grpSpMkLst>
            <pc:docMk/>
            <pc:sldMk cId="4046010928" sldId="333"/>
            <ac:grpSpMk id="139" creationId="{0068992B-147B-4883-BCEA-5073F833B255}"/>
          </ac:grpSpMkLst>
        </pc:grpChg>
        <pc:grpChg chg="add mod">
          <ac:chgData name="Nikolaj Godsk Vestergaard" userId="13f6e931-e8bb-4f58-9241-2f10614c3355" providerId="ADAL" clId="{E4806A0B-DC8E-4AB6-B884-FF8A33E1EF07}" dt="2022-11-28T12:42:26.577" v="266" actId="571"/>
          <ac:grpSpMkLst>
            <pc:docMk/>
            <pc:sldMk cId="4046010928" sldId="333"/>
            <ac:grpSpMk id="142" creationId="{3C7218B2-FF1F-4561-BF48-4017A5626EB4}"/>
          </ac:grpSpMkLst>
        </pc:grp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83" creationId="{B3BAB8D9-F6D6-447E-8D82-26E5D10BC619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85" creationId="{8DF5EC93-6807-4951-9CC0-4214D757AB2C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87" creationId="{1642505F-5117-4105-BC50-9FB184DC0D0A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89" creationId="{A481B954-4AAA-4D06-86C0-83B422B0FE82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91" creationId="{FF7B8B66-C1E2-46BD-8755-C6D004DD831F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93" creationId="{42D4E7DD-E3F3-4C95-880F-079067E421CA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95" creationId="{01F89884-501C-4FD9-885E-DA71CC198CF1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97" creationId="{D05DA3A4-9C6B-49EF-BB68-F258EAF2C5B8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99" creationId="{A79AF86C-F903-47DE-A8F9-71DC20E286A2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101" creationId="{915D1E63-4B2B-41C4-9FAF-A1D6AA7B4CBA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103" creationId="{1D3EDEDB-14D2-439E-A112-FC697838C294}"/>
          </ac:cxnSpMkLst>
        </pc:cxnChg>
        <pc:cxnChg chg="del">
          <ac:chgData name="Nikolaj Godsk Vestergaard" userId="13f6e931-e8bb-4f58-9241-2f10614c3355" providerId="ADAL" clId="{E4806A0B-DC8E-4AB6-B884-FF8A33E1EF07}" dt="2022-11-28T12:40:26.914" v="249" actId="478"/>
          <ac:cxnSpMkLst>
            <pc:docMk/>
            <pc:sldMk cId="4046010928" sldId="333"/>
            <ac:cxnSpMk id="105" creationId="{6CC36A74-6506-4F55-993D-AB82FB5BDBDA}"/>
          </ac:cxnSpMkLst>
        </pc:cxnChg>
      </pc:sldChg>
      <pc:sldChg chg="add del">
        <pc:chgData name="Nikolaj Godsk Vestergaard" userId="13f6e931-e8bb-4f58-9241-2f10614c3355" providerId="ADAL" clId="{E4806A0B-DC8E-4AB6-B884-FF8A33E1EF07}" dt="2022-11-28T14:25:28.891" v="5068" actId="47"/>
        <pc:sldMkLst>
          <pc:docMk/>
          <pc:sldMk cId="1518240656" sldId="334"/>
        </pc:sldMkLst>
      </pc:sldChg>
      <pc:sldChg chg="addSp delSp modSp add mod delCm modNotesTx">
        <pc:chgData name="Nikolaj Godsk Vestergaard" userId="13f6e931-e8bb-4f58-9241-2f10614c3355" providerId="ADAL" clId="{E4806A0B-DC8E-4AB6-B884-FF8A33E1EF07}" dt="2022-12-02T11:58:52.730" v="13632"/>
        <pc:sldMkLst>
          <pc:docMk/>
          <pc:sldMk cId="755171214" sldId="335"/>
        </pc:sldMkLst>
        <pc:spChg chg="mod ord">
          <ac:chgData name="Nikolaj Godsk Vestergaard" userId="13f6e931-e8bb-4f58-9241-2f10614c3355" providerId="ADAL" clId="{E4806A0B-DC8E-4AB6-B884-FF8A33E1EF07}" dt="2022-12-02T09:02:57.117" v="11439"/>
          <ac:spMkLst>
            <pc:docMk/>
            <pc:sldMk cId="755171214" sldId="335"/>
            <ac:spMk id="4" creationId="{B7FC3C18-0E4F-49B9-85D2-82FF8A035D13}"/>
          </ac:spMkLst>
        </pc:spChg>
        <pc:spChg chg="del">
          <ac:chgData name="Nikolaj Godsk Vestergaard" userId="13f6e931-e8bb-4f58-9241-2f10614c3355" providerId="ADAL" clId="{E4806A0B-DC8E-4AB6-B884-FF8A33E1EF07}" dt="2022-12-02T08:57:22.104" v="11287" actId="478"/>
          <ac:spMkLst>
            <pc:docMk/>
            <pc:sldMk cId="755171214" sldId="335"/>
            <ac:spMk id="7" creationId="{27C30AB3-064D-441B-A9D9-D1F3413F87C2}"/>
          </ac:spMkLst>
        </pc:spChg>
        <pc:spChg chg="add mod ord">
          <ac:chgData name="Nikolaj Godsk Vestergaard" userId="13f6e931-e8bb-4f58-9241-2f10614c3355" providerId="ADAL" clId="{E4806A0B-DC8E-4AB6-B884-FF8A33E1EF07}" dt="2022-12-02T09:03:02.316" v="11455" actId="1038"/>
          <ac:spMkLst>
            <pc:docMk/>
            <pc:sldMk cId="755171214" sldId="335"/>
            <ac:spMk id="10" creationId="{21109319-0CC7-4DF1-84F6-3A269736EED2}"/>
          </ac:spMkLst>
        </pc:spChg>
        <pc:spChg chg="add mod ord">
          <ac:chgData name="Nikolaj Godsk Vestergaard" userId="13f6e931-e8bb-4f58-9241-2f10614c3355" providerId="ADAL" clId="{E4806A0B-DC8E-4AB6-B884-FF8A33E1EF07}" dt="2022-12-02T11:51:40.227" v="13599" actId="404"/>
          <ac:spMkLst>
            <pc:docMk/>
            <pc:sldMk cId="755171214" sldId="335"/>
            <ac:spMk id="11" creationId="{F2237923-C517-4E64-BA44-64D3957B8269}"/>
          </ac:spMkLst>
        </pc:spChg>
        <pc:spChg chg="add mod ord">
          <ac:chgData name="Nikolaj Godsk Vestergaard" userId="13f6e931-e8bb-4f58-9241-2f10614c3355" providerId="ADAL" clId="{E4806A0B-DC8E-4AB6-B884-FF8A33E1EF07}" dt="2022-12-02T09:03:01.342" v="11454" actId="1038"/>
          <ac:spMkLst>
            <pc:docMk/>
            <pc:sldMk cId="755171214" sldId="335"/>
            <ac:spMk id="12" creationId="{7863966F-5A3D-4358-A359-6A15BA528247}"/>
          </ac:spMkLst>
        </pc:spChg>
        <pc:spChg chg="add mod ord">
          <ac:chgData name="Nikolaj Godsk Vestergaard" userId="13f6e931-e8bb-4f58-9241-2f10614c3355" providerId="ADAL" clId="{E4806A0B-DC8E-4AB6-B884-FF8A33E1EF07}" dt="2022-12-02T09:02:57.120" v="11447"/>
          <ac:spMkLst>
            <pc:docMk/>
            <pc:sldMk cId="755171214" sldId="335"/>
            <ac:spMk id="13" creationId="{8414E36E-50B4-486B-85CA-84701C28E368}"/>
          </ac:spMkLst>
        </pc:spChg>
        <pc:spChg chg="del mod">
          <ac:chgData name="Nikolaj Godsk Vestergaard" userId="13f6e931-e8bb-4f58-9241-2f10614c3355" providerId="ADAL" clId="{E4806A0B-DC8E-4AB6-B884-FF8A33E1EF07}" dt="2022-12-02T09:02:38.352" v="11432" actId="478"/>
          <ac:spMkLst>
            <pc:docMk/>
            <pc:sldMk cId="755171214" sldId="335"/>
            <ac:spMk id="22" creationId="{A8916DC6-5398-4A09-AF36-6DA76F62CE3F}"/>
          </ac:spMkLst>
        </pc:spChg>
        <pc:spChg chg="mod ord">
          <ac:chgData name="Nikolaj Godsk Vestergaard" userId="13f6e931-e8bb-4f58-9241-2f10614c3355" providerId="ADAL" clId="{E4806A0B-DC8E-4AB6-B884-FF8A33E1EF07}" dt="2022-12-02T09:02:57.118" v="11441"/>
          <ac:spMkLst>
            <pc:docMk/>
            <pc:sldMk cId="755171214" sldId="335"/>
            <ac:spMk id="25" creationId="{EDA2C9DA-AA0E-4900-AD2F-E52580846E8D}"/>
          </ac:spMkLst>
        </pc:spChg>
        <pc:spChg chg="del mod">
          <ac:chgData name="Nikolaj Godsk Vestergaard" userId="13f6e931-e8bb-4f58-9241-2f10614c3355" providerId="ADAL" clId="{E4806A0B-DC8E-4AB6-B884-FF8A33E1EF07}" dt="2022-11-28T13:43:31.807" v="3055" actId="478"/>
          <ac:spMkLst>
            <pc:docMk/>
            <pc:sldMk cId="755171214" sldId="335"/>
            <ac:spMk id="28" creationId="{C9C8853F-9B19-4599-9846-37DE71762DBA}"/>
          </ac:spMkLst>
        </pc:spChg>
        <pc:spChg chg="del mod">
          <ac:chgData name="Nikolaj Godsk Vestergaard" userId="13f6e931-e8bb-4f58-9241-2f10614c3355" providerId="ADAL" clId="{E4806A0B-DC8E-4AB6-B884-FF8A33E1EF07}" dt="2022-12-02T09:02:51.720" v="11436" actId="478"/>
          <ac:spMkLst>
            <pc:docMk/>
            <pc:sldMk cId="755171214" sldId="335"/>
            <ac:spMk id="30" creationId="{BC46319C-8AE6-4A31-95E2-BC1DDD2382F5}"/>
          </ac:spMkLst>
        </pc:spChg>
        <pc:spChg chg="del">
          <ac:chgData name="Nikolaj Godsk Vestergaard" userId="13f6e931-e8bb-4f58-9241-2f10614c3355" providerId="ADAL" clId="{E4806A0B-DC8E-4AB6-B884-FF8A33E1EF07}" dt="2022-11-28T13:41:21.798" v="3009" actId="478"/>
          <ac:spMkLst>
            <pc:docMk/>
            <pc:sldMk cId="755171214" sldId="335"/>
            <ac:spMk id="34" creationId="{2DF2090F-B6D0-440A-B4EE-EA7B3F59241C}"/>
          </ac:spMkLst>
        </pc:spChg>
        <pc:graphicFrameChg chg="mod">
          <ac:chgData name="Nikolaj Godsk Vestergaard" userId="13f6e931-e8bb-4f58-9241-2f10614c3355" providerId="ADAL" clId="{E4806A0B-DC8E-4AB6-B884-FF8A33E1EF07}" dt="2022-12-02T09:02:57.122" v="11452"/>
          <ac:graphicFrameMkLst>
            <pc:docMk/>
            <pc:sldMk cId="755171214" sldId="335"/>
            <ac:graphicFrameMk id="5" creationId="{494DFD4A-C58C-4389-9344-CB1D175806AB}"/>
          </ac:graphicFrameMkLst>
        </pc:graphicFrameChg>
      </pc:sldChg>
      <pc:sldChg chg="addSp delSp modSp add mod delCm modNotesTx">
        <pc:chgData name="Nikolaj Godsk Vestergaard" userId="13f6e931-e8bb-4f58-9241-2f10614c3355" providerId="ADAL" clId="{E4806A0B-DC8E-4AB6-B884-FF8A33E1EF07}" dt="2022-12-05T07:31:10.547" v="16341"/>
        <pc:sldMkLst>
          <pc:docMk/>
          <pc:sldMk cId="3230653498" sldId="336"/>
        </pc:sldMkLst>
        <pc:spChg chg="add del mod ord">
          <ac:chgData name="Nikolaj Godsk Vestergaard" userId="13f6e931-e8bb-4f58-9241-2f10614c3355" providerId="ADAL" clId="{E4806A0B-DC8E-4AB6-B884-FF8A33E1EF07}" dt="2022-12-02T09:11:54.042" v="11938" actId="1076"/>
          <ac:spMkLst>
            <pc:docMk/>
            <pc:sldMk cId="3230653498" sldId="336"/>
            <ac:spMk id="2" creationId="{50707624-56DB-49BF-9A79-A2FEB94E96A8}"/>
          </ac:spMkLst>
        </pc:spChg>
        <pc:spChg chg="mod ord">
          <ac:chgData name="Nikolaj Godsk Vestergaard" userId="13f6e931-e8bb-4f58-9241-2f10614c3355" providerId="ADAL" clId="{E4806A0B-DC8E-4AB6-B884-FF8A33E1EF07}" dt="2022-12-02T09:09:06.158" v="11831"/>
          <ac:spMkLst>
            <pc:docMk/>
            <pc:sldMk cId="3230653498" sldId="336"/>
            <ac:spMk id="4" creationId="{B7FC3C18-0E4F-49B9-85D2-82FF8A035D13}"/>
          </ac:spMkLst>
        </pc:spChg>
        <pc:spChg chg="del">
          <ac:chgData name="Nikolaj Godsk Vestergaard" userId="13f6e931-e8bb-4f58-9241-2f10614c3355" providerId="ADAL" clId="{E4806A0B-DC8E-4AB6-B884-FF8A33E1EF07}" dt="2022-12-02T08:59:20.016" v="11337" actId="478"/>
          <ac:spMkLst>
            <pc:docMk/>
            <pc:sldMk cId="3230653498" sldId="336"/>
            <ac:spMk id="7" creationId="{27C30AB3-064D-441B-A9D9-D1F3413F87C2}"/>
          </ac:spMkLst>
        </pc:spChg>
        <pc:spChg chg="del mod">
          <ac:chgData name="Nikolaj Godsk Vestergaard" userId="13f6e931-e8bb-4f58-9241-2f10614c3355" providerId="ADAL" clId="{E4806A0B-DC8E-4AB6-B884-FF8A33E1EF07}" dt="2022-12-02T09:01:00.395" v="11403" actId="478"/>
          <ac:spMkLst>
            <pc:docMk/>
            <pc:sldMk cId="3230653498" sldId="336"/>
            <ac:spMk id="10" creationId="{21109319-0CC7-4DF1-84F6-3A269736EED2}"/>
          </ac:spMkLst>
        </pc:spChg>
        <pc:spChg chg="add del mod ord">
          <ac:chgData name="Nikolaj Godsk Vestergaard" userId="13f6e931-e8bb-4f58-9241-2f10614c3355" providerId="ADAL" clId="{E4806A0B-DC8E-4AB6-B884-FF8A33E1EF07}" dt="2022-12-02T09:11:57.737" v="11939" actId="14100"/>
          <ac:spMkLst>
            <pc:docMk/>
            <pc:sldMk cId="3230653498" sldId="336"/>
            <ac:spMk id="11" creationId="{F2237923-C517-4E64-BA44-64D3957B8269}"/>
          </ac:spMkLst>
        </pc:spChg>
        <pc:spChg chg="add mod ord">
          <ac:chgData name="Nikolaj Godsk Vestergaard" userId="13f6e931-e8bb-4f58-9241-2f10614c3355" providerId="ADAL" clId="{E4806A0B-DC8E-4AB6-B884-FF8A33E1EF07}" dt="2022-12-02T09:11:54.042" v="11938" actId="1076"/>
          <ac:spMkLst>
            <pc:docMk/>
            <pc:sldMk cId="3230653498" sldId="336"/>
            <ac:spMk id="12" creationId="{9DE637BE-8EED-4CBC-90B6-0886D188499D}"/>
          </ac:spMkLst>
        </pc:spChg>
        <pc:spChg chg="add del mod ord">
          <ac:chgData name="Nikolaj Godsk Vestergaard" userId="13f6e931-e8bb-4f58-9241-2f10614c3355" providerId="ADAL" clId="{E4806A0B-DC8E-4AB6-B884-FF8A33E1EF07}" dt="2022-12-02T09:11:54.042" v="11938" actId="1076"/>
          <ac:spMkLst>
            <pc:docMk/>
            <pc:sldMk cId="3230653498" sldId="336"/>
            <ac:spMk id="13" creationId="{5EFB2F19-A90F-40B9-9894-D675CA9FF8E9}"/>
          </ac:spMkLst>
        </pc:spChg>
        <pc:spChg chg="add mod ord">
          <ac:chgData name="Nikolaj Godsk Vestergaard" userId="13f6e931-e8bb-4f58-9241-2f10614c3355" providerId="ADAL" clId="{E4806A0B-DC8E-4AB6-B884-FF8A33E1EF07}" dt="2022-12-05T07:31:03.562" v="16340"/>
          <ac:spMkLst>
            <pc:docMk/>
            <pc:sldMk cId="3230653498" sldId="336"/>
            <ac:spMk id="14" creationId="{777909A1-F8C6-40F1-9E3E-CB3E06556E5B}"/>
          </ac:spMkLst>
        </pc:spChg>
        <pc:spChg chg="add mod ord">
          <ac:chgData name="Nikolaj Godsk Vestergaard" userId="13f6e931-e8bb-4f58-9241-2f10614c3355" providerId="ADAL" clId="{E4806A0B-DC8E-4AB6-B884-FF8A33E1EF07}" dt="2022-12-05T07:31:01.823" v="16338" actId="21"/>
          <ac:spMkLst>
            <pc:docMk/>
            <pc:sldMk cId="3230653498" sldId="336"/>
            <ac:spMk id="15" creationId="{E0C0C64C-E30F-4AE5-A85B-6D7404B5580B}"/>
          </ac:spMkLst>
        </pc:spChg>
        <pc:spChg chg="add mod ord">
          <ac:chgData name="Nikolaj Godsk Vestergaard" userId="13f6e931-e8bb-4f58-9241-2f10614c3355" providerId="ADAL" clId="{E4806A0B-DC8E-4AB6-B884-FF8A33E1EF07}" dt="2022-12-02T09:11:54.042" v="11938" actId="1076"/>
          <ac:spMkLst>
            <pc:docMk/>
            <pc:sldMk cId="3230653498" sldId="336"/>
            <ac:spMk id="16" creationId="{2EB15270-045B-4092-AABD-006EB2C62316}"/>
          </ac:spMkLst>
        </pc:spChg>
        <pc:spChg chg="add mod ord">
          <ac:chgData name="Nikolaj Godsk Vestergaard" userId="13f6e931-e8bb-4f58-9241-2f10614c3355" providerId="ADAL" clId="{E4806A0B-DC8E-4AB6-B884-FF8A33E1EF07}" dt="2022-12-02T09:09:06.162" v="11845"/>
          <ac:spMkLst>
            <pc:docMk/>
            <pc:sldMk cId="3230653498" sldId="336"/>
            <ac:spMk id="17" creationId="{FE6FEEAA-8269-417F-9843-3F6ACA8ECD4D}"/>
          </ac:spMkLst>
        </pc:spChg>
        <pc:spChg chg="add mod ord">
          <ac:chgData name="Nikolaj Godsk Vestergaard" userId="13f6e931-e8bb-4f58-9241-2f10614c3355" providerId="ADAL" clId="{E4806A0B-DC8E-4AB6-B884-FF8A33E1EF07}" dt="2022-12-02T09:09:06.163" v="11847"/>
          <ac:spMkLst>
            <pc:docMk/>
            <pc:sldMk cId="3230653498" sldId="336"/>
            <ac:spMk id="18" creationId="{6FEC2ABC-2F80-4A5C-85E3-24B2C76C3C05}"/>
          </ac:spMkLst>
        </pc:spChg>
        <pc:spChg chg="add mod ord">
          <ac:chgData name="Nikolaj Godsk Vestergaard" userId="13f6e931-e8bb-4f58-9241-2f10614c3355" providerId="ADAL" clId="{E4806A0B-DC8E-4AB6-B884-FF8A33E1EF07}" dt="2022-12-02T09:09:06.163" v="11849"/>
          <ac:spMkLst>
            <pc:docMk/>
            <pc:sldMk cId="3230653498" sldId="336"/>
            <ac:spMk id="19" creationId="{AC03476A-479E-44D0-AEDE-DBC8DF0B1C3C}"/>
          </ac:spMkLst>
        </pc:spChg>
        <pc:spChg chg="add mod ord">
          <ac:chgData name="Nikolaj Godsk Vestergaard" userId="13f6e931-e8bb-4f58-9241-2f10614c3355" providerId="ADAL" clId="{E4806A0B-DC8E-4AB6-B884-FF8A33E1EF07}" dt="2022-12-02T09:09:06.164" v="11851"/>
          <ac:spMkLst>
            <pc:docMk/>
            <pc:sldMk cId="3230653498" sldId="336"/>
            <ac:spMk id="20" creationId="{BAC31946-6E4C-4780-9029-AAB92C1735C2}"/>
          </ac:spMkLst>
        </pc:spChg>
        <pc:spChg chg="add del mod">
          <ac:chgData name="Nikolaj Godsk Vestergaard" userId="13f6e931-e8bb-4f58-9241-2f10614c3355" providerId="ADAL" clId="{E4806A0B-DC8E-4AB6-B884-FF8A33E1EF07}" dt="2022-12-02T11:18:25.752" v="12440"/>
          <ac:spMkLst>
            <pc:docMk/>
            <pc:sldMk cId="3230653498" sldId="336"/>
            <ac:spMk id="21" creationId="{146631AA-5EC1-4355-9ECE-99968EDC00EF}"/>
          </ac:spMkLst>
        </pc:spChg>
        <pc:spChg chg="del">
          <ac:chgData name="Nikolaj Godsk Vestergaard" userId="13f6e931-e8bb-4f58-9241-2f10614c3355" providerId="ADAL" clId="{E4806A0B-DC8E-4AB6-B884-FF8A33E1EF07}" dt="2022-12-02T09:01:00.395" v="11403" actId="478"/>
          <ac:spMkLst>
            <pc:docMk/>
            <pc:sldMk cId="3230653498" sldId="336"/>
            <ac:spMk id="22" creationId="{A8916DC6-5398-4A09-AF36-6DA76F62CE3F}"/>
          </ac:spMkLst>
        </pc:spChg>
        <pc:spChg chg="add del mod">
          <ac:chgData name="Nikolaj Godsk Vestergaard" userId="13f6e931-e8bb-4f58-9241-2f10614c3355" providerId="ADAL" clId="{E4806A0B-DC8E-4AB6-B884-FF8A33E1EF07}" dt="2022-12-02T11:18:25.752" v="12440"/>
          <ac:spMkLst>
            <pc:docMk/>
            <pc:sldMk cId="3230653498" sldId="336"/>
            <ac:spMk id="22" creationId="{D486542D-86C4-4F52-9620-6CBF6965586A}"/>
          </ac:spMkLst>
        </pc:spChg>
        <pc:spChg chg="add del mod">
          <ac:chgData name="Nikolaj Godsk Vestergaard" userId="13f6e931-e8bb-4f58-9241-2f10614c3355" providerId="ADAL" clId="{E4806A0B-DC8E-4AB6-B884-FF8A33E1EF07}" dt="2022-12-02T11:18:25.752" v="12440"/>
          <ac:spMkLst>
            <pc:docMk/>
            <pc:sldMk cId="3230653498" sldId="336"/>
            <ac:spMk id="23" creationId="{9FF6429C-C9F2-4C2A-810A-62235BACEC69}"/>
          </ac:spMkLst>
        </pc:spChg>
        <pc:spChg chg="add del mod">
          <ac:chgData name="Nikolaj Godsk Vestergaard" userId="13f6e931-e8bb-4f58-9241-2f10614c3355" providerId="ADAL" clId="{E4806A0B-DC8E-4AB6-B884-FF8A33E1EF07}" dt="2022-12-02T11:18:25.752" v="12440"/>
          <ac:spMkLst>
            <pc:docMk/>
            <pc:sldMk cId="3230653498" sldId="336"/>
            <ac:spMk id="24" creationId="{1C20A6D6-F8AF-494A-A46D-51892F58D01D}"/>
          </ac:spMkLst>
        </pc:spChg>
        <pc:spChg chg="add del mod">
          <ac:chgData name="Nikolaj Godsk Vestergaard" userId="13f6e931-e8bb-4f58-9241-2f10614c3355" providerId="ADAL" clId="{E4806A0B-DC8E-4AB6-B884-FF8A33E1EF07}" dt="2022-12-02T11:18:25.752" v="12440"/>
          <ac:spMkLst>
            <pc:docMk/>
            <pc:sldMk cId="3230653498" sldId="336"/>
            <ac:spMk id="25" creationId="{1C7F1477-8300-4288-A706-BFAE8B952BA3}"/>
          </ac:spMkLst>
        </pc:spChg>
        <pc:spChg chg="del mod">
          <ac:chgData name="Nikolaj Godsk Vestergaard" userId="13f6e931-e8bb-4f58-9241-2f10614c3355" providerId="ADAL" clId="{E4806A0B-DC8E-4AB6-B884-FF8A33E1EF07}" dt="2022-12-02T09:01:00.395" v="11403" actId="478"/>
          <ac:spMkLst>
            <pc:docMk/>
            <pc:sldMk cId="3230653498" sldId="336"/>
            <ac:spMk id="25" creationId="{EDA2C9DA-AA0E-4900-AD2F-E52580846E8D}"/>
          </ac:spMkLst>
        </pc:spChg>
        <pc:spChg chg="del">
          <ac:chgData name="Nikolaj Godsk Vestergaard" userId="13f6e931-e8bb-4f58-9241-2f10614c3355" providerId="ADAL" clId="{E4806A0B-DC8E-4AB6-B884-FF8A33E1EF07}" dt="2022-12-02T09:01:00.395" v="11403" actId="478"/>
          <ac:spMkLst>
            <pc:docMk/>
            <pc:sldMk cId="3230653498" sldId="336"/>
            <ac:spMk id="30" creationId="{BC46319C-8AE6-4A31-95E2-BC1DDD2382F5}"/>
          </ac:spMkLst>
        </pc:spChg>
        <pc:graphicFrameChg chg="mod">
          <ac:chgData name="Nikolaj Godsk Vestergaard" userId="13f6e931-e8bb-4f58-9241-2f10614c3355" providerId="ADAL" clId="{E4806A0B-DC8E-4AB6-B884-FF8A33E1EF07}" dt="2022-12-02T09:09:06.166" v="11854"/>
          <ac:graphicFrameMkLst>
            <pc:docMk/>
            <pc:sldMk cId="3230653498" sldId="336"/>
            <ac:graphicFrameMk id="5" creationId="{494DFD4A-C58C-4389-9344-CB1D175806AB}"/>
          </ac:graphicFrameMkLst>
        </pc:graphicFrameChg>
      </pc:sldChg>
      <pc:sldChg chg="add del">
        <pc:chgData name="Nikolaj Godsk Vestergaard" userId="13f6e931-e8bb-4f58-9241-2f10614c3355" providerId="ADAL" clId="{E4806A0B-DC8E-4AB6-B884-FF8A33E1EF07}" dt="2022-11-28T14:04:38.525" v="4335"/>
        <pc:sldMkLst>
          <pc:docMk/>
          <pc:sldMk cId="656607840" sldId="337"/>
        </pc:sldMkLst>
      </pc:sldChg>
      <pc:sldChg chg="delSp modSp add del mod">
        <pc:chgData name="Nikolaj Godsk Vestergaard" userId="13f6e931-e8bb-4f58-9241-2f10614c3355" providerId="ADAL" clId="{E4806A0B-DC8E-4AB6-B884-FF8A33E1EF07}" dt="2022-11-28T14:04:50.694" v="4340" actId="47"/>
        <pc:sldMkLst>
          <pc:docMk/>
          <pc:sldMk cId="2428428293" sldId="337"/>
        </pc:sldMkLst>
        <pc:spChg chg="del mod">
          <ac:chgData name="Nikolaj Godsk Vestergaard" userId="13f6e931-e8bb-4f58-9241-2f10614c3355" providerId="ADAL" clId="{E4806A0B-DC8E-4AB6-B884-FF8A33E1EF07}" dt="2022-11-28T14:04:49.111" v="4339" actId="478"/>
          <ac:spMkLst>
            <pc:docMk/>
            <pc:sldMk cId="2428428293" sldId="337"/>
            <ac:spMk id="10" creationId="{21109319-0CC7-4DF1-84F6-3A269736EED2}"/>
          </ac:spMkLst>
        </pc:spChg>
      </pc:sldChg>
      <pc:sldChg chg="addSp delSp modSp add mod ord delCm">
        <pc:chgData name="Nikolaj Godsk Vestergaard" userId="13f6e931-e8bb-4f58-9241-2f10614c3355" providerId="ADAL" clId="{E4806A0B-DC8E-4AB6-B884-FF8A33E1EF07}" dt="2022-12-02T10:30:28.187" v="12297" actId="20577"/>
        <pc:sldMkLst>
          <pc:docMk/>
          <pc:sldMk cId="2798339461" sldId="337"/>
        </pc:sldMkLst>
        <pc:spChg chg="add del">
          <ac:chgData name="Nikolaj Godsk Vestergaard" userId="13f6e931-e8bb-4f58-9241-2f10614c3355" providerId="ADAL" clId="{E4806A0B-DC8E-4AB6-B884-FF8A33E1EF07}" dt="2022-11-28T14:16:51.342" v="4773" actId="478"/>
          <ac:spMkLst>
            <pc:docMk/>
            <pc:sldMk cId="2798339461" sldId="337"/>
            <ac:spMk id="2" creationId="{D258C619-EFAB-4F9C-A612-97F775504629}"/>
          </ac:spMkLst>
        </pc:spChg>
        <pc:spChg chg="add mod">
          <ac:chgData name="Nikolaj Godsk Vestergaard" userId="13f6e931-e8bb-4f58-9241-2f10614c3355" providerId="ADAL" clId="{E4806A0B-DC8E-4AB6-B884-FF8A33E1EF07}" dt="2022-12-02T09:12:48.486" v="11950" actId="571"/>
          <ac:spMkLst>
            <pc:docMk/>
            <pc:sldMk cId="2798339461" sldId="337"/>
            <ac:spMk id="3" creationId="{3962805F-036D-4B7E-B04F-5EB4B65B3B7F}"/>
          </ac:spMkLst>
        </pc:spChg>
        <pc:spChg chg="del">
          <ac:chgData name="Nikolaj Godsk Vestergaard" userId="13f6e931-e8bb-4f58-9241-2f10614c3355" providerId="ADAL" clId="{E4806A0B-DC8E-4AB6-B884-FF8A33E1EF07}" dt="2022-12-02T09:09:48.285" v="11868" actId="478"/>
          <ac:spMkLst>
            <pc:docMk/>
            <pc:sldMk cId="2798339461" sldId="337"/>
            <ac:spMk id="7" creationId="{27C30AB3-064D-441B-A9D9-D1F3413F87C2}"/>
          </ac:spMkLst>
        </pc:spChg>
        <pc:spChg chg="add mod">
          <ac:chgData name="Nikolaj Godsk Vestergaard" userId="13f6e931-e8bb-4f58-9241-2f10614c3355" providerId="ADAL" clId="{E4806A0B-DC8E-4AB6-B884-FF8A33E1EF07}" dt="2022-12-02T09:12:48.486" v="11950" actId="571"/>
          <ac:spMkLst>
            <pc:docMk/>
            <pc:sldMk cId="2798339461" sldId="337"/>
            <ac:spMk id="8" creationId="{6C9253AA-3920-4505-8BE3-44ED68CC4D48}"/>
          </ac:spMkLst>
        </pc:spChg>
        <pc:spChg chg="del mod">
          <ac:chgData name="Nikolaj Godsk Vestergaard" userId="13f6e931-e8bb-4f58-9241-2f10614c3355" providerId="ADAL" clId="{E4806A0B-DC8E-4AB6-B884-FF8A33E1EF07}" dt="2022-12-02T09:10:51.944" v="11920" actId="478"/>
          <ac:spMkLst>
            <pc:docMk/>
            <pc:sldMk cId="2798339461" sldId="337"/>
            <ac:spMk id="10" creationId="{21109319-0CC7-4DF1-84F6-3A269736EED2}"/>
          </ac:spMkLst>
        </pc:spChg>
        <pc:spChg chg="mod">
          <ac:chgData name="Nikolaj Godsk Vestergaard" userId="13f6e931-e8bb-4f58-9241-2f10614c3355" providerId="ADAL" clId="{E4806A0B-DC8E-4AB6-B884-FF8A33E1EF07}" dt="2022-12-02T10:30:28.187" v="12297" actId="20577"/>
          <ac:spMkLst>
            <pc:docMk/>
            <pc:sldMk cId="2798339461" sldId="337"/>
            <ac:spMk id="11" creationId="{F2237923-C517-4E64-BA44-64D3957B8269}"/>
          </ac:spMkLst>
        </pc:spChg>
        <pc:spChg chg="add del mod">
          <ac:chgData name="Nikolaj Godsk Vestergaard" userId="13f6e931-e8bb-4f58-9241-2f10614c3355" providerId="ADAL" clId="{E4806A0B-DC8E-4AB6-B884-FF8A33E1EF07}" dt="2022-11-28T14:21:16.178" v="4810" actId="478"/>
          <ac:spMkLst>
            <pc:docMk/>
            <pc:sldMk cId="2798339461" sldId="337"/>
            <ac:spMk id="12" creationId="{D8D1B972-0C89-4499-8613-B5087B547E1A}"/>
          </ac:spMkLst>
        </pc:spChg>
        <pc:spChg chg="add mod">
          <ac:chgData name="Nikolaj Godsk Vestergaard" userId="13f6e931-e8bb-4f58-9241-2f10614c3355" providerId="ADAL" clId="{E4806A0B-DC8E-4AB6-B884-FF8A33E1EF07}" dt="2022-12-02T09:12:48.486" v="11950" actId="571"/>
          <ac:spMkLst>
            <pc:docMk/>
            <pc:sldMk cId="2798339461" sldId="337"/>
            <ac:spMk id="13" creationId="{13939BBA-25FC-4ED0-BEC7-B27F712C26EC}"/>
          </ac:spMkLst>
        </pc:spChg>
        <pc:spChg chg="del mod">
          <ac:chgData name="Nikolaj Godsk Vestergaard" userId="13f6e931-e8bb-4f58-9241-2f10614c3355" providerId="ADAL" clId="{E4806A0B-DC8E-4AB6-B884-FF8A33E1EF07}" dt="2022-12-02T09:10:51.944" v="11920" actId="478"/>
          <ac:spMkLst>
            <pc:docMk/>
            <pc:sldMk cId="2798339461" sldId="337"/>
            <ac:spMk id="22" creationId="{A8916DC6-5398-4A09-AF36-6DA76F62CE3F}"/>
          </ac:spMkLst>
        </pc:spChg>
        <pc:spChg chg="add del">
          <ac:chgData name="Nikolaj Godsk Vestergaard" userId="13f6e931-e8bb-4f58-9241-2f10614c3355" providerId="ADAL" clId="{E4806A0B-DC8E-4AB6-B884-FF8A33E1EF07}" dt="2022-11-28T14:19:53.828" v="4804" actId="478"/>
          <ac:spMkLst>
            <pc:docMk/>
            <pc:sldMk cId="2798339461" sldId="337"/>
            <ac:spMk id="23" creationId="{2035B279-6A77-4E0A-AFB9-7128133A1453}"/>
          </ac:spMkLst>
        </pc:spChg>
        <pc:spChg chg="add mod">
          <ac:chgData name="Nikolaj Godsk Vestergaard" userId="13f6e931-e8bb-4f58-9241-2f10614c3355" providerId="ADAL" clId="{E4806A0B-DC8E-4AB6-B884-FF8A33E1EF07}" dt="2022-12-02T09:12:48.486" v="11950" actId="571"/>
          <ac:spMkLst>
            <pc:docMk/>
            <pc:sldMk cId="2798339461" sldId="337"/>
            <ac:spMk id="24" creationId="{F74A74D6-3FDE-447E-A18B-018E2E8A27CA}"/>
          </ac:spMkLst>
        </pc:spChg>
        <pc:spChg chg="del mod">
          <ac:chgData name="Nikolaj Godsk Vestergaard" userId="13f6e931-e8bb-4f58-9241-2f10614c3355" providerId="ADAL" clId="{E4806A0B-DC8E-4AB6-B884-FF8A33E1EF07}" dt="2022-12-02T09:10:51.944" v="11920" actId="478"/>
          <ac:spMkLst>
            <pc:docMk/>
            <pc:sldMk cId="2798339461" sldId="337"/>
            <ac:spMk id="25" creationId="{EDA2C9DA-AA0E-4900-AD2F-E52580846E8D}"/>
          </ac:spMkLst>
        </pc:spChg>
        <pc:spChg chg="add mod">
          <ac:chgData name="Nikolaj Godsk Vestergaard" userId="13f6e931-e8bb-4f58-9241-2f10614c3355" providerId="ADAL" clId="{E4806A0B-DC8E-4AB6-B884-FF8A33E1EF07}" dt="2022-12-02T09:09:55.808" v="11869"/>
          <ac:spMkLst>
            <pc:docMk/>
            <pc:sldMk cId="2798339461" sldId="337"/>
            <ac:spMk id="27" creationId="{25D23059-0B57-486A-8A39-BE164AB92248}"/>
          </ac:spMkLst>
        </pc:spChg>
        <pc:spChg chg="add del">
          <ac:chgData name="Nikolaj Godsk Vestergaard" userId="13f6e931-e8bb-4f58-9241-2f10614c3355" providerId="ADAL" clId="{E4806A0B-DC8E-4AB6-B884-FF8A33E1EF07}" dt="2022-11-28T14:21:49.690" v="4814" actId="478"/>
          <ac:spMkLst>
            <pc:docMk/>
            <pc:sldMk cId="2798339461" sldId="337"/>
            <ac:spMk id="27" creationId="{99956FF5-BF86-44D5-B9F6-8B88F8B5E2BA}"/>
          </ac:spMkLst>
        </pc:spChg>
        <pc:spChg chg="add mod">
          <ac:chgData name="Nikolaj Godsk Vestergaard" userId="13f6e931-e8bb-4f58-9241-2f10614c3355" providerId="ADAL" clId="{E4806A0B-DC8E-4AB6-B884-FF8A33E1EF07}" dt="2022-12-02T09:12:48.486" v="11950" actId="571"/>
          <ac:spMkLst>
            <pc:docMk/>
            <pc:sldMk cId="2798339461" sldId="337"/>
            <ac:spMk id="28" creationId="{738C19F2-E6E7-4DD8-B9BB-84611B0805DE}"/>
          </ac:spMkLst>
        </pc:spChg>
        <pc:spChg chg="add mod">
          <ac:chgData name="Nikolaj Godsk Vestergaard" userId="13f6e931-e8bb-4f58-9241-2f10614c3355" providerId="ADAL" clId="{E4806A0B-DC8E-4AB6-B884-FF8A33E1EF07}" dt="2022-12-02T09:10:44.622" v="11919" actId="120"/>
          <ac:spMkLst>
            <pc:docMk/>
            <pc:sldMk cId="2798339461" sldId="337"/>
            <ac:spMk id="29" creationId="{40EB30FF-8193-4C98-AB6B-FC0A292AA197}"/>
          </ac:spMkLst>
        </pc:spChg>
        <pc:spChg chg="del">
          <ac:chgData name="Nikolaj Godsk Vestergaard" userId="13f6e931-e8bb-4f58-9241-2f10614c3355" providerId="ADAL" clId="{E4806A0B-DC8E-4AB6-B884-FF8A33E1EF07}" dt="2022-12-02T09:10:51.944" v="11920" actId="478"/>
          <ac:spMkLst>
            <pc:docMk/>
            <pc:sldMk cId="2798339461" sldId="337"/>
            <ac:spMk id="30" creationId="{BC46319C-8AE6-4A31-95E2-BC1DDD2382F5}"/>
          </ac:spMkLst>
        </pc:spChg>
        <pc:spChg chg="add mod">
          <ac:chgData name="Nikolaj Godsk Vestergaard" userId="13f6e931-e8bb-4f58-9241-2f10614c3355" providerId="ADAL" clId="{E4806A0B-DC8E-4AB6-B884-FF8A33E1EF07}" dt="2022-12-02T09:12:48.486" v="11950" actId="571"/>
          <ac:spMkLst>
            <pc:docMk/>
            <pc:sldMk cId="2798339461" sldId="337"/>
            <ac:spMk id="31" creationId="{384481E2-8A24-42AE-BF01-3F2DFD9A867F}"/>
          </ac:spMkLst>
        </pc:spChg>
        <pc:spChg chg="add mod">
          <ac:chgData name="Nikolaj Godsk Vestergaard" userId="13f6e931-e8bb-4f58-9241-2f10614c3355" providerId="ADAL" clId="{E4806A0B-DC8E-4AB6-B884-FF8A33E1EF07}" dt="2022-12-02T09:12:48.486" v="11950" actId="571"/>
          <ac:spMkLst>
            <pc:docMk/>
            <pc:sldMk cId="2798339461" sldId="337"/>
            <ac:spMk id="32" creationId="{E89C2E6E-2220-489E-97F9-EF9BE7700CC7}"/>
          </ac:spMkLst>
        </pc:spChg>
        <pc:spChg chg="add mod">
          <ac:chgData name="Nikolaj Godsk Vestergaard" userId="13f6e931-e8bb-4f58-9241-2f10614c3355" providerId="ADAL" clId="{E4806A0B-DC8E-4AB6-B884-FF8A33E1EF07}" dt="2022-12-02T09:12:48.486" v="11950" actId="571"/>
          <ac:spMkLst>
            <pc:docMk/>
            <pc:sldMk cId="2798339461" sldId="337"/>
            <ac:spMk id="33" creationId="{E7DA1316-9823-489A-8D3F-EA573B1EAF93}"/>
          </ac:spMkLst>
        </pc:spChg>
        <pc:spChg chg="add mod">
          <ac:chgData name="Nikolaj Godsk Vestergaard" userId="13f6e931-e8bb-4f58-9241-2f10614c3355" providerId="ADAL" clId="{E4806A0B-DC8E-4AB6-B884-FF8A33E1EF07}" dt="2022-12-02T09:13:20.904" v="11956" actId="207"/>
          <ac:spMkLst>
            <pc:docMk/>
            <pc:sldMk cId="2798339461" sldId="337"/>
            <ac:spMk id="34" creationId="{D09053F7-9F06-47CA-8629-5D888286730A}"/>
          </ac:spMkLst>
        </pc:spChg>
        <pc:spChg chg="add mod">
          <ac:chgData name="Nikolaj Godsk Vestergaard" userId="13f6e931-e8bb-4f58-9241-2f10614c3355" providerId="ADAL" clId="{E4806A0B-DC8E-4AB6-B884-FF8A33E1EF07}" dt="2022-12-02T09:13:20.904" v="11956" actId="207"/>
          <ac:spMkLst>
            <pc:docMk/>
            <pc:sldMk cId="2798339461" sldId="337"/>
            <ac:spMk id="35" creationId="{087AD1BF-45AD-40AA-B749-EF76C10623E2}"/>
          </ac:spMkLst>
        </pc:spChg>
        <pc:spChg chg="add mod">
          <ac:chgData name="Nikolaj Godsk Vestergaard" userId="13f6e931-e8bb-4f58-9241-2f10614c3355" providerId="ADAL" clId="{E4806A0B-DC8E-4AB6-B884-FF8A33E1EF07}" dt="2022-12-02T09:13:12.011" v="11955" actId="207"/>
          <ac:spMkLst>
            <pc:docMk/>
            <pc:sldMk cId="2798339461" sldId="337"/>
            <ac:spMk id="36" creationId="{9180697D-2247-4681-8475-DB3D4299C75E}"/>
          </ac:spMkLst>
        </pc:spChg>
        <pc:spChg chg="add mod">
          <ac:chgData name="Nikolaj Godsk Vestergaard" userId="13f6e931-e8bb-4f58-9241-2f10614c3355" providerId="ADAL" clId="{E4806A0B-DC8E-4AB6-B884-FF8A33E1EF07}" dt="2022-12-02T09:13:12.011" v="11955" actId="207"/>
          <ac:spMkLst>
            <pc:docMk/>
            <pc:sldMk cId="2798339461" sldId="337"/>
            <ac:spMk id="37" creationId="{A57FF61A-B015-4099-9654-AA682D3BAE58}"/>
          </ac:spMkLst>
        </pc:spChg>
        <pc:spChg chg="add mod">
          <ac:chgData name="Nikolaj Godsk Vestergaard" userId="13f6e931-e8bb-4f58-9241-2f10614c3355" providerId="ADAL" clId="{E4806A0B-DC8E-4AB6-B884-FF8A33E1EF07}" dt="2022-12-02T09:13:12.011" v="11955" actId="207"/>
          <ac:spMkLst>
            <pc:docMk/>
            <pc:sldMk cId="2798339461" sldId="337"/>
            <ac:spMk id="38" creationId="{D030C571-A476-4FC0-8853-66F44C8FAF40}"/>
          </ac:spMkLst>
        </pc:spChg>
        <pc:spChg chg="add mod">
          <ac:chgData name="Nikolaj Godsk Vestergaard" userId="13f6e931-e8bb-4f58-9241-2f10614c3355" providerId="ADAL" clId="{E4806A0B-DC8E-4AB6-B884-FF8A33E1EF07}" dt="2022-12-02T09:09:55.808" v="11869"/>
          <ac:spMkLst>
            <pc:docMk/>
            <pc:sldMk cId="2798339461" sldId="337"/>
            <ac:spMk id="39" creationId="{DA2FB1B6-A44B-45E8-8C9C-32E83823FACE}"/>
          </ac:spMkLst>
        </pc:spChg>
        <pc:spChg chg="add mod">
          <ac:chgData name="Nikolaj Godsk Vestergaard" userId="13f6e931-e8bb-4f58-9241-2f10614c3355" providerId="ADAL" clId="{E4806A0B-DC8E-4AB6-B884-FF8A33E1EF07}" dt="2022-12-02T09:10:05.489" v="11871" actId="14100"/>
          <ac:spMkLst>
            <pc:docMk/>
            <pc:sldMk cId="2798339461" sldId="337"/>
            <ac:spMk id="40" creationId="{5A344B7D-D7B9-4DF2-A4CB-722FEA50208A}"/>
          </ac:spMkLst>
        </pc:spChg>
        <pc:spChg chg="add mod">
          <ac:chgData name="Nikolaj Godsk Vestergaard" userId="13f6e931-e8bb-4f58-9241-2f10614c3355" providerId="ADAL" clId="{E4806A0B-DC8E-4AB6-B884-FF8A33E1EF07}" dt="2022-12-02T09:13:12.011" v="11955" actId="207"/>
          <ac:spMkLst>
            <pc:docMk/>
            <pc:sldMk cId="2798339461" sldId="337"/>
            <ac:spMk id="41" creationId="{4D7CF891-CB92-47FB-A92A-47202C95BAE5}"/>
          </ac:spMkLst>
        </pc:spChg>
        <pc:spChg chg="add mod">
          <ac:chgData name="Nikolaj Godsk Vestergaard" userId="13f6e931-e8bb-4f58-9241-2f10614c3355" providerId="ADAL" clId="{E4806A0B-DC8E-4AB6-B884-FF8A33E1EF07}" dt="2022-12-02T09:13:06.997" v="11954" actId="207"/>
          <ac:spMkLst>
            <pc:docMk/>
            <pc:sldMk cId="2798339461" sldId="337"/>
            <ac:spMk id="42" creationId="{98C42F97-81E3-41F3-A74C-4A461EF2AEDF}"/>
          </ac:spMkLst>
        </pc:spChg>
        <pc:spChg chg="add mod">
          <ac:chgData name="Nikolaj Godsk Vestergaard" userId="13f6e931-e8bb-4f58-9241-2f10614c3355" providerId="ADAL" clId="{E4806A0B-DC8E-4AB6-B884-FF8A33E1EF07}" dt="2022-12-02T09:13:06.997" v="11954" actId="207"/>
          <ac:spMkLst>
            <pc:docMk/>
            <pc:sldMk cId="2798339461" sldId="337"/>
            <ac:spMk id="43" creationId="{4B304AEF-4F60-4B3F-AAC2-4AF37D5C1476}"/>
          </ac:spMkLst>
        </pc:spChg>
        <pc:spChg chg="add mod">
          <ac:chgData name="Nikolaj Godsk Vestergaard" userId="13f6e931-e8bb-4f58-9241-2f10614c3355" providerId="ADAL" clId="{E4806A0B-DC8E-4AB6-B884-FF8A33E1EF07}" dt="2022-12-02T09:13:06.997" v="11954" actId="207"/>
          <ac:spMkLst>
            <pc:docMk/>
            <pc:sldMk cId="2798339461" sldId="337"/>
            <ac:spMk id="44" creationId="{7E15AB2F-C986-45A8-BDF5-5F32E0F2D4D0}"/>
          </ac:spMkLst>
        </pc:spChg>
        <pc:spChg chg="add mod">
          <ac:chgData name="Nikolaj Godsk Vestergaard" userId="13f6e931-e8bb-4f58-9241-2f10614c3355" providerId="ADAL" clId="{E4806A0B-DC8E-4AB6-B884-FF8A33E1EF07}" dt="2022-12-02T09:13:01.610" v="11953" actId="1076"/>
          <ac:spMkLst>
            <pc:docMk/>
            <pc:sldMk cId="2798339461" sldId="337"/>
            <ac:spMk id="45" creationId="{32466E00-0073-4890-9120-30AB90E3516D}"/>
          </ac:spMkLst>
        </pc:spChg>
        <pc:grpChg chg="add mod">
          <ac:chgData name="Nikolaj Godsk Vestergaard" userId="13f6e931-e8bb-4f58-9241-2f10614c3355" providerId="ADAL" clId="{E4806A0B-DC8E-4AB6-B884-FF8A33E1EF07}" dt="2022-12-02T09:12:48.486" v="11950" actId="571"/>
          <ac:grpSpMkLst>
            <pc:docMk/>
            <pc:sldMk cId="2798339461" sldId="337"/>
            <ac:grpSpMk id="2" creationId="{669A9F94-8DBE-48B9-A965-C031974DFF86}"/>
          </ac:grpSpMkLst>
        </pc:grpChg>
        <pc:grpChg chg="add mod">
          <ac:chgData name="Nikolaj Godsk Vestergaard" userId="13f6e931-e8bb-4f58-9241-2f10614c3355" providerId="ADAL" clId="{E4806A0B-DC8E-4AB6-B884-FF8A33E1EF07}" dt="2022-12-02T09:12:48.486" v="11950" actId="571"/>
          <ac:grpSpMkLst>
            <pc:docMk/>
            <pc:sldMk cId="2798339461" sldId="337"/>
            <ac:grpSpMk id="6" creationId="{E1FF7FE0-19DF-4726-AA8E-7330CA2FCB72}"/>
          </ac:grpSpMkLst>
        </pc:grpChg>
        <pc:grpChg chg="add mod">
          <ac:chgData name="Nikolaj Godsk Vestergaard" userId="13f6e931-e8bb-4f58-9241-2f10614c3355" providerId="ADAL" clId="{E4806A0B-DC8E-4AB6-B884-FF8A33E1EF07}" dt="2022-12-02T09:12:48.486" v="11950" actId="571"/>
          <ac:grpSpMkLst>
            <pc:docMk/>
            <pc:sldMk cId="2798339461" sldId="337"/>
            <ac:grpSpMk id="26" creationId="{031E5CD8-BAC0-410E-8BB6-129098363A2C}"/>
          </ac:grpSpMkLst>
        </pc:grpChg>
        <pc:cxnChg chg="add del mod">
          <ac:chgData name="Nikolaj Godsk Vestergaard" userId="13f6e931-e8bb-4f58-9241-2f10614c3355" providerId="ADAL" clId="{E4806A0B-DC8E-4AB6-B884-FF8A33E1EF07}" dt="2022-11-28T14:19:18.462" v="4798" actId="478"/>
          <ac:cxnSpMkLst>
            <pc:docMk/>
            <pc:sldMk cId="2798339461" sldId="337"/>
            <ac:cxnSpMk id="14" creationId="{F5993B03-BEEA-4A8C-89FC-8975CF2237C9}"/>
          </ac:cxnSpMkLst>
        </pc:cxnChg>
        <pc:cxnChg chg="add del mod">
          <ac:chgData name="Nikolaj Godsk Vestergaard" userId="13f6e931-e8bb-4f58-9241-2f10614c3355" providerId="ADAL" clId="{E4806A0B-DC8E-4AB6-B884-FF8A33E1EF07}" dt="2022-11-28T14:19:33.518" v="4802" actId="478"/>
          <ac:cxnSpMkLst>
            <pc:docMk/>
            <pc:sldMk cId="2798339461" sldId="337"/>
            <ac:cxnSpMk id="19" creationId="{31D87048-0E75-4BCB-A314-EAB8C33ADDB7}"/>
          </ac:cxnSpMkLst>
        </pc:cxnChg>
      </pc:sldChg>
      <pc:sldChg chg="addSp delSp modSp add mod ord delCm modNotesTx">
        <pc:chgData name="Nikolaj Godsk Vestergaard" userId="13f6e931-e8bb-4f58-9241-2f10614c3355" providerId="ADAL" clId="{E4806A0B-DC8E-4AB6-B884-FF8A33E1EF07}" dt="2022-12-02T11:59:27.455" v="13650"/>
        <pc:sldMkLst>
          <pc:docMk/>
          <pc:sldMk cId="4052520069" sldId="338"/>
        </pc:sldMkLst>
        <pc:spChg chg="del">
          <ac:chgData name="Nikolaj Godsk Vestergaard" userId="13f6e931-e8bb-4f58-9241-2f10614c3355" providerId="ADAL" clId="{E4806A0B-DC8E-4AB6-B884-FF8A33E1EF07}" dt="2022-12-02T10:13:49.917" v="11979" actId="478"/>
          <ac:spMkLst>
            <pc:docMk/>
            <pc:sldMk cId="4052520069" sldId="338"/>
            <ac:spMk id="7" creationId="{27C30AB3-064D-441B-A9D9-D1F3413F87C2}"/>
          </ac:spMkLst>
        </pc:spChg>
        <pc:spChg chg="del mod">
          <ac:chgData name="Nikolaj Godsk Vestergaard" userId="13f6e931-e8bb-4f58-9241-2f10614c3355" providerId="ADAL" clId="{E4806A0B-DC8E-4AB6-B884-FF8A33E1EF07}" dt="2022-12-02T10:14:47.337" v="12068" actId="478"/>
          <ac:spMkLst>
            <pc:docMk/>
            <pc:sldMk cId="4052520069" sldId="338"/>
            <ac:spMk id="10" creationId="{21109319-0CC7-4DF1-84F6-3A269736EED2}"/>
          </ac:spMkLst>
        </pc:spChg>
        <pc:spChg chg="mod">
          <ac:chgData name="Nikolaj Godsk Vestergaard" userId="13f6e931-e8bb-4f58-9241-2f10614c3355" providerId="ADAL" clId="{E4806A0B-DC8E-4AB6-B884-FF8A33E1EF07}" dt="2022-12-02T10:30:23.592" v="12296" actId="5793"/>
          <ac:spMkLst>
            <pc:docMk/>
            <pc:sldMk cId="4052520069" sldId="338"/>
            <ac:spMk id="11" creationId="{F2237923-C517-4E64-BA44-64D3957B8269}"/>
          </ac:spMkLst>
        </pc:spChg>
        <pc:spChg chg="add mod">
          <ac:chgData name="Nikolaj Godsk Vestergaard" userId="13f6e931-e8bb-4f58-9241-2f10614c3355" providerId="ADAL" clId="{E4806A0B-DC8E-4AB6-B884-FF8A33E1EF07}" dt="2022-12-02T10:14:58.706" v="12070" actId="255"/>
          <ac:spMkLst>
            <pc:docMk/>
            <pc:sldMk cId="4052520069" sldId="338"/>
            <ac:spMk id="12" creationId="{22260257-E40E-419D-ACCC-390F6346492C}"/>
          </ac:spMkLst>
        </pc:spChg>
        <pc:spChg chg="add mod">
          <ac:chgData name="Nikolaj Godsk Vestergaard" userId="13f6e931-e8bb-4f58-9241-2f10614c3355" providerId="ADAL" clId="{E4806A0B-DC8E-4AB6-B884-FF8A33E1EF07}" dt="2022-12-02T10:14:06.543" v="12018" actId="14100"/>
          <ac:spMkLst>
            <pc:docMk/>
            <pc:sldMk cId="4052520069" sldId="338"/>
            <ac:spMk id="13" creationId="{119B1449-E62A-4861-85AF-E5307FDD89DE}"/>
          </ac:spMkLst>
        </pc:spChg>
        <pc:spChg chg="add mod">
          <ac:chgData name="Nikolaj Godsk Vestergaard" userId="13f6e931-e8bb-4f58-9241-2f10614c3355" providerId="ADAL" clId="{E4806A0B-DC8E-4AB6-B884-FF8A33E1EF07}" dt="2022-12-02T10:13:50.435" v="11980"/>
          <ac:spMkLst>
            <pc:docMk/>
            <pc:sldMk cId="4052520069" sldId="338"/>
            <ac:spMk id="14" creationId="{8EB6B20A-6C8A-4F4A-9B7E-79A6F4382549}"/>
          </ac:spMkLst>
        </pc:spChg>
        <pc:spChg chg="add mod">
          <ac:chgData name="Nikolaj Godsk Vestergaard" userId="13f6e931-e8bb-4f58-9241-2f10614c3355" providerId="ADAL" clId="{E4806A0B-DC8E-4AB6-B884-FF8A33E1EF07}" dt="2022-12-02T10:13:50.435" v="11980"/>
          <ac:spMkLst>
            <pc:docMk/>
            <pc:sldMk cId="4052520069" sldId="338"/>
            <ac:spMk id="15" creationId="{FECDBCAD-331E-46AC-81C4-945BE3DED884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18" creationId="{C21966D2-43D6-45EB-84EE-FD9123661A02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19" creationId="{6442059D-4A2A-4CA9-B80F-CFEBE9199B62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20" creationId="{B9193A34-66C5-4EE8-A548-6D6AB8DE8F4B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21" creationId="{7C80233A-8CC3-430C-B454-BFE34C9B21A5}"/>
          </ac:spMkLst>
        </pc:spChg>
        <pc:spChg chg="del mod">
          <ac:chgData name="Nikolaj Godsk Vestergaard" userId="13f6e931-e8bb-4f58-9241-2f10614c3355" providerId="ADAL" clId="{E4806A0B-DC8E-4AB6-B884-FF8A33E1EF07}" dt="2022-12-02T10:14:47.337" v="12068" actId="478"/>
          <ac:spMkLst>
            <pc:docMk/>
            <pc:sldMk cId="4052520069" sldId="338"/>
            <ac:spMk id="22" creationId="{A8916DC6-5398-4A09-AF36-6DA76F62CE3F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23" creationId="{A93A0995-472F-43A6-B79A-41AAEB270C7B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24" creationId="{6872CF6F-2779-4219-9E64-4D88D8941965}"/>
          </ac:spMkLst>
        </pc:spChg>
        <pc:spChg chg="del mod">
          <ac:chgData name="Nikolaj Godsk Vestergaard" userId="13f6e931-e8bb-4f58-9241-2f10614c3355" providerId="ADAL" clId="{E4806A0B-DC8E-4AB6-B884-FF8A33E1EF07}" dt="2022-12-02T10:14:47.337" v="12068" actId="478"/>
          <ac:spMkLst>
            <pc:docMk/>
            <pc:sldMk cId="4052520069" sldId="338"/>
            <ac:spMk id="25" creationId="{EDA2C9DA-AA0E-4900-AD2F-E52580846E8D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26" creationId="{59E1AFB3-574E-4A96-B9F1-54E6E579EA2E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27" creationId="{F49FA3C2-86C2-460B-B43E-F0539A4A52F4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28" creationId="{6D2A9975-D370-4A4E-9EF5-A5FBB559231F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29" creationId="{658A4637-2657-4992-AAC2-376E0CE66EC4}"/>
          </ac:spMkLst>
        </pc:spChg>
        <pc:spChg chg="del mod">
          <ac:chgData name="Nikolaj Godsk Vestergaard" userId="13f6e931-e8bb-4f58-9241-2f10614c3355" providerId="ADAL" clId="{E4806A0B-DC8E-4AB6-B884-FF8A33E1EF07}" dt="2022-12-02T10:14:47.337" v="12068" actId="478"/>
          <ac:spMkLst>
            <pc:docMk/>
            <pc:sldMk cId="4052520069" sldId="338"/>
            <ac:spMk id="30" creationId="{BC46319C-8AE6-4A31-95E2-BC1DDD2382F5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31" creationId="{66D5F50E-2EDE-4566-862C-852B4BF04C91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32" creationId="{1550C5D2-DFFB-4490-8099-C30F9F445845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33" creationId="{CE3FDB22-537A-462E-9F5E-7707A020201D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34" creationId="{B77F1BD7-B5CE-4A66-A43A-4824A89414A7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36" creationId="{42E66D14-4253-45DE-94E2-168F45B64F57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37" creationId="{B1452C0B-A68C-4F84-BE7F-A8FF461A0ABF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38" creationId="{998750C2-1BB9-4F6E-9B27-86619F0DAC97}"/>
          </ac:spMkLst>
        </pc:spChg>
        <pc:spChg chg="mod">
          <ac:chgData name="Nikolaj Godsk Vestergaard" userId="13f6e931-e8bb-4f58-9241-2f10614c3355" providerId="ADAL" clId="{E4806A0B-DC8E-4AB6-B884-FF8A33E1EF07}" dt="2022-12-02T10:15:27.413" v="12071"/>
          <ac:spMkLst>
            <pc:docMk/>
            <pc:sldMk cId="4052520069" sldId="338"/>
            <ac:spMk id="39" creationId="{1EFD3CDB-66AF-44C3-9A3C-6D7A8B309145}"/>
          </ac:spMkLst>
        </pc:spChg>
        <pc:grpChg chg="add mod">
          <ac:chgData name="Nikolaj Godsk Vestergaard" userId="13f6e931-e8bb-4f58-9241-2f10614c3355" providerId="ADAL" clId="{E4806A0B-DC8E-4AB6-B884-FF8A33E1EF07}" dt="2022-12-02T10:15:27.413" v="12071"/>
          <ac:grpSpMkLst>
            <pc:docMk/>
            <pc:sldMk cId="4052520069" sldId="338"/>
            <ac:grpSpMk id="16" creationId="{1AB7DB3F-A651-4DD5-9260-820AF450BC16}"/>
          </ac:grpSpMkLst>
        </pc:grpChg>
        <pc:grpChg chg="mod">
          <ac:chgData name="Nikolaj Godsk Vestergaard" userId="13f6e931-e8bb-4f58-9241-2f10614c3355" providerId="ADAL" clId="{E4806A0B-DC8E-4AB6-B884-FF8A33E1EF07}" dt="2022-12-02T10:15:27.413" v="12071"/>
          <ac:grpSpMkLst>
            <pc:docMk/>
            <pc:sldMk cId="4052520069" sldId="338"/>
            <ac:grpSpMk id="17" creationId="{54F539B2-1354-4E28-B7F3-18536D69838F}"/>
          </ac:grpSpMkLst>
        </pc:grpChg>
        <pc:grpChg chg="mod">
          <ac:chgData name="Nikolaj Godsk Vestergaard" userId="13f6e931-e8bb-4f58-9241-2f10614c3355" providerId="ADAL" clId="{E4806A0B-DC8E-4AB6-B884-FF8A33E1EF07}" dt="2022-12-02T10:15:27.413" v="12071"/>
          <ac:grpSpMkLst>
            <pc:docMk/>
            <pc:sldMk cId="4052520069" sldId="338"/>
            <ac:grpSpMk id="35" creationId="{83A6537E-8587-4438-9802-D445BD5F27F5}"/>
          </ac:grpSpMkLst>
        </pc:grpChg>
      </pc:sldChg>
      <pc:sldChg chg="modSp add del mod">
        <pc:chgData name="Nikolaj Godsk Vestergaard" userId="13f6e931-e8bb-4f58-9241-2f10614c3355" providerId="ADAL" clId="{E4806A0B-DC8E-4AB6-B884-FF8A33E1EF07}" dt="2022-11-28T13:07:00.081" v="1522"/>
        <pc:sldMkLst>
          <pc:docMk/>
          <pc:sldMk cId="2504916142" sldId="339"/>
        </pc:sldMkLst>
        <pc:graphicFrameChg chg="mod">
          <ac:chgData name="Nikolaj Godsk Vestergaard" userId="13f6e931-e8bb-4f58-9241-2f10614c3355" providerId="ADAL" clId="{E4806A0B-DC8E-4AB6-B884-FF8A33E1EF07}" dt="2022-11-28T13:07:00.081" v="1522"/>
          <ac:graphicFrameMkLst>
            <pc:docMk/>
            <pc:sldMk cId="2504916142" sldId="339"/>
            <ac:graphicFrameMk id="2" creationId="{195370CB-9A22-4490-BFCE-F321DCFDE505}"/>
          </ac:graphicFrameMkLst>
        </pc:graphicFrameChg>
      </pc:sldChg>
      <pc:sldChg chg="addSp delSp modSp add mod">
        <pc:chgData name="Nikolaj Godsk Vestergaard" userId="13f6e931-e8bb-4f58-9241-2f10614c3355" providerId="ADAL" clId="{E4806A0B-DC8E-4AB6-B884-FF8A33E1EF07}" dt="2022-12-02T08:52:46.404" v="11113" actId="207"/>
        <pc:sldMkLst>
          <pc:docMk/>
          <pc:sldMk cId="3775362778" sldId="339"/>
        </pc:sldMkLst>
        <pc:spChg chg="mod">
          <ac:chgData name="Nikolaj Godsk Vestergaard" userId="13f6e931-e8bb-4f58-9241-2f10614c3355" providerId="ADAL" clId="{E4806A0B-DC8E-4AB6-B884-FF8A33E1EF07}" dt="2022-11-28T14:26:58.322" v="5577" actId="948"/>
          <ac:spMkLst>
            <pc:docMk/>
            <pc:sldMk cId="3775362778" sldId="339"/>
            <ac:spMk id="2" creationId="{0F8BF24F-A2E6-4CF6-8D40-59F7B68CAF25}"/>
          </ac:spMkLst>
        </pc:spChg>
        <pc:spChg chg="add del mod modVis">
          <ac:chgData name="Nikolaj Godsk Vestergaard" userId="13f6e931-e8bb-4f58-9241-2f10614c3355" providerId="ADAL" clId="{E4806A0B-DC8E-4AB6-B884-FF8A33E1EF07}" dt="2022-11-28T14:26:42.859" v="5294"/>
          <ac:spMkLst>
            <pc:docMk/>
            <pc:sldMk cId="3775362778" sldId="339"/>
            <ac:spMk id="3" creationId="{E104AA26-0785-4FAB-9EEA-FA888AA0B6B6}"/>
          </ac:spMkLst>
        </pc:spChg>
        <pc:spChg chg="del">
          <ac:chgData name="Nikolaj Godsk Vestergaard" userId="13f6e931-e8bb-4f58-9241-2f10614c3355" providerId="ADAL" clId="{E4806A0B-DC8E-4AB6-B884-FF8A33E1EF07}" dt="2022-12-02T08:51:11.517" v="11088" actId="478"/>
          <ac:spMkLst>
            <pc:docMk/>
            <pc:sldMk cId="3775362778" sldId="339"/>
            <ac:spMk id="4" creationId="{BEE9A4E6-2BCE-456F-81BF-9B495BB56FD8}"/>
          </ac:spMkLst>
        </pc:spChg>
        <pc:spChg chg="add del mod modVis">
          <ac:chgData name="Nikolaj Godsk Vestergaard" userId="13f6e931-e8bb-4f58-9241-2f10614c3355" providerId="ADAL" clId="{E4806A0B-DC8E-4AB6-B884-FF8A33E1EF07}" dt="2022-11-28T14:26:46.449" v="5341"/>
          <ac:spMkLst>
            <pc:docMk/>
            <pc:sldMk cId="3775362778" sldId="339"/>
            <ac:spMk id="5" creationId="{555080D7-9758-4891-BD1C-AD35862D8A83}"/>
          </ac:spMkLst>
        </pc:spChg>
        <pc:spChg chg="add del mod modVis">
          <ac:chgData name="Nikolaj Godsk Vestergaard" userId="13f6e931-e8bb-4f58-9241-2f10614c3355" providerId="ADAL" clId="{E4806A0B-DC8E-4AB6-B884-FF8A33E1EF07}" dt="2022-11-28T14:26:48.293" v="5395"/>
          <ac:spMkLst>
            <pc:docMk/>
            <pc:sldMk cId="3775362778" sldId="339"/>
            <ac:spMk id="7" creationId="{4F169204-550B-4E02-BE97-69596B58BDBB}"/>
          </ac:spMkLst>
        </pc:spChg>
        <pc:spChg chg="add del mod modVis">
          <ac:chgData name="Nikolaj Godsk Vestergaard" userId="13f6e931-e8bb-4f58-9241-2f10614c3355" providerId="ADAL" clId="{E4806A0B-DC8E-4AB6-B884-FF8A33E1EF07}" dt="2022-11-28T14:26:48.685" v="5439"/>
          <ac:spMkLst>
            <pc:docMk/>
            <pc:sldMk cId="3775362778" sldId="339"/>
            <ac:spMk id="8" creationId="{F2359DC6-FEF4-4C0C-A7CA-EA89299766F1}"/>
          </ac:spMkLst>
        </pc:spChg>
        <pc:spChg chg="add del mod modVis">
          <ac:chgData name="Nikolaj Godsk Vestergaard" userId="13f6e931-e8bb-4f58-9241-2f10614c3355" providerId="ADAL" clId="{E4806A0B-DC8E-4AB6-B884-FF8A33E1EF07}" dt="2022-11-28T14:26:51.618" v="5483"/>
          <ac:spMkLst>
            <pc:docMk/>
            <pc:sldMk cId="3775362778" sldId="339"/>
            <ac:spMk id="9" creationId="{C4EA1FC6-85CB-4BEE-9ABC-574B0E41D736}"/>
          </ac:spMkLst>
        </pc:spChg>
        <pc:spChg chg="add del mod modVis">
          <ac:chgData name="Nikolaj Godsk Vestergaard" userId="13f6e931-e8bb-4f58-9241-2f10614c3355" providerId="ADAL" clId="{E4806A0B-DC8E-4AB6-B884-FF8A33E1EF07}" dt="2022-11-28T14:26:53.067" v="5528"/>
          <ac:spMkLst>
            <pc:docMk/>
            <pc:sldMk cId="3775362778" sldId="339"/>
            <ac:spMk id="10" creationId="{F0DBDFB3-005E-4B4A-97FD-670FFD140495}"/>
          </ac:spMkLst>
        </pc:spChg>
        <pc:spChg chg="add del mod modVis">
          <ac:chgData name="Nikolaj Godsk Vestergaard" userId="13f6e931-e8bb-4f58-9241-2f10614c3355" providerId="ADAL" clId="{E4806A0B-DC8E-4AB6-B884-FF8A33E1EF07}" dt="2022-11-28T14:26:57.584" v="5573"/>
          <ac:spMkLst>
            <pc:docMk/>
            <pc:sldMk cId="3775362778" sldId="339"/>
            <ac:spMk id="11" creationId="{D432F90A-EA5D-4ABE-A56D-4C56D4560AB6}"/>
          </ac:spMkLst>
        </pc:spChg>
        <pc:spChg chg="add del mod modVis">
          <ac:chgData name="Nikolaj Godsk Vestergaard" userId="13f6e931-e8bb-4f58-9241-2f10614c3355" providerId="ADAL" clId="{E4806A0B-DC8E-4AB6-B884-FF8A33E1EF07}" dt="2022-11-28T14:26:58.387" v="5617"/>
          <ac:spMkLst>
            <pc:docMk/>
            <pc:sldMk cId="3775362778" sldId="339"/>
            <ac:spMk id="12" creationId="{B9652A84-318E-48FF-8119-2EA063BCD86B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41" creationId="{5E169612-3D79-4321-9F94-6CC496E9D11D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42" creationId="{1D4A743C-04B0-49A0-99B2-BC782F1EF5C7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43" creationId="{252B44AA-0C67-4906-944D-07EB12F82E72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44" creationId="{C0AC326D-08BC-4B0B-BEB6-83B6D3DA071B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45" creationId="{5C70D01A-B085-4A5E-8BF4-4D5B58B47D7A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46" creationId="{4C81B601-08F2-411B-BF89-EDD5EE56EB9A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47" creationId="{621F6F9C-D9BA-42FC-8C26-ED89A20C99F0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48" creationId="{C98E9B78-6D7A-474F-900B-246928EB170E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49" creationId="{FCFE1BDC-F160-49AB-A05E-658C6F788D10}"/>
          </ac:spMkLst>
        </pc:spChg>
        <pc:spChg chg="mod">
          <ac:chgData name="Nikolaj Godsk Vestergaard" userId="13f6e931-e8bb-4f58-9241-2f10614c3355" providerId="ADAL" clId="{E4806A0B-DC8E-4AB6-B884-FF8A33E1EF07}" dt="2022-12-02T08:51:11.960" v="11089"/>
          <ac:spMkLst>
            <pc:docMk/>
            <pc:sldMk cId="3775362778" sldId="339"/>
            <ac:spMk id="50" creationId="{42E8CF23-5FB5-4987-B600-84AA7FB7F710}"/>
          </ac:spMkLst>
        </pc:spChg>
        <pc:spChg chg="add 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51" creationId="{7236F299-5A52-45A6-9F82-B19616CAEBB1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53" creationId="{4DAC014B-63FE-4522-9248-F62B085F5DB8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54" creationId="{4B89C5B2-183B-4086-9795-6795DD4E624D}"/>
          </ac:spMkLst>
        </pc:spChg>
        <pc:spChg chg="mod">
          <ac:chgData name="Nikolaj Godsk Vestergaard" userId="13f6e931-e8bb-4f58-9241-2f10614c3355" providerId="ADAL" clId="{E4806A0B-DC8E-4AB6-B884-FF8A33E1EF07}" dt="2022-12-02T08:52:14.725" v="11104" actId="207"/>
          <ac:spMkLst>
            <pc:docMk/>
            <pc:sldMk cId="3775362778" sldId="339"/>
            <ac:spMk id="55" creationId="{988902AF-3CA4-44AD-99B9-355D54816833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56" creationId="{CB9B3512-4F45-4131-88D0-F31E872E5AF3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57" creationId="{19CCDECE-30E8-45A5-B6B4-280936B1376D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58" creationId="{3AFE62FE-81F7-48B6-B533-2A84B1EC8CC7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59" creationId="{FCF7BB92-2BE6-4B8C-AF92-19EC474A3792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60" creationId="{7243DAB8-5EDF-4AE7-83E4-26813733837B}"/>
          </ac:spMkLst>
        </pc:spChg>
        <pc:spChg chg="mod">
          <ac:chgData name="Nikolaj Godsk Vestergaard" userId="13f6e931-e8bb-4f58-9241-2f10614c3355" providerId="ADAL" clId="{E4806A0B-DC8E-4AB6-B884-FF8A33E1EF07}" dt="2022-12-02T08:52:46.404" v="11113" actId="207"/>
          <ac:spMkLst>
            <pc:docMk/>
            <pc:sldMk cId="3775362778" sldId="339"/>
            <ac:spMk id="63" creationId="{96F5EE25-4F06-4469-93D9-E6FDD2F31133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64" creationId="{7B212723-EF48-4D50-9180-5BEB05749BB1}"/>
          </ac:spMkLst>
        </pc:spChg>
        <pc:spChg chg="mod">
          <ac:chgData name="Nikolaj Godsk Vestergaard" userId="13f6e931-e8bb-4f58-9241-2f10614c3355" providerId="ADAL" clId="{E4806A0B-DC8E-4AB6-B884-FF8A33E1EF07}" dt="2022-12-02T08:52:18.379" v="11105" actId="207"/>
          <ac:spMkLst>
            <pc:docMk/>
            <pc:sldMk cId="3775362778" sldId="339"/>
            <ac:spMk id="66" creationId="{5C8E82DD-61A2-4F94-BD30-C77341E7E54E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67" creationId="{B7DC7D7E-A44A-4864-8D9A-BDDC0C1EFA69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69" creationId="{C74B61BB-46E1-44D0-83D0-71FF4205DD12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70" creationId="{E37E7CD4-5E18-4A69-92A1-6B3436FB035A}"/>
          </ac:spMkLst>
        </pc:spChg>
        <pc:spChg chg="mod">
          <ac:chgData name="Nikolaj Godsk Vestergaard" userId="13f6e931-e8bb-4f58-9241-2f10614c3355" providerId="ADAL" clId="{E4806A0B-DC8E-4AB6-B884-FF8A33E1EF07}" dt="2022-12-02T08:52:22.053" v="11106" actId="207"/>
          <ac:spMkLst>
            <pc:docMk/>
            <pc:sldMk cId="3775362778" sldId="339"/>
            <ac:spMk id="72" creationId="{C9C039A1-BA1F-4012-ADCB-CF7F4942B806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73" creationId="{3FE001C9-23D8-40F1-8B1E-76548E10E17D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75" creationId="{30830A33-AFB0-48D1-81DC-95C87B2CC637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76" creationId="{E03CDC90-5DD6-4197-A60E-8C1BD1AFD8D3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78" creationId="{5B7029DC-6ED8-4969-BDB8-357834B9F0C3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79" creationId="{6273A49A-5AC5-4C7B-8B90-C0D94B436766}"/>
          </ac:spMkLst>
        </pc:spChg>
        <pc:spChg chg="mod">
          <ac:chgData name="Nikolaj Godsk Vestergaard" userId="13f6e931-e8bb-4f58-9241-2f10614c3355" providerId="ADAL" clId="{E4806A0B-DC8E-4AB6-B884-FF8A33E1EF07}" dt="2022-11-28T15:34:32.809" v="8286" actId="207"/>
          <ac:spMkLst>
            <pc:docMk/>
            <pc:sldMk cId="3775362778" sldId="339"/>
            <ac:spMk id="80" creationId="{17655177-24ED-4058-A22E-48DDD5FD2E3B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85" creationId="{6643A0CC-E666-43B7-A99C-9CB7939EDF4A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86" creationId="{F250E280-4B6E-40CD-89A8-EC8F4927E62A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88" creationId="{AD17150D-7920-498D-8675-C7B94188BC9B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89" creationId="{F6CF30C6-D261-4BB7-8126-4C017AFAC7B1}"/>
          </ac:spMkLst>
        </pc:spChg>
        <pc:spChg chg="mod">
          <ac:chgData name="Nikolaj Godsk Vestergaard" userId="13f6e931-e8bb-4f58-9241-2f10614c3355" providerId="ADAL" clId="{E4806A0B-DC8E-4AB6-B884-FF8A33E1EF07}" dt="2022-11-28T14:27:50.213" v="5706" actId="207"/>
          <ac:spMkLst>
            <pc:docMk/>
            <pc:sldMk cId="3775362778" sldId="339"/>
            <ac:spMk id="92" creationId="{D815FDFC-BAAF-487D-9920-F395620678C7}"/>
          </ac:spMkLst>
        </pc:spChg>
        <pc:spChg chg="mod">
          <ac:chgData name="Nikolaj Godsk Vestergaard" userId="13f6e931-e8bb-4f58-9241-2f10614c3355" providerId="ADAL" clId="{E4806A0B-DC8E-4AB6-B884-FF8A33E1EF07}" dt="2022-11-28T14:25:52.207" v="5087" actId="207"/>
          <ac:spMkLst>
            <pc:docMk/>
            <pc:sldMk cId="3775362778" sldId="339"/>
            <ac:spMk id="97" creationId="{D7740C44-6C64-468A-B69B-7FF23D8CE403}"/>
          </ac:spMkLst>
        </pc:spChg>
        <pc:spChg chg="mod">
          <ac:chgData name="Nikolaj Godsk Vestergaard" userId="13f6e931-e8bb-4f58-9241-2f10614c3355" providerId="ADAL" clId="{E4806A0B-DC8E-4AB6-B884-FF8A33E1EF07}" dt="2022-11-28T14:25:49.897" v="5086" actId="207"/>
          <ac:spMkLst>
            <pc:docMk/>
            <pc:sldMk cId="3775362778" sldId="339"/>
            <ac:spMk id="98" creationId="{FE4F233C-0D43-433B-A7DF-089AC898059C}"/>
          </ac:spMkLst>
        </pc:spChg>
        <pc:spChg chg="mod">
          <ac:chgData name="Nikolaj Godsk Vestergaard" userId="13f6e931-e8bb-4f58-9241-2f10614c3355" providerId="ADAL" clId="{E4806A0B-DC8E-4AB6-B884-FF8A33E1EF07}" dt="2022-11-28T14:25:56.945" v="5088" actId="207"/>
          <ac:spMkLst>
            <pc:docMk/>
            <pc:sldMk cId="3775362778" sldId="339"/>
            <ac:spMk id="103" creationId="{B79AFCC9-18AA-4BCF-9B50-418FC71DC38C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120" creationId="{3E263778-1135-48F8-8FC0-31F14EECA5E4}"/>
          </ac:spMkLst>
        </pc:spChg>
        <pc:spChg chg="mod">
          <ac:chgData name="Nikolaj Godsk Vestergaard" userId="13f6e931-e8bb-4f58-9241-2f10614c3355" providerId="ADAL" clId="{E4806A0B-DC8E-4AB6-B884-FF8A33E1EF07}" dt="2022-12-02T08:51:24.178" v="11091"/>
          <ac:spMkLst>
            <pc:docMk/>
            <pc:sldMk cId="3775362778" sldId="339"/>
            <ac:spMk id="121" creationId="{3EBC9220-87BF-4EB4-919C-103F224D0787}"/>
          </ac:spMkLst>
        </pc:spChg>
        <pc:grpChg chg="add del mod">
          <ac:chgData name="Nikolaj Godsk Vestergaard" userId="13f6e931-e8bb-4f58-9241-2f10614c3355" providerId="ADAL" clId="{E4806A0B-DC8E-4AB6-B884-FF8A33E1EF07}" dt="2022-12-02T08:51:12.796" v="11090"/>
          <ac:grpSpMkLst>
            <pc:docMk/>
            <pc:sldMk cId="3775362778" sldId="339"/>
            <ac:grpSpMk id="40" creationId="{1E6AF7FD-1F47-4EE9-8168-C7B8EEE8FBA1}"/>
          </ac:grpSpMkLst>
        </pc:grpChg>
        <pc:grpChg chg="add mod">
          <ac:chgData name="Nikolaj Godsk Vestergaard" userId="13f6e931-e8bb-4f58-9241-2f10614c3355" providerId="ADAL" clId="{E4806A0B-DC8E-4AB6-B884-FF8A33E1EF07}" dt="2022-12-02T08:51:24.178" v="11091"/>
          <ac:grpSpMkLst>
            <pc:docMk/>
            <pc:sldMk cId="3775362778" sldId="339"/>
            <ac:grpSpMk id="52" creationId="{A1034F4A-F126-4E3D-BBC0-D4D68E9FB138}"/>
          </ac:grpSpMkLst>
        </pc:grpChg>
        <pc:grpChg chg="add mod">
          <ac:chgData name="Nikolaj Godsk Vestergaard" userId="13f6e931-e8bb-4f58-9241-2f10614c3355" providerId="ADAL" clId="{E4806A0B-DC8E-4AB6-B884-FF8A33E1EF07}" dt="2022-12-02T08:51:24.178" v="11091"/>
          <ac:grpSpMkLst>
            <pc:docMk/>
            <pc:sldMk cId="3775362778" sldId="339"/>
            <ac:grpSpMk id="65" creationId="{D8A6223D-6E50-4632-8E2C-5202A3466DDF}"/>
          </ac:grpSpMkLst>
        </pc:grpChg>
        <pc:grpChg chg="add mod">
          <ac:chgData name="Nikolaj Godsk Vestergaard" userId="13f6e931-e8bb-4f58-9241-2f10614c3355" providerId="ADAL" clId="{E4806A0B-DC8E-4AB6-B884-FF8A33E1EF07}" dt="2022-12-02T08:51:24.178" v="11091"/>
          <ac:grpSpMkLst>
            <pc:docMk/>
            <pc:sldMk cId="3775362778" sldId="339"/>
            <ac:grpSpMk id="68" creationId="{3AAFDADA-98EE-43DA-BD6C-A8EDC0BB5731}"/>
          </ac:grpSpMkLst>
        </pc:grpChg>
        <pc:grpChg chg="add mod">
          <ac:chgData name="Nikolaj Godsk Vestergaard" userId="13f6e931-e8bb-4f58-9241-2f10614c3355" providerId="ADAL" clId="{E4806A0B-DC8E-4AB6-B884-FF8A33E1EF07}" dt="2022-12-02T08:51:24.178" v="11091"/>
          <ac:grpSpMkLst>
            <pc:docMk/>
            <pc:sldMk cId="3775362778" sldId="339"/>
            <ac:grpSpMk id="71" creationId="{6C842F8B-F2D1-49EF-94AE-CAA0F4D5BEE4}"/>
          </ac:grpSpMkLst>
        </pc:grpChg>
        <pc:grpChg chg="add mod">
          <ac:chgData name="Nikolaj Godsk Vestergaard" userId="13f6e931-e8bb-4f58-9241-2f10614c3355" providerId="ADAL" clId="{E4806A0B-DC8E-4AB6-B884-FF8A33E1EF07}" dt="2022-12-02T08:51:24.178" v="11091"/>
          <ac:grpSpMkLst>
            <pc:docMk/>
            <pc:sldMk cId="3775362778" sldId="339"/>
            <ac:grpSpMk id="74" creationId="{73E8A4A9-C61E-45E2-AF68-692206B857A7}"/>
          </ac:grpSpMkLst>
        </pc:grpChg>
        <pc:grpChg chg="add mod">
          <ac:chgData name="Nikolaj Godsk Vestergaard" userId="13f6e931-e8bb-4f58-9241-2f10614c3355" providerId="ADAL" clId="{E4806A0B-DC8E-4AB6-B884-FF8A33E1EF07}" dt="2022-12-02T08:51:24.178" v="11091"/>
          <ac:grpSpMkLst>
            <pc:docMk/>
            <pc:sldMk cId="3775362778" sldId="339"/>
            <ac:grpSpMk id="77" creationId="{38256CDB-3BF9-4D9E-8958-1702ADBC15C7}"/>
          </ac:grpSpMkLst>
        </pc:grpChg>
        <pc:grpChg chg="add mod">
          <ac:chgData name="Nikolaj Godsk Vestergaard" userId="13f6e931-e8bb-4f58-9241-2f10614c3355" providerId="ADAL" clId="{E4806A0B-DC8E-4AB6-B884-FF8A33E1EF07}" dt="2022-12-02T08:51:24.178" v="11091"/>
          <ac:grpSpMkLst>
            <pc:docMk/>
            <pc:sldMk cId="3775362778" sldId="339"/>
            <ac:grpSpMk id="84" creationId="{524B5000-53EF-4C3C-98B9-CDB9F84B2914}"/>
          </ac:grpSpMkLst>
        </pc:grpChg>
        <pc:grpChg chg="add mod">
          <ac:chgData name="Nikolaj Godsk Vestergaard" userId="13f6e931-e8bb-4f58-9241-2f10614c3355" providerId="ADAL" clId="{E4806A0B-DC8E-4AB6-B884-FF8A33E1EF07}" dt="2022-12-02T08:51:24.178" v="11091"/>
          <ac:grpSpMkLst>
            <pc:docMk/>
            <pc:sldMk cId="3775362778" sldId="339"/>
            <ac:grpSpMk id="87" creationId="{3E144F58-4EDE-4AD0-9981-CC4DB98991E9}"/>
          </ac:grpSpMkLst>
        </pc:grpChg>
        <pc:grpChg chg="add del">
          <ac:chgData name="Nikolaj Godsk Vestergaard" userId="13f6e931-e8bb-4f58-9241-2f10614c3355" providerId="ADAL" clId="{E4806A0B-DC8E-4AB6-B884-FF8A33E1EF07}" dt="2022-12-02T08:51:11.517" v="11088" actId="478"/>
          <ac:grpSpMkLst>
            <pc:docMk/>
            <pc:sldMk cId="3775362778" sldId="339"/>
            <ac:grpSpMk id="94" creationId="{1F009119-3C5A-4A63-94C0-F9F14DAFF9DD}"/>
          </ac:grpSpMkLst>
        </pc:grpChg>
        <pc:grpChg chg="add mod">
          <ac:chgData name="Nikolaj Godsk Vestergaard" userId="13f6e931-e8bb-4f58-9241-2f10614c3355" providerId="ADAL" clId="{E4806A0B-DC8E-4AB6-B884-FF8A33E1EF07}" dt="2022-12-02T08:51:24.178" v="11091"/>
          <ac:grpSpMkLst>
            <pc:docMk/>
            <pc:sldMk cId="3775362778" sldId="339"/>
            <ac:grpSpMk id="95" creationId="{70340D72-6B99-4AB1-85A9-613992AF7A26}"/>
          </ac:grpSpMkLst>
        </pc:grpChg>
        <pc:grpChg chg="del mod">
          <ac:chgData name="Nikolaj Godsk Vestergaard" userId="13f6e931-e8bb-4f58-9241-2f10614c3355" providerId="ADAL" clId="{E4806A0B-DC8E-4AB6-B884-FF8A33E1EF07}" dt="2022-12-02T08:51:11.517" v="11088" actId="478"/>
          <ac:grpSpMkLst>
            <pc:docMk/>
            <pc:sldMk cId="3775362778" sldId="339"/>
            <ac:grpSpMk id="96" creationId="{ED19D752-8C44-4F34-8FD4-B08E5996CE96}"/>
          </ac:grpSpMkLst>
        </pc:grpChg>
        <pc:grpChg chg="del">
          <ac:chgData name="Nikolaj Godsk Vestergaard" userId="13f6e931-e8bb-4f58-9241-2f10614c3355" providerId="ADAL" clId="{E4806A0B-DC8E-4AB6-B884-FF8A33E1EF07}" dt="2022-12-02T08:51:11.517" v="11088" actId="478"/>
          <ac:grpSpMkLst>
            <pc:docMk/>
            <pc:sldMk cId="3775362778" sldId="339"/>
            <ac:grpSpMk id="99" creationId="{23B86DBF-3F82-4008-8ED2-C4F0A4925F9D}"/>
          </ac:grpSpMkLst>
        </pc:grpChg>
        <pc:grpChg chg="del">
          <ac:chgData name="Nikolaj Godsk Vestergaard" userId="13f6e931-e8bb-4f58-9241-2f10614c3355" providerId="ADAL" clId="{E4806A0B-DC8E-4AB6-B884-FF8A33E1EF07}" dt="2022-12-02T08:51:11.517" v="11088" actId="478"/>
          <ac:grpSpMkLst>
            <pc:docMk/>
            <pc:sldMk cId="3775362778" sldId="339"/>
            <ac:grpSpMk id="102" creationId="{21881C62-961A-4A9A-AAE3-73189C64CC82}"/>
          </ac:grpSpMkLst>
        </pc:grpChg>
        <pc:grpChg chg="del">
          <ac:chgData name="Nikolaj Godsk Vestergaard" userId="13f6e931-e8bb-4f58-9241-2f10614c3355" providerId="ADAL" clId="{E4806A0B-DC8E-4AB6-B884-FF8A33E1EF07}" dt="2022-12-02T08:51:11.517" v="11088" actId="478"/>
          <ac:grpSpMkLst>
            <pc:docMk/>
            <pc:sldMk cId="3775362778" sldId="339"/>
            <ac:grpSpMk id="105" creationId="{79E81BFD-DC38-466C-B604-CD21DC9A8154}"/>
          </ac:grpSpMkLst>
        </pc:grpChg>
        <pc:grpChg chg="del">
          <ac:chgData name="Nikolaj Godsk Vestergaard" userId="13f6e931-e8bb-4f58-9241-2f10614c3355" providerId="ADAL" clId="{E4806A0B-DC8E-4AB6-B884-FF8A33E1EF07}" dt="2022-12-02T08:51:11.517" v="11088" actId="478"/>
          <ac:grpSpMkLst>
            <pc:docMk/>
            <pc:sldMk cId="3775362778" sldId="339"/>
            <ac:grpSpMk id="108" creationId="{AD74393E-CAD2-44FA-B4A8-13ABAFD82BD7}"/>
          </ac:grpSpMkLst>
        </pc:grpChg>
        <pc:grpChg chg="del">
          <ac:chgData name="Nikolaj Godsk Vestergaard" userId="13f6e931-e8bb-4f58-9241-2f10614c3355" providerId="ADAL" clId="{E4806A0B-DC8E-4AB6-B884-FF8A33E1EF07}" dt="2022-12-02T08:51:11.517" v="11088" actId="478"/>
          <ac:grpSpMkLst>
            <pc:docMk/>
            <pc:sldMk cId="3775362778" sldId="339"/>
            <ac:grpSpMk id="111" creationId="{EC52DF8E-5DB7-4238-99AB-B43296204167}"/>
          </ac:grpSpMkLst>
        </pc:grpChg>
        <pc:grpChg chg="del">
          <ac:chgData name="Nikolaj Godsk Vestergaard" userId="13f6e931-e8bb-4f58-9241-2f10614c3355" providerId="ADAL" clId="{E4806A0B-DC8E-4AB6-B884-FF8A33E1EF07}" dt="2022-12-02T08:51:11.517" v="11088" actId="478"/>
          <ac:grpSpMkLst>
            <pc:docMk/>
            <pc:sldMk cId="3775362778" sldId="339"/>
            <ac:grpSpMk id="114" creationId="{23DBDD4F-E497-4FFD-9DDD-865BE5ABD3D7}"/>
          </ac:grpSpMkLst>
        </pc:grpChg>
        <pc:grpChg chg="del">
          <ac:chgData name="Nikolaj Godsk Vestergaard" userId="13f6e931-e8bb-4f58-9241-2f10614c3355" providerId="ADAL" clId="{E4806A0B-DC8E-4AB6-B884-FF8A33E1EF07}" dt="2022-12-02T08:51:11.517" v="11088" actId="478"/>
          <ac:grpSpMkLst>
            <pc:docMk/>
            <pc:sldMk cId="3775362778" sldId="339"/>
            <ac:grpSpMk id="117" creationId="{6874C2CE-D23C-4CF2-BC7A-4C430FBAE512}"/>
          </ac:grpSpMkLst>
        </pc:grpChg>
        <pc:graphicFrameChg chg="mod">
          <ac:chgData name="Nikolaj Godsk Vestergaard" userId="13f6e931-e8bb-4f58-9241-2f10614c3355" providerId="ADAL" clId="{E4806A0B-DC8E-4AB6-B884-FF8A33E1EF07}" dt="2022-11-28T14:26:58.390" v="5619"/>
          <ac:graphicFrameMkLst>
            <pc:docMk/>
            <pc:sldMk cId="3775362778" sldId="339"/>
            <ac:graphicFrameMk id="6" creationId="{2CA615AF-F9B8-4523-BF47-85C929EE8B61}"/>
          </ac:graphicFrameMkLst>
        </pc:graphicFrameChg>
      </pc:sldChg>
      <pc:sldChg chg="addSp delSp modSp add mod">
        <pc:chgData name="Nikolaj Godsk Vestergaard" userId="13f6e931-e8bb-4f58-9241-2f10614c3355" providerId="ADAL" clId="{E4806A0B-DC8E-4AB6-B884-FF8A33E1EF07}" dt="2022-12-02T08:52:58.796" v="11115" actId="207"/>
        <pc:sldMkLst>
          <pc:docMk/>
          <pc:sldMk cId="4013160971" sldId="340"/>
        </pc:sldMkLst>
        <pc:spChg chg="mod">
          <ac:chgData name="Nikolaj Godsk Vestergaard" userId="13f6e931-e8bb-4f58-9241-2f10614c3355" providerId="ADAL" clId="{E4806A0B-DC8E-4AB6-B884-FF8A33E1EF07}" dt="2022-11-28T14:27:18.292" v="5656" actId="948"/>
          <ac:spMkLst>
            <pc:docMk/>
            <pc:sldMk cId="4013160971" sldId="340"/>
            <ac:spMk id="2" creationId="{0F8BF24F-A2E6-4CF6-8D40-59F7B68CAF25}"/>
          </ac:spMkLst>
        </pc:spChg>
        <pc:spChg chg="add del mod modVis">
          <ac:chgData name="Nikolaj Godsk Vestergaard" userId="13f6e931-e8bb-4f58-9241-2f10614c3355" providerId="ADAL" clId="{E4806A0B-DC8E-4AB6-B884-FF8A33E1EF07}" dt="2022-11-28T14:27:18.334" v="5696"/>
          <ac:spMkLst>
            <pc:docMk/>
            <pc:sldMk cId="4013160971" sldId="340"/>
            <ac:spMk id="3" creationId="{1C9A81C7-4935-4FE8-A72B-E19028959664}"/>
          </ac:spMkLst>
        </pc:spChg>
        <pc:spChg chg="add 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40" creationId="{70BA9DAC-6772-4AF9-B414-C40244B3F93E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42" creationId="{19B4345F-7FA8-45C6-9DF2-0BCCC2F312D2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43" creationId="{11340629-C575-4819-B002-77570DBCF121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44" creationId="{3991C1B5-B916-42F9-9906-54EC93FDEFA7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45" creationId="{9295C0B3-E06C-441B-975C-6A3137B774BA}"/>
          </ac:spMkLst>
        </pc:spChg>
        <pc:spChg chg="mod">
          <ac:chgData name="Nikolaj Godsk Vestergaard" userId="13f6e931-e8bb-4f58-9241-2f10614c3355" providerId="ADAL" clId="{E4806A0B-DC8E-4AB6-B884-FF8A33E1EF07}" dt="2022-12-02T08:52:55.144" v="11114" actId="207"/>
          <ac:spMkLst>
            <pc:docMk/>
            <pc:sldMk cId="4013160971" sldId="340"/>
            <ac:spMk id="46" creationId="{D0751A4F-F766-4129-B4B5-924261025D39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47" creationId="{68365AF2-9974-4DEE-9D45-14EE53A23D53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48" creationId="{5EF2B308-6E9E-4BFF-A878-DE33BD653767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49" creationId="{7E50511A-E0BE-4A8A-87D0-F80DCF57653E}"/>
          </ac:spMkLst>
        </pc:spChg>
        <pc:spChg chg="mod">
          <ac:chgData name="Nikolaj Godsk Vestergaard" userId="13f6e931-e8bb-4f58-9241-2f10614c3355" providerId="ADAL" clId="{E4806A0B-DC8E-4AB6-B884-FF8A33E1EF07}" dt="2022-12-02T08:52:42.302" v="11112" actId="207"/>
          <ac:spMkLst>
            <pc:docMk/>
            <pc:sldMk cId="4013160971" sldId="340"/>
            <ac:spMk id="50" creationId="{5C24A265-DFCD-456F-BF79-5FE5818D38DD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51" creationId="{4B3283EC-4893-442B-8BF6-436FA2AAF948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53" creationId="{734313B2-DA83-47ED-827C-38F2246E5966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54" creationId="{29494888-69F5-483B-8191-CE5642BCD503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56" creationId="{85EFEA9F-05A5-4A98-AF2F-0F5C61ABB51D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57" creationId="{24F2654E-B009-46A2-8EBE-0F404B9A1242}"/>
          </ac:spMkLst>
        </pc:spChg>
        <pc:spChg chg="mod">
          <ac:chgData name="Nikolaj Godsk Vestergaard" userId="13f6e931-e8bb-4f58-9241-2f10614c3355" providerId="ADAL" clId="{E4806A0B-DC8E-4AB6-B884-FF8A33E1EF07}" dt="2022-12-02T08:52:35.550" v="11111" actId="207"/>
          <ac:spMkLst>
            <pc:docMk/>
            <pc:sldMk cId="4013160971" sldId="340"/>
            <ac:spMk id="59" creationId="{03B08687-3FA7-4F8D-9A06-0EEAA3E7D473}"/>
          </ac:spMkLst>
        </pc:spChg>
        <pc:spChg chg="mod">
          <ac:chgData name="Nikolaj Godsk Vestergaard" userId="13f6e931-e8bb-4f58-9241-2f10614c3355" providerId="ADAL" clId="{E4806A0B-DC8E-4AB6-B884-FF8A33E1EF07}" dt="2022-12-02T08:52:33.021" v="11110" actId="207"/>
          <ac:spMkLst>
            <pc:docMk/>
            <pc:sldMk cId="4013160971" sldId="340"/>
            <ac:spMk id="60" creationId="{157E78D4-3508-4B5F-B1FC-D634E5DB9B6B}"/>
          </ac:spMkLst>
        </pc:spChg>
        <pc:spChg chg="mod">
          <ac:chgData name="Nikolaj Godsk Vestergaard" userId="13f6e931-e8bb-4f58-9241-2f10614c3355" providerId="ADAL" clId="{E4806A0B-DC8E-4AB6-B884-FF8A33E1EF07}" dt="2022-12-02T08:52:58.796" v="11115" actId="207"/>
          <ac:spMkLst>
            <pc:docMk/>
            <pc:sldMk cId="4013160971" sldId="340"/>
            <ac:spMk id="64" creationId="{AA7FE6A0-8E48-4471-A7CE-81EED11B6DE2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65" creationId="{156E9242-6F83-477E-A114-5CFC69C801C9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67" creationId="{FF3B8B4F-7AFB-4669-BD6C-FE3037A3C178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68" creationId="{3F3F5AA1-5739-4299-83FD-934C5D1AB248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70" creationId="{D6CE1D99-C6D8-49EC-9220-F5CAA6C7A473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71" creationId="{D1AD69B1-1BEA-4223-8712-32B8F43134B5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73" creationId="{3E59CCE8-EC6E-4F77-9F21-638A0DE7B05A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74" creationId="{3763BF94-1CB7-418A-9F88-61FE844584B1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76" creationId="{18831198-FF52-403F-A600-53A26ADC03C2}"/>
          </ac:spMkLst>
        </pc:spChg>
        <pc:spChg chg="mod">
          <ac:chgData name="Nikolaj Godsk Vestergaard" userId="13f6e931-e8bb-4f58-9241-2f10614c3355" providerId="ADAL" clId="{E4806A0B-DC8E-4AB6-B884-FF8A33E1EF07}" dt="2022-12-02T08:51:38.103" v="11095"/>
          <ac:spMkLst>
            <pc:docMk/>
            <pc:sldMk cId="4013160971" sldId="340"/>
            <ac:spMk id="77" creationId="{DF0B3B0B-6D99-493D-B71C-DB7AE9FDF491}"/>
          </ac:spMkLst>
        </pc:spChg>
        <pc:spChg chg="mod">
          <ac:chgData name="Nikolaj Godsk Vestergaard" userId="13f6e931-e8bb-4f58-9241-2f10614c3355" providerId="ADAL" clId="{E4806A0B-DC8E-4AB6-B884-FF8A33E1EF07}" dt="2022-11-28T15:34:27.826" v="8285" actId="207"/>
          <ac:spMkLst>
            <pc:docMk/>
            <pc:sldMk cId="4013160971" sldId="340"/>
            <ac:spMk id="82" creationId="{16ED81DE-D146-4774-B6BD-0C906B7369B6}"/>
          </ac:spMkLst>
        </pc:spChg>
        <pc:spChg chg="mod">
          <ac:chgData name="Nikolaj Godsk Vestergaard" userId="13f6e931-e8bb-4f58-9241-2f10614c3355" providerId="ADAL" clId="{E4806A0B-DC8E-4AB6-B884-FF8A33E1EF07}" dt="2022-11-28T14:27:36.828" v="5703" actId="207"/>
          <ac:spMkLst>
            <pc:docMk/>
            <pc:sldMk cId="4013160971" sldId="340"/>
            <ac:spMk id="92" creationId="{D815FDFC-BAAF-487D-9920-F395620678C7}"/>
          </ac:spMkLst>
        </pc:spChg>
        <pc:spChg chg="mod">
          <ac:chgData name="Nikolaj Godsk Vestergaard" userId="13f6e931-e8bb-4f58-9241-2f10614c3355" providerId="ADAL" clId="{E4806A0B-DC8E-4AB6-B884-FF8A33E1EF07}" dt="2022-11-28T14:27:24.585" v="5701" actId="207"/>
          <ac:spMkLst>
            <pc:docMk/>
            <pc:sldMk cId="4013160971" sldId="340"/>
            <ac:spMk id="97" creationId="{D7740C44-6C64-468A-B69B-7FF23D8CE403}"/>
          </ac:spMkLst>
        </pc:spChg>
        <pc:spChg chg="mod">
          <ac:chgData name="Nikolaj Godsk Vestergaard" userId="13f6e931-e8bb-4f58-9241-2f10614c3355" providerId="ADAL" clId="{E4806A0B-DC8E-4AB6-B884-FF8A33E1EF07}" dt="2022-11-28T14:27:22.778" v="5700" actId="207"/>
          <ac:spMkLst>
            <pc:docMk/>
            <pc:sldMk cId="4013160971" sldId="340"/>
            <ac:spMk id="98" creationId="{FE4F233C-0D43-433B-A7DF-089AC898059C}"/>
          </ac:spMkLst>
        </pc:spChg>
        <pc:spChg chg="mod">
          <ac:chgData name="Nikolaj Godsk Vestergaard" userId="13f6e931-e8bb-4f58-9241-2f10614c3355" providerId="ADAL" clId="{E4806A0B-DC8E-4AB6-B884-FF8A33E1EF07}" dt="2022-11-28T14:27:28.286" v="5702" actId="207"/>
          <ac:spMkLst>
            <pc:docMk/>
            <pc:sldMk cId="4013160971" sldId="340"/>
            <ac:spMk id="106" creationId="{BCE3CAC2-014D-401E-AD69-6454B57B91F1}"/>
          </ac:spMkLst>
        </pc:spChg>
        <pc:grpChg chg="add mod">
          <ac:chgData name="Nikolaj Godsk Vestergaard" userId="13f6e931-e8bb-4f58-9241-2f10614c3355" providerId="ADAL" clId="{E4806A0B-DC8E-4AB6-B884-FF8A33E1EF07}" dt="2022-12-02T08:51:38.103" v="11095"/>
          <ac:grpSpMkLst>
            <pc:docMk/>
            <pc:sldMk cId="4013160971" sldId="340"/>
            <ac:grpSpMk id="41" creationId="{67868CC3-9A61-4496-A299-DA6A14169341}"/>
          </ac:grpSpMkLst>
        </pc:grpChg>
        <pc:grpChg chg="add mod">
          <ac:chgData name="Nikolaj Godsk Vestergaard" userId="13f6e931-e8bb-4f58-9241-2f10614c3355" providerId="ADAL" clId="{E4806A0B-DC8E-4AB6-B884-FF8A33E1EF07}" dt="2022-12-02T08:51:38.103" v="11095"/>
          <ac:grpSpMkLst>
            <pc:docMk/>
            <pc:sldMk cId="4013160971" sldId="340"/>
            <ac:grpSpMk id="52" creationId="{A10ADA8D-116E-47EB-BCDF-6188E1931BDD}"/>
          </ac:grpSpMkLst>
        </pc:grpChg>
        <pc:grpChg chg="add mod">
          <ac:chgData name="Nikolaj Godsk Vestergaard" userId="13f6e931-e8bb-4f58-9241-2f10614c3355" providerId="ADAL" clId="{E4806A0B-DC8E-4AB6-B884-FF8A33E1EF07}" dt="2022-12-02T08:51:38.103" v="11095"/>
          <ac:grpSpMkLst>
            <pc:docMk/>
            <pc:sldMk cId="4013160971" sldId="340"/>
            <ac:grpSpMk id="55" creationId="{D73C7688-E13C-438F-A2A9-DEBEF8B153C5}"/>
          </ac:grpSpMkLst>
        </pc:grpChg>
        <pc:grpChg chg="add mod">
          <ac:chgData name="Nikolaj Godsk Vestergaard" userId="13f6e931-e8bb-4f58-9241-2f10614c3355" providerId="ADAL" clId="{E4806A0B-DC8E-4AB6-B884-FF8A33E1EF07}" dt="2022-12-02T08:52:33.021" v="11110" actId="207"/>
          <ac:grpSpMkLst>
            <pc:docMk/>
            <pc:sldMk cId="4013160971" sldId="340"/>
            <ac:grpSpMk id="58" creationId="{2A432EF7-DAE4-48FB-9E29-C45494D9180B}"/>
          </ac:grpSpMkLst>
        </pc:grpChg>
        <pc:grpChg chg="add mod">
          <ac:chgData name="Nikolaj Godsk Vestergaard" userId="13f6e931-e8bb-4f58-9241-2f10614c3355" providerId="ADAL" clId="{E4806A0B-DC8E-4AB6-B884-FF8A33E1EF07}" dt="2022-12-02T08:51:38.103" v="11095"/>
          <ac:grpSpMkLst>
            <pc:docMk/>
            <pc:sldMk cId="4013160971" sldId="340"/>
            <ac:grpSpMk id="63" creationId="{CE805BB3-16F5-48C6-954A-83E7E695A7D9}"/>
          </ac:grpSpMkLst>
        </pc:grpChg>
        <pc:grpChg chg="add mod">
          <ac:chgData name="Nikolaj Godsk Vestergaard" userId="13f6e931-e8bb-4f58-9241-2f10614c3355" providerId="ADAL" clId="{E4806A0B-DC8E-4AB6-B884-FF8A33E1EF07}" dt="2022-12-02T08:51:38.103" v="11095"/>
          <ac:grpSpMkLst>
            <pc:docMk/>
            <pc:sldMk cId="4013160971" sldId="340"/>
            <ac:grpSpMk id="66" creationId="{204DF52A-ABA0-4153-A46D-77C71AC1B293}"/>
          </ac:grpSpMkLst>
        </pc:grpChg>
        <pc:grpChg chg="add mod">
          <ac:chgData name="Nikolaj Godsk Vestergaard" userId="13f6e931-e8bb-4f58-9241-2f10614c3355" providerId="ADAL" clId="{E4806A0B-DC8E-4AB6-B884-FF8A33E1EF07}" dt="2022-12-02T08:51:38.103" v="11095"/>
          <ac:grpSpMkLst>
            <pc:docMk/>
            <pc:sldMk cId="4013160971" sldId="340"/>
            <ac:grpSpMk id="69" creationId="{F34D0E9F-B844-4A17-86EA-44EE14CAB192}"/>
          </ac:grpSpMkLst>
        </pc:grpChg>
        <pc:grpChg chg="add mod">
          <ac:chgData name="Nikolaj Godsk Vestergaard" userId="13f6e931-e8bb-4f58-9241-2f10614c3355" providerId="ADAL" clId="{E4806A0B-DC8E-4AB6-B884-FF8A33E1EF07}" dt="2022-12-02T08:51:38.103" v="11095"/>
          <ac:grpSpMkLst>
            <pc:docMk/>
            <pc:sldMk cId="4013160971" sldId="340"/>
            <ac:grpSpMk id="72" creationId="{E1DD7995-5241-411F-96FC-532A794525B8}"/>
          </ac:grpSpMkLst>
        </pc:grpChg>
        <pc:grpChg chg="add mod">
          <ac:chgData name="Nikolaj Godsk Vestergaard" userId="13f6e931-e8bb-4f58-9241-2f10614c3355" providerId="ADAL" clId="{E4806A0B-DC8E-4AB6-B884-FF8A33E1EF07}" dt="2022-12-02T08:51:38.103" v="11095"/>
          <ac:grpSpMkLst>
            <pc:docMk/>
            <pc:sldMk cId="4013160971" sldId="340"/>
            <ac:grpSpMk id="75" creationId="{6B78C42B-3EDE-406B-A205-D08E0D1021E0}"/>
          </ac:grpSpMkLst>
        </pc:grpChg>
        <pc:grpChg chg="del">
          <ac:chgData name="Nikolaj Godsk Vestergaard" userId="13f6e931-e8bb-4f58-9241-2f10614c3355" providerId="ADAL" clId="{E4806A0B-DC8E-4AB6-B884-FF8A33E1EF07}" dt="2022-12-02T08:51:37.711" v="11094" actId="478"/>
          <ac:grpSpMkLst>
            <pc:docMk/>
            <pc:sldMk cId="4013160971" sldId="340"/>
            <ac:grpSpMk id="94" creationId="{1F009119-3C5A-4A63-94C0-F9F14DAFF9DD}"/>
          </ac:grpSpMkLst>
        </pc:grpChg>
        <pc:grpChg chg="add del mod">
          <ac:chgData name="Nikolaj Godsk Vestergaard" userId="13f6e931-e8bb-4f58-9241-2f10614c3355" providerId="ADAL" clId="{E4806A0B-DC8E-4AB6-B884-FF8A33E1EF07}" dt="2022-12-02T08:51:37.711" v="11094" actId="478"/>
          <ac:grpSpMkLst>
            <pc:docMk/>
            <pc:sldMk cId="4013160971" sldId="340"/>
            <ac:grpSpMk id="96" creationId="{ED19D752-8C44-4F34-8FD4-B08E5996CE96}"/>
          </ac:grpSpMkLst>
        </pc:grpChg>
        <pc:grpChg chg="add del">
          <ac:chgData name="Nikolaj Godsk Vestergaard" userId="13f6e931-e8bb-4f58-9241-2f10614c3355" providerId="ADAL" clId="{E4806A0B-DC8E-4AB6-B884-FF8A33E1EF07}" dt="2022-12-02T08:51:37.711" v="11094" actId="478"/>
          <ac:grpSpMkLst>
            <pc:docMk/>
            <pc:sldMk cId="4013160971" sldId="340"/>
            <ac:grpSpMk id="99" creationId="{23B86DBF-3F82-4008-8ED2-C4F0A4925F9D}"/>
          </ac:grpSpMkLst>
        </pc:grpChg>
        <pc:grpChg chg="add del">
          <ac:chgData name="Nikolaj Godsk Vestergaard" userId="13f6e931-e8bb-4f58-9241-2f10614c3355" providerId="ADAL" clId="{E4806A0B-DC8E-4AB6-B884-FF8A33E1EF07}" dt="2022-12-02T08:51:37.711" v="11094" actId="478"/>
          <ac:grpSpMkLst>
            <pc:docMk/>
            <pc:sldMk cId="4013160971" sldId="340"/>
            <ac:grpSpMk id="102" creationId="{21881C62-961A-4A9A-AAE3-73189C64CC82}"/>
          </ac:grpSpMkLst>
        </pc:grpChg>
        <pc:grpChg chg="add del">
          <ac:chgData name="Nikolaj Godsk Vestergaard" userId="13f6e931-e8bb-4f58-9241-2f10614c3355" providerId="ADAL" clId="{E4806A0B-DC8E-4AB6-B884-FF8A33E1EF07}" dt="2022-12-02T08:51:37.711" v="11094" actId="478"/>
          <ac:grpSpMkLst>
            <pc:docMk/>
            <pc:sldMk cId="4013160971" sldId="340"/>
            <ac:grpSpMk id="105" creationId="{79E81BFD-DC38-466C-B604-CD21DC9A8154}"/>
          </ac:grpSpMkLst>
        </pc:grpChg>
        <pc:grpChg chg="add del">
          <ac:chgData name="Nikolaj Godsk Vestergaard" userId="13f6e931-e8bb-4f58-9241-2f10614c3355" providerId="ADAL" clId="{E4806A0B-DC8E-4AB6-B884-FF8A33E1EF07}" dt="2022-12-02T08:51:37.711" v="11094" actId="478"/>
          <ac:grpSpMkLst>
            <pc:docMk/>
            <pc:sldMk cId="4013160971" sldId="340"/>
            <ac:grpSpMk id="108" creationId="{AD74393E-CAD2-44FA-B4A8-13ABAFD82BD7}"/>
          </ac:grpSpMkLst>
        </pc:grpChg>
        <pc:grpChg chg="add del">
          <ac:chgData name="Nikolaj Godsk Vestergaard" userId="13f6e931-e8bb-4f58-9241-2f10614c3355" providerId="ADAL" clId="{E4806A0B-DC8E-4AB6-B884-FF8A33E1EF07}" dt="2022-12-02T08:51:37.711" v="11094" actId="478"/>
          <ac:grpSpMkLst>
            <pc:docMk/>
            <pc:sldMk cId="4013160971" sldId="340"/>
            <ac:grpSpMk id="111" creationId="{EC52DF8E-5DB7-4238-99AB-B43296204167}"/>
          </ac:grpSpMkLst>
        </pc:grpChg>
        <pc:grpChg chg="add del">
          <ac:chgData name="Nikolaj Godsk Vestergaard" userId="13f6e931-e8bb-4f58-9241-2f10614c3355" providerId="ADAL" clId="{E4806A0B-DC8E-4AB6-B884-FF8A33E1EF07}" dt="2022-12-02T08:51:37.711" v="11094" actId="478"/>
          <ac:grpSpMkLst>
            <pc:docMk/>
            <pc:sldMk cId="4013160971" sldId="340"/>
            <ac:grpSpMk id="114" creationId="{23DBDD4F-E497-4FFD-9DDD-865BE5ABD3D7}"/>
          </ac:grpSpMkLst>
        </pc:grpChg>
        <pc:grpChg chg="add del">
          <ac:chgData name="Nikolaj Godsk Vestergaard" userId="13f6e931-e8bb-4f58-9241-2f10614c3355" providerId="ADAL" clId="{E4806A0B-DC8E-4AB6-B884-FF8A33E1EF07}" dt="2022-12-02T08:51:37.711" v="11094" actId="478"/>
          <ac:grpSpMkLst>
            <pc:docMk/>
            <pc:sldMk cId="4013160971" sldId="340"/>
            <ac:grpSpMk id="117" creationId="{6874C2CE-D23C-4CF2-BC7A-4C430FBAE512}"/>
          </ac:grpSpMkLst>
        </pc:grpChg>
        <pc:graphicFrameChg chg="mod">
          <ac:chgData name="Nikolaj Godsk Vestergaard" userId="13f6e931-e8bb-4f58-9241-2f10614c3355" providerId="ADAL" clId="{E4806A0B-DC8E-4AB6-B884-FF8A33E1EF07}" dt="2022-11-28T14:27:18.336" v="5698"/>
          <ac:graphicFrameMkLst>
            <pc:docMk/>
            <pc:sldMk cId="4013160971" sldId="340"/>
            <ac:graphicFrameMk id="6" creationId="{2CA615AF-F9B8-4523-BF47-85C929EE8B61}"/>
          </ac:graphicFrameMkLst>
        </pc:graphicFrameChg>
      </pc:sldChg>
      <pc:sldChg chg="addSp delSp modSp add mod">
        <pc:chgData name="Nikolaj Godsk Vestergaard" userId="13f6e931-e8bb-4f58-9241-2f10614c3355" providerId="ADAL" clId="{E4806A0B-DC8E-4AB6-B884-FF8A33E1EF07}" dt="2022-11-28T15:29:13.567" v="8095" actId="1076"/>
        <pc:sldMkLst>
          <pc:docMk/>
          <pc:sldMk cId="2712194404" sldId="341"/>
        </pc:sldMkLst>
        <pc:spChg chg="mod">
          <ac:chgData name="Nikolaj Godsk Vestergaard" userId="13f6e931-e8bb-4f58-9241-2f10614c3355" providerId="ADAL" clId="{E4806A0B-DC8E-4AB6-B884-FF8A33E1EF07}" dt="2022-11-28T15:29:13.567" v="8095" actId="1076"/>
          <ac:spMkLst>
            <pc:docMk/>
            <pc:sldMk cId="2712194404" sldId="341"/>
            <ac:spMk id="17" creationId="{77DA3BC5-65CB-487C-9B74-FC34B7959C1F}"/>
          </ac:spMkLst>
        </pc:spChg>
        <pc:spChg chg="mod">
          <ac:chgData name="Nikolaj Godsk Vestergaard" userId="13f6e931-e8bb-4f58-9241-2f10614c3355" providerId="ADAL" clId="{E4806A0B-DC8E-4AB6-B884-FF8A33E1EF07}" dt="2022-11-28T15:29:13.567" v="8095" actId="1076"/>
          <ac:spMkLst>
            <pc:docMk/>
            <pc:sldMk cId="2712194404" sldId="341"/>
            <ac:spMk id="18" creationId="{524B3632-4EEA-4583-9E10-5261379CADDF}"/>
          </ac:spMkLst>
        </pc:spChg>
        <pc:spChg chg="mod">
          <ac:chgData name="Nikolaj Godsk Vestergaard" userId="13f6e931-e8bb-4f58-9241-2f10614c3355" providerId="ADAL" clId="{E4806A0B-DC8E-4AB6-B884-FF8A33E1EF07}" dt="2022-11-28T15:29:13.567" v="8095" actId="1076"/>
          <ac:spMkLst>
            <pc:docMk/>
            <pc:sldMk cId="2712194404" sldId="341"/>
            <ac:spMk id="19" creationId="{F168D4F1-7BDD-4B3E-B7FA-3566C44FE1C1}"/>
          </ac:spMkLst>
        </pc:spChg>
        <pc:spChg chg="mod">
          <ac:chgData name="Nikolaj Godsk Vestergaard" userId="13f6e931-e8bb-4f58-9241-2f10614c3355" providerId="ADAL" clId="{E4806A0B-DC8E-4AB6-B884-FF8A33E1EF07}" dt="2022-11-28T15:29:13.567" v="8095" actId="1076"/>
          <ac:spMkLst>
            <pc:docMk/>
            <pc:sldMk cId="2712194404" sldId="341"/>
            <ac:spMk id="20" creationId="{80B090C5-3F20-4A18-A744-62FD80CD662F}"/>
          </ac:spMkLst>
        </pc:spChg>
        <pc:spChg chg="mod">
          <ac:chgData name="Nikolaj Godsk Vestergaard" userId="13f6e931-e8bb-4f58-9241-2f10614c3355" providerId="ADAL" clId="{E4806A0B-DC8E-4AB6-B884-FF8A33E1EF07}" dt="2022-11-28T15:29:13.567" v="8095" actId="1076"/>
          <ac:spMkLst>
            <pc:docMk/>
            <pc:sldMk cId="2712194404" sldId="341"/>
            <ac:spMk id="21" creationId="{2898FA5D-AF34-45A9-96AE-D3BA782383F1}"/>
          </ac:spMkLst>
        </pc:spChg>
        <pc:spChg chg="mod">
          <ac:chgData name="Nikolaj Godsk Vestergaard" userId="13f6e931-e8bb-4f58-9241-2f10614c3355" providerId="ADAL" clId="{E4806A0B-DC8E-4AB6-B884-FF8A33E1EF07}" dt="2022-11-28T15:29:13.567" v="8095" actId="1076"/>
          <ac:spMkLst>
            <pc:docMk/>
            <pc:sldMk cId="2712194404" sldId="341"/>
            <ac:spMk id="22" creationId="{8951AA3C-5B32-4341-A2A3-E20C947EDBB0}"/>
          </ac:spMkLst>
        </pc:spChg>
        <pc:spChg chg="del">
          <ac:chgData name="Nikolaj Godsk Vestergaard" userId="13f6e931-e8bb-4f58-9241-2f10614c3355" providerId="ADAL" clId="{E4806A0B-DC8E-4AB6-B884-FF8A33E1EF07}" dt="2022-11-28T15:26:47.769" v="8064" actId="478"/>
          <ac:spMkLst>
            <pc:docMk/>
            <pc:sldMk cId="2712194404" sldId="341"/>
            <ac:spMk id="23" creationId="{DC5BA239-F355-465B-B045-727B918ECA6B}"/>
          </ac:spMkLst>
        </pc:spChg>
        <pc:spChg chg="add del mod">
          <ac:chgData name="Nikolaj Godsk Vestergaard" userId="13f6e931-e8bb-4f58-9241-2f10614c3355" providerId="ADAL" clId="{E4806A0B-DC8E-4AB6-B884-FF8A33E1EF07}" dt="2022-11-28T15:29:08.633" v="8094"/>
          <ac:spMkLst>
            <pc:docMk/>
            <pc:sldMk cId="2712194404" sldId="341"/>
            <ac:spMk id="24" creationId="{7E3F2932-ED9A-45B0-979E-D28D680C62F3}"/>
          </ac:spMkLst>
        </pc:spChg>
        <pc:spChg chg="add del mod">
          <ac:chgData name="Nikolaj Godsk Vestergaard" userId="13f6e931-e8bb-4f58-9241-2f10614c3355" providerId="ADAL" clId="{E4806A0B-DC8E-4AB6-B884-FF8A33E1EF07}" dt="2022-11-28T15:29:08.633" v="8094"/>
          <ac:spMkLst>
            <pc:docMk/>
            <pc:sldMk cId="2712194404" sldId="341"/>
            <ac:spMk id="25" creationId="{455F5CEE-2CCC-421F-A559-CFFDBF0061C1}"/>
          </ac:spMkLst>
        </pc:spChg>
        <pc:spChg chg="add mod">
          <ac:chgData name="Nikolaj Godsk Vestergaard" userId="13f6e931-e8bb-4f58-9241-2f10614c3355" providerId="ADAL" clId="{E4806A0B-DC8E-4AB6-B884-FF8A33E1EF07}" dt="2022-11-28T15:29:06.319" v="8090" actId="571"/>
          <ac:spMkLst>
            <pc:docMk/>
            <pc:sldMk cId="2712194404" sldId="341"/>
            <ac:spMk id="26" creationId="{D4844060-277E-4BFA-8A56-D542AC936D98}"/>
          </ac:spMkLst>
        </pc:spChg>
        <pc:spChg chg="add mod">
          <ac:chgData name="Nikolaj Godsk Vestergaard" userId="13f6e931-e8bb-4f58-9241-2f10614c3355" providerId="ADAL" clId="{E4806A0B-DC8E-4AB6-B884-FF8A33E1EF07}" dt="2022-11-28T15:29:06.319" v="8090" actId="571"/>
          <ac:spMkLst>
            <pc:docMk/>
            <pc:sldMk cId="2712194404" sldId="341"/>
            <ac:spMk id="27" creationId="{12063BE5-5D34-4CA9-8EAA-70E2C2810623}"/>
          </ac:spMkLst>
        </pc:spChg>
        <pc:spChg chg="add mod">
          <ac:chgData name="Nikolaj Godsk Vestergaard" userId="13f6e931-e8bb-4f58-9241-2f10614c3355" providerId="ADAL" clId="{E4806A0B-DC8E-4AB6-B884-FF8A33E1EF07}" dt="2022-11-28T15:29:06.105" v="8089" actId="571"/>
          <ac:spMkLst>
            <pc:docMk/>
            <pc:sldMk cId="2712194404" sldId="341"/>
            <ac:spMk id="28" creationId="{AF315131-1157-456B-B6F1-14AE88F7FDD6}"/>
          </ac:spMkLst>
        </pc:spChg>
        <pc:spChg chg="add mod">
          <ac:chgData name="Nikolaj Godsk Vestergaard" userId="13f6e931-e8bb-4f58-9241-2f10614c3355" providerId="ADAL" clId="{E4806A0B-DC8E-4AB6-B884-FF8A33E1EF07}" dt="2022-11-28T15:29:06.105" v="8089" actId="571"/>
          <ac:spMkLst>
            <pc:docMk/>
            <pc:sldMk cId="2712194404" sldId="341"/>
            <ac:spMk id="29" creationId="{43D9A8D3-2470-4E0A-B6C5-7E2562712DE9}"/>
          </ac:spMkLst>
        </pc:spChg>
        <pc:spChg chg="add mod">
          <ac:chgData name="Nikolaj Godsk Vestergaard" userId="13f6e931-e8bb-4f58-9241-2f10614c3355" providerId="ADAL" clId="{E4806A0B-DC8E-4AB6-B884-FF8A33E1EF07}" dt="2022-11-28T15:29:05.964" v="8088" actId="571"/>
          <ac:spMkLst>
            <pc:docMk/>
            <pc:sldMk cId="2712194404" sldId="341"/>
            <ac:spMk id="30" creationId="{70EB7D5A-9655-41B2-81FA-63E7A13630C4}"/>
          </ac:spMkLst>
        </pc:spChg>
        <pc:spChg chg="add mod">
          <ac:chgData name="Nikolaj Godsk Vestergaard" userId="13f6e931-e8bb-4f58-9241-2f10614c3355" providerId="ADAL" clId="{E4806A0B-DC8E-4AB6-B884-FF8A33E1EF07}" dt="2022-11-28T15:29:05.964" v="8088" actId="571"/>
          <ac:spMkLst>
            <pc:docMk/>
            <pc:sldMk cId="2712194404" sldId="341"/>
            <ac:spMk id="31" creationId="{45D684D1-236B-4035-AF29-8A257559CF82}"/>
          </ac:spMkLst>
        </pc:spChg>
        <pc:spChg chg="del">
          <ac:chgData name="Nikolaj Godsk Vestergaard" userId="13f6e931-e8bb-4f58-9241-2f10614c3355" providerId="ADAL" clId="{E4806A0B-DC8E-4AB6-B884-FF8A33E1EF07}" dt="2022-11-28T15:26:47.769" v="8064" actId="478"/>
          <ac:spMkLst>
            <pc:docMk/>
            <pc:sldMk cId="2712194404" sldId="341"/>
            <ac:spMk id="32" creationId="{6B597D88-B5A2-4C3F-8B3D-E682FCD8FD8F}"/>
          </ac:spMkLst>
        </pc:spChg>
        <pc:spChg chg="add mod">
          <ac:chgData name="Nikolaj Godsk Vestergaard" userId="13f6e931-e8bb-4f58-9241-2f10614c3355" providerId="ADAL" clId="{E4806A0B-DC8E-4AB6-B884-FF8A33E1EF07}" dt="2022-11-28T15:29:05.765" v="8087" actId="571"/>
          <ac:spMkLst>
            <pc:docMk/>
            <pc:sldMk cId="2712194404" sldId="341"/>
            <ac:spMk id="33" creationId="{DB242421-3D29-4411-A8E8-3FACCEE921A2}"/>
          </ac:spMkLst>
        </pc:spChg>
        <pc:spChg chg="add mod">
          <ac:chgData name="Nikolaj Godsk Vestergaard" userId="13f6e931-e8bb-4f58-9241-2f10614c3355" providerId="ADAL" clId="{E4806A0B-DC8E-4AB6-B884-FF8A33E1EF07}" dt="2022-11-28T15:29:05.765" v="8087" actId="571"/>
          <ac:spMkLst>
            <pc:docMk/>
            <pc:sldMk cId="2712194404" sldId="341"/>
            <ac:spMk id="34" creationId="{8B860C26-5DC5-4615-B52C-FB47CF17EBE6}"/>
          </ac:spMkLst>
        </pc:spChg>
        <pc:spChg chg="del">
          <ac:chgData name="Nikolaj Godsk Vestergaard" userId="13f6e931-e8bb-4f58-9241-2f10614c3355" providerId="ADAL" clId="{E4806A0B-DC8E-4AB6-B884-FF8A33E1EF07}" dt="2022-11-28T15:26:47.769" v="8064" actId="478"/>
          <ac:spMkLst>
            <pc:docMk/>
            <pc:sldMk cId="2712194404" sldId="341"/>
            <ac:spMk id="40" creationId="{4093BAFE-0CBD-48FF-95B4-C3F9E9037199}"/>
          </ac:spMkLst>
        </pc:spChg>
        <pc:spChg chg="del">
          <ac:chgData name="Nikolaj Godsk Vestergaard" userId="13f6e931-e8bb-4f58-9241-2f10614c3355" providerId="ADAL" clId="{E4806A0B-DC8E-4AB6-B884-FF8A33E1EF07}" dt="2022-11-28T15:26:47.769" v="8064" actId="478"/>
          <ac:spMkLst>
            <pc:docMk/>
            <pc:sldMk cId="2712194404" sldId="341"/>
            <ac:spMk id="41" creationId="{C4B13857-D48B-4C32-8AB1-7BD24B3D6FC0}"/>
          </ac:spMkLst>
        </pc:spChg>
        <pc:spChg chg="del">
          <ac:chgData name="Nikolaj Godsk Vestergaard" userId="13f6e931-e8bb-4f58-9241-2f10614c3355" providerId="ADAL" clId="{E4806A0B-DC8E-4AB6-B884-FF8A33E1EF07}" dt="2022-11-28T15:26:47.769" v="8064" actId="478"/>
          <ac:spMkLst>
            <pc:docMk/>
            <pc:sldMk cId="2712194404" sldId="341"/>
            <ac:spMk id="42" creationId="{F02E4B90-C164-4C64-ABC2-8EDD052EC413}"/>
          </ac:spMkLst>
        </pc:spChg>
        <pc:spChg chg="del">
          <ac:chgData name="Nikolaj Godsk Vestergaard" userId="13f6e931-e8bb-4f58-9241-2f10614c3355" providerId="ADAL" clId="{E4806A0B-DC8E-4AB6-B884-FF8A33E1EF07}" dt="2022-11-28T15:26:47.769" v="8064" actId="478"/>
          <ac:spMkLst>
            <pc:docMk/>
            <pc:sldMk cId="2712194404" sldId="341"/>
            <ac:spMk id="43" creationId="{2F91982E-5AFE-4B2A-BEF4-311048278B26}"/>
          </ac:spMkLst>
        </pc:spChg>
      </pc:sldChg>
      <pc:sldChg chg="addSp delSp modSp add mod delCm">
        <pc:chgData name="Nikolaj Godsk Vestergaard" userId="13f6e931-e8bb-4f58-9241-2f10614c3355" providerId="ADAL" clId="{E4806A0B-DC8E-4AB6-B884-FF8A33E1EF07}" dt="2022-12-05T08:32:48.663" v="16347"/>
        <pc:sldMkLst>
          <pc:docMk/>
          <pc:sldMk cId="747696551" sldId="342"/>
        </pc:sldMkLst>
        <pc:spChg chg="add mod">
          <ac:chgData name="Nikolaj Godsk Vestergaard" userId="13f6e931-e8bb-4f58-9241-2f10614c3355" providerId="ADAL" clId="{E4806A0B-DC8E-4AB6-B884-FF8A33E1EF07}" dt="2022-12-02T12:00:49.584" v="13660" actId="14100"/>
          <ac:spMkLst>
            <pc:docMk/>
            <pc:sldMk cId="747696551" sldId="342"/>
            <ac:spMk id="11" creationId="{31D55E05-D1B0-4DAF-888D-4C421B5D18B3}"/>
          </ac:spMkLst>
        </pc:spChg>
        <pc:spChg chg="add mod">
          <ac:chgData name="Nikolaj Godsk Vestergaard" userId="13f6e931-e8bb-4f58-9241-2f10614c3355" providerId="ADAL" clId="{E4806A0B-DC8E-4AB6-B884-FF8A33E1EF07}" dt="2022-12-02T12:00:40.993" v="13659" actId="1076"/>
          <ac:spMkLst>
            <pc:docMk/>
            <pc:sldMk cId="747696551" sldId="342"/>
            <ac:spMk id="12" creationId="{7B94231D-CBE8-4B8E-93CB-6D60C2E880B7}"/>
          </ac:spMkLst>
        </pc:spChg>
        <pc:spChg chg="add mod">
          <ac:chgData name="Nikolaj Godsk Vestergaard" userId="13f6e931-e8bb-4f58-9241-2f10614c3355" providerId="ADAL" clId="{E4806A0B-DC8E-4AB6-B884-FF8A33E1EF07}" dt="2022-12-02T12:00:49.584" v="13660" actId="14100"/>
          <ac:spMkLst>
            <pc:docMk/>
            <pc:sldMk cId="747696551" sldId="342"/>
            <ac:spMk id="13" creationId="{7FA0A595-15E3-420A-A5BE-B2FB8061CFF9}"/>
          </ac:spMkLst>
        </pc:spChg>
        <pc:spChg chg="add mod">
          <ac:chgData name="Nikolaj Godsk Vestergaard" userId="13f6e931-e8bb-4f58-9241-2f10614c3355" providerId="ADAL" clId="{E4806A0B-DC8E-4AB6-B884-FF8A33E1EF07}" dt="2022-12-05T08:32:18.949" v="16342" actId="21"/>
          <ac:spMkLst>
            <pc:docMk/>
            <pc:sldMk cId="747696551" sldId="342"/>
            <ac:spMk id="14" creationId="{AA289C19-893E-4001-8616-748E6E9722A2}"/>
          </ac:spMkLst>
        </pc:spChg>
        <pc:spChg chg="add mod">
          <ac:chgData name="Nikolaj Godsk Vestergaard" userId="13f6e931-e8bb-4f58-9241-2f10614c3355" providerId="ADAL" clId="{E4806A0B-DC8E-4AB6-B884-FF8A33E1EF07}" dt="2022-12-02T12:00:49.584" v="13660" actId="14100"/>
          <ac:spMkLst>
            <pc:docMk/>
            <pc:sldMk cId="747696551" sldId="342"/>
            <ac:spMk id="15" creationId="{37AF06E5-8BF4-46B4-B338-01C1B2B36001}"/>
          </ac:spMkLst>
        </pc:spChg>
        <pc:spChg chg="add mod">
          <ac:chgData name="Nikolaj Godsk Vestergaard" userId="13f6e931-e8bb-4f58-9241-2f10614c3355" providerId="ADAL" clId="{E4806A0B-DC8E-4AB6-B884-FF8A33E1EF07}" dt="2022-12-02T12:02:56.163" v="13700" actId="20577"/>
          <ac:spMkLst>
            <pc:docMk/>
            <pc:sldMk cId="747696551" sldId="342"/>
            <ac:spMk id="16" creationId="{6BD46986-0099-4D47-839C-4AC6262A2F89}"/>
          </ac:spMkLst>
        </pc:spChg>
        <pc:spChg chg="del">
          <ac:chgData name="Nikolaj Godsk Vestergaard" userId="13f6e931-e8bb-4f58-9241-2f10614c3355" providerId="ADAL" clId="{E4806A0B-DC8E-4AB6-B884-FF8A33E1EF07}" dt="2022-11-28T15:29:25.575" v="8097" actId="478"/>
          <ac:spMkLst>
            <pc:docMk/>
            <pc:sldMk cId="747696551" sldId="342"/>
            <ac:spMk id="17" creationId="{77DA3BC5-65CB-487C-9B74-FC34B7959C1F}"/>
          </ac:spMkLst>
        </pc:spChg>
        <pc:spChg chg="del">
          <ac:chgData name="Nikolaj Godsk Vestergaard" userId="13f6e931-e8bb-4f58-9241-2f10614c3355" providerId="ADAL" clId="{E4806A0B-DC8E-4AB6-B884-FF8A33E1EF07}" dt="2022-11-28T15:29:25.575" v="8097" actId="478"/>
          <ac:spMkLst>
            <pc:docMk/>
            <pc:sldMk cId="747696551" sldId="342"/>
            <ac:spMk id="18" creationId="{524B3632-4EEA-4583-9E10-5261379CADDF}"/>
          </ac:spMkLst>
        </pc:spChg>
        <pc:spChg chg="del">
          <ac:chgData name="Nikolaj Godsk Vestergaard" userId="13f6e931-e8bb-4f58-9241-2f10614c3355" providerId="ADAL" clId="{E4806A0B-DC8E-4AB6-B884-FF8A33E1EF07}" dt="2022-11-28T15:29:25.575" v="8097" actId="478"/>
          <ac:spMkLst>
            <pc:docMk/>
            <pc:sldMk cId="747696551" sldId="342"/>
            <ac:spMk id="19" creationId="{F168D4F1-7BDD-4B3E-B7FA-3566C44FE1C1}"/>
          </ac:spMkLst>
        </pc:spChg>
        <pc:spChg chg="del">
          <ac:chgData name="Nikolaj Godsk Vestergaard" userId="13f6e931-e8bb-4f58-9241-2f10614c3355" providerId="ADAL" clId="{E4806A0B-DC8E-4AB6-B884-FF8A33E1EF07}" dt="2022-11-28T15:29:25.575" v="8097" actId="478"/>
          <ac:spMkLst>
            <pc:docMk/>
            <pc:sldMk cId="747696551" sldId="342"/>
            <ac:spMk id="20" creationId="{80B090C5-3F20-4A18-A744-62FD80CD662F}"/>
          </ac:spMkLst>
        </pc:spChg>
        <pc:spChg chg="del">
          <ac:chgData name="Nikolaj Godsk Vestergaard" userId="13f6e931-e8bb-4f58-9241-2f10614c3355" providerId="ADAL" clId="{E4806A0B-DC8E-4AB6-B884-FF8A33E1EF07}" dt="2022-11-28T15:29:25.575" v="8097" actId="478"/>
          <ac:spMkLst>
            <pc:docMk/>
            <pc:sldMk cId="747696551" sldId="342"/>
            <ac:spMk id="21" creationId="{2898FA5D-AF34-45A9-96AE-D3BA782383F1}"/>
          </ac:spMkLst>
        </pc:spChg>
        <pc:spChg chg="del">
          <ac:chgData name="Nikolaj Godsk Vestergaard" userId="13f6e931-e8bb-4f58-9241-2f10614c3355" providerId="ADAL" clId="{E4806A0B-DC8E-4AB6-B884-FF8A33E1EF07}" dt="2022-11-28T15:29:25.575" v="8097" actId="478"/>
          <ac:spMkLst>
            <pc:docMk/>
            <pc:sldMk cId="747696551" sldId="342"/>
            <ac:spMk id="22" creationId="{8951AA3C-5B32-4341-A2A3-E20C947EDBB0}"/>
          </ac:spMkLst>
        </pc:spChg>
        <pc:spChg chg="add mod">
          <ac:chgData name="Nikolaj Godsk Vestergaard" userId="13f6e931-e8bb-4f58-9241-2f10614c3355" providerId="ADAL" clId="{E4806A0B-DC8E-4AB6-B884-FF8A33E1EF07}" dt="2022-12-02T12:00:36.679" v="13658" actId="14100"/>
          <ac:spMkLst>
            <pc:docMk/>
            <pc:sldMk cId="747696551" sldId="342"/>
            <ac:spMk id="23" creationId="{BD23F174-89C8-43A6-BBD7-8DD6BB7C4C9B}"/>
          </ac:spMkLst>
        </pc:spChg>
        <pc:spChg chg="add mod">
          <ac:chgData name="Nikolaj Godsk Vestergaard" userId="13f6e931-e8bb-4f58-9241-2f10614c3355" providerId="ADAL" clId="{E4806A0B-DC8E-4AB6-B884-FF8A33E1EF07}" dt="2022-12-05T08:32:21.266" v="16346" actId="20577"/>
          <ac:spMkLst>
            <pc:docMk/>
            <pc:sldMk cId="747696551" sldId="342"/>
            <ac:spMk id="24" creationId="{99726E8E-CC99-4E77-BA0D-B325A2C69C8A}"/>
          </ac:spMkLst>
        </pc:spChg>
        <pc:spChg chg="add mod">
          <ac:chgData name="Nikolaj Godsk Vestergaard" userId="13f6e931-e8bb-4f58-9241-2f10614c3355" providerId="ADAL" clId="{E4806A0B-DC8E-4AB6-B884-FF8A33E1EF07}" dt="2022-12-02T12:00:36.679" v="13658" actId="14100"/>
          <ac:spMkLst>
            <pc:docMk/>
            <pc:sldMk cId="747696551" sldId="342"/>
            <ac:spMk id="25" creationId="{7F3DF317-2861-4031-B146-5C62A4B551AE}"/>
          </ac:spMkLst>
        </pc:spChg>
        <pc:spChg chg="add mod">
          <ac:chgData name="Nikolaj Godsk Vestergaard" userId="13f6e931-e8bb-4f58-9241-2f10614c3355" providerId="ADAL" clId="{E4806A0B-DC8E-4AB6-B884-FF8A33E1EF07}" dt="2022-12-02T12:03:01.315" v="13711" actId="20577"/>
          <ac:spMkLst>
            <pc:docMk/>
            <pc:sldMk cId="747696551" sldId="342"/>
            <ac:spMk id="26" creationId="{D17E992C-3C97-4439-BC51-9BD274B7B388}"/>
          </ac:spMkLst>
        </pc:spChg>
        <pc:spChg chg="add del mod">
          <ac:chgData name="Nikolaj Godsk Vestergaard" userId="13f6e931-e8bb-4f58-9241-2f10614c3355" providerId="ADAL" clId="{E4806A0B-DC8E-4AB6-B884-FF8A33E1EF07}" dt="2022-12-02T10:17:12.752" v="12087" actId="478"/>
          <ac:spMkLst>
            <pc:docMk/>
            <pc:sldMk cId="747696551" sldId="342"/>
            <ac:spMk id="27" creationId="{F208CEB2-1602-4F7B-AB9E-1510F93C2BAE}"/>
          </ac:spMkLst>
        </pc:spChg>
        <pc:spChg chg="add del mod">
          <ac:chgData name="Nikolaj Godsk Vestergaard" userId="13f6e931-e8bb-4f58-9241-2f10614c3355" providerId="ADAL" clId="{E4806A0B-DC8E-4AB6-B884-FF8A33E1EF07}" dt="2022-12-02T10:17:11.717" v="12086" actId="478"/>
          <ac:spMkLst>
            <pc:docMk/>
            <pc:sldMk cId="747696551" sldId="342"/>
            <ac:spMk id="28" creationId="{524158C1-4381-45AB-B4D1-BC420B7E7CFC}"/>
          </ac:spMkLst>
        </pc:spChg>
      </pc:sldChg>
      <pc:sldChg chg="addSp delSp modSp add mod">
        <pc:chgData name="Nikolaj Godsk Vestergaard" userId="13f6e931-e8bb-4f58-9241-2f10614c3355" providerId="ADAL" clId="{E4806A0B-DC8E-4AB6-B884-FF8A33E1EF07}" dt="2022-12-02T08:53:13.059" v="11119" actId="207"/>
        <pc:sldMkLst>
          <pc:docMk/>
          <pc:sldMk cId="377149076" sldId="343"/>
        </pc:sldMkLst>
        <pc:spChg chg="mod">
          <ac:chgData name="Nikolaj Godsk Vestergaard" userId="13f6e931-e8bb-4f58-9241-2f10614c3355" providerId="ADAL" clId="{E4806A0B-DC8E-4AB6-B884-FF8A33E1EF07}" dt="2022-11-28T16:00:00.608" v="10287" actId="948"/>
          <ac:spMkLst>
            <pc:docMk/>
            <pc:sldMk cId="377149076" sldId="343"/>
            <ac:spMk id="2" creationId="{0F8BF24F-A2E6-4CF6-8D40-59F7B68CAF25}"/>
          </ac:spMkLst>
        </pc:spChg>
        <pc:spChg chg="add del mod modVis">
          <ac:chgData name="Nikolaj Godsk Vestergaard" userId="13f6e931-e8bb-4f58-9241-2f10614c3355" providerId="ADAL" clId="{E4806A0B-DC8E-4AB6-B884-FF8A33E1EF07}" dt="2022-11-28T16:00:00.670" v="10327"/>
          <ac:spMkLst>
            <pc:docMk/>
            <pc:sldMk cId="377149076" sldId="343"/>
            <ac:spMk id="3" creationId="{3BAFD5CD-2DA3-43BA-BFC5-B343C6C1466D}"/>
          </ac:spMkLst>
        </pc:spChg>
        <pc:spChg chg="add 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40" creationId="{D49E877E-CAC5-43C5-A268-2BC86B94F4AC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42" creationId="{75423E02-DC9C-4B19-B776-E109B161E144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43" creationId="{3695691B-EB10-469D-8EF9-322098C354A9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44" creationId="{05588C8C-8506-4D81-9ABC-6E4341F75B9B}"/>
          </ac:spMkLst>
        </pc:spChg>
        <pc:spChg chg="mod">
          <ac:chgData name="Nikolaj Godsk Vestergaard" userId="13f6e931-e8bb-4f58-9241-2f10614c3355" providerId="ADAL" clId="{E4806A0B-DC8E-4AB6-B884-FF8A33E1EF07}" dt="2022-12-02T08:53:06.297" v="11117" actId="207"/>
          <ac:spMkLst>
            <pc:docMk/>
            <pc:sldMk cId="377149076" sldId="343"/>
            <ac:spMk id="45" creationId="{CD474468-583E-4B6A-AEE4-CB3D8785F289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46" creationId="{54E6D070-34D4-49FA-B870-0C8C00D39016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47" creationId="{F8ADFD0E-940E-45DF-AB8F-22CFFD23893F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48" creationId="{C316DE98-FBA3-471E-8676-23912AB4D5E1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49" creationId="{CC2370C8-75F6-4D77-83FC-2054442C223D}"/>
          </ac:spMkLst>
        </pc:spChg>
        <pc:spChg chg="mod">
          <ac:chgData name="Nikolaj Godsk Vestergaard" userId="13f6e931-e8bb-4f58-9241-2f10614c3355" providerId="ADAL" clId="{E4806A0B-DC8E-4AB6-B884-FF8A33E1EF07}" dt="2022-12-02T08:53:09.111" v="11118" actId="207"/>
          <ac:spMkLst>
            <pc:docMk/>
            <pc:sldMk cId="377149076" sldId="343"/>
            <ac:spMk id="50" creationId="{A9B59841-8218-4A75-8BE9-C9199D557EC8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51" creationId="{CC5A745C-82C2-4CEE-9622-F874002D659A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53" creationId="{EB5C43F9-CFAD-4868-985D-864EC090D76B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54" creationId="{B71E3F6B-AD81-434A-9943-FC349D38375A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56" creationId="{365C6D3F-F61F-44BE-BD10-2F09BC8AE14E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57" creationId="{F5E1499A-C99F-4AB2-B6F9-61380A95B87A}"/>
          </ac:spMkLst>
        </pc:spChg>
        <pc:spChg chg="mod">
          <ac:chgData name="Nikolaj Godsk Vestergaard" userId="13f6e931-e8bb-4f58-9241-2f10614c3355" providerId="ADAL" clId="{E4806A0B-DC8E-4AB6-B884-FF8A33E1EF07}" dt="2022-12-02T08:53:13.059" v="11119" actId="207"/>
          <ac:spMkLst>
            <pc:docMk/>
            <pc:sldMk cId="377149076" sldId="343"/>
            <ac:spMk id="59" creationId="{4861954B-4164-4D9C-8233-14D0F21982F7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60" creationId="{437ED837-66DA-4088-8282-DE8462256E70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64" creationId="{67753019-924E-4B2C-BE11-2A8137F0C263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65" creationId="{09609AE1-0BE1-4D12-8E57-0524373B7A9A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67" creationId="{E20C674B-ADD4-4D56-898A-63EB6A123078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68" creationId="{BB446D00-629D-45F5-83C3-EF8525EFE3D0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70" creationId="{33922A71-43A4-46D8-BD83-C91A9D91E8C7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71" creationId="{267FFE73-DC96-4F4F-A5CE-BDD6FBBDDFFA}"/>
          </ac:spMkLst>
        </pc:spChg>
        <pc:spChg chg="mod">
          <ac:chgData name="Nikolaj Godsk Vestergaard" userId="13f6e931-e8bb-4f58-9241-2f10614c3355" providerId="ADAL" clId="{E4806A0B-DC8E-4AB6-B884-FF8A33E1EF07}" dt="2022-12-02T08:53:04.158" v="11116" actId="207"/>
          <ac:spMkLst>
            <pc:docMk/>
            <pc:sldMk cId="377149076" sldId="343"/>
            <ac:spMk id="73" creationId="{8F777FAE-1992-45EF-B690-AB1B87CBD496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74" creationId="{132D81D8-4837-425B-ABAC-6EEBDA143103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76" creationId="{FD821132-9411-4BFE-B8C6-748FF3602DCA}"/>
          </ac:spMkLst>
        </pc:spChg>
        <pc:spChg chg="mod">
          <ac:chgData name="Nikolaj Godsk Vestergaard" userId="13f6e931-e8bb-4f58-9241-2f10614c3355" providerId="ADAL" clId="{E4806A0B-DC8E-4AB6-B884-FF8A33E1EF07}" dt="2022-12-02T08:51:46.460" v="11097"/>
          <ac:spMkLst>
            <pc:docMk/>
            <pc:sldMk cId="377149076" sldId="343"/>
            <ac:spMk id="77" creationId="{3C8E717C-51E6-4E38-84FD-E3F62AC624D9}"/>
          </ac:spMkLst>
        </pc:spChg>
        <pc:spChg chg="mod">
          <ac:chgData name="Nikolaj Godsk Vestergaard" userId="13f6e931-e8bb-4f58-9241-2f10614c3355" providerId="ADAL" clId="{E4806A0B-DC8E-4AB6-B884-FF8A33E1EF07}" dt="2022-11-28T15:34:21.627" v="8284" actId="207"/>
          <ac:spMkLst>
            <pc:docMk/>
            <pc:sldMk cId="377149076" sldId="343"/>
            <ac:spMk id="81" creationId="{95E848D7-5372-4A94-8CEC-EE9FFD3BBC38}"/>
          </ac:spMkLst>
        </pc:spChg>
        <pc:spChg chg="mod">
          <ac:chgData name="Nikolaj Godsk Vestergaard" userId="13f6e931-e8bb-4f58-9241-2f10614c3355" providerId="ADAL" clId="{E4806A0B-DC8E-4AB6-B884-FF8A33E1EF07}" dt="2022-11-28T15:33:56.849" v="8280" actId="207"/>
          <ac:spMkLst>
            <pc:docMk/>
            <pc:sldMk cId="377149076" sldId="343"/>
            <ac:spMk id="82" creationId="{16ED81DE-D146-4774-B6BD-0C906B7369B6}"/>
          </ac:spMkLst>
        </pc:spChg>
        <pc:spChg chg="mod">
          <ac:chgData name="Nikolaj Godsk Vestergaard" userId="13f6e931-e8bb-4f58-9241-2f10614c3355" providerId="ADAL" clId="{E4806A0B-DC8E-4AB6-B884-FF8A33E1EF07}" dt="2022-11-28T15:34:01.952" v="8281" actId="207"/>
          <ac:spMkLst>
            <pc:docMk/>
            <pc:sldMk cId="377149076" sldId="343"/>
            <ac:spMk id="106" creationId="{BCE3CAC2-014D-401E-AD69-6454B57B91F1}"/>
          </ac:spMkLst>
        </pc:spChg>
        <pc:spChg chg="mod">
          <ac:chgData name="Nikolaj Godsk Vestergaard" userId="13f6e931-e8bb-4f58-9241-2f10614c3355" providerId="ADAL" clId="{E4806A0B-DC8E-4AB6-B884-FF8A33E1EF07}" dt="2022-11-28T15:34:10.505" v="8283" actId="207"/>
          <ac:spMkLst>
            <pc:docMk/>
            <pc:sldMk cId="377149076" sldId="343"/>
            <ac:spMk id="115" creationId="{82A2C29C-8068-46FA-B350-8E01764A1188}"/>
          </ac:spMkLst>
        </pc:spChg>
        <pc:grpChg chg="add mod">
          <ac:chgData name="Nikolaj Godsk Vestergaard" userId="13f6e931-e8bb-4f58-9241-2f10614c3355" providerId="ADAL" clId="{E4806A0B-DC8E-4AB6-B884-FF8A33E1EF07}" dt="2022-12-02T08:51:46.460" v="11097"/>
          <ac:grpSpMkLst>
            <pc:docMk/>
            <pc:sldMk cId="377149076" sldId="343"/>
            <ac:grpSpMk id="41" creationId="{33104223-9B95-4726-BF9D-67F08F4F1402}"/>
          </ac:grpSpMkLst>
        </pc:grpChg>
        <pc:grpChg chg="add mod">
          <ac:chgData name="Nikolaj Godsk Vestergaard" userId="13f6e931-e8bb-4f58-9241-2f10614c3355" providerId="ADAL" clId="{E4806A0B-DC8E-4AB6-B884-FF8A33E1EF07}" dt="2022-12-02T08:51:46.460" v="11097"/>
          <ac:grpSpMkLst>
            <pc:docMk/>
            <pc:sldMk cId="377149076" sldId="343"/>
            <ac:grpSpMk id="52" creationId="{378EE85C-2A22-4C88-A5A2-D02F7681ECD3}"/>
          </ac:grpSpMkLst>
        </pc:grpChg>
        <pc:grpChg chg="add mod">
          <ac:chgData name="Nikolaj Godsk Vestergaard" userId="13f6e931-e8bb-4f58-9241-2f10614c3355" providerId="ADAL" clId="{E4806A0B-DC8E-4AB6-B884-FF8A33E1EF07}" dt="2022-12-02T08:51:46.460" v="11097"/>
          <ac:grpSpMkLst>
            <pc:docMk/>
            <pc:sldMk cId="377149076" sldId="343"/>
            <ac:grpSpMk id="55" creationId="{47EC21EC-0F7B-4C54-91DB-9EEB509B7CE7}"/>
          </ac:grpSpMkLst>
        </pc:grpChg>
        <pc:grpChg chg="add mod">
          <ac:chgData name="Nikolaj Godsk Vestergaard" userId="13f6e931-e8bb-4f58-9241-2f10614c3355" providerId="ADAL" clId="{E4806A0B-DC8E-4AB6-B884-FF8A33E1EF07}" dt="2022-12-02T08:51:46.460" v="11097"/>
          <ac:grpSpMkLst>
            <pc:docMk/>
            <pc:sldMk cId="377149076" sldId="343"/>
            <ac:grpSpMk id="58" creationId="{B08D56DB-3268-4FAC-A84C-3C67F57F8889}"/>
          </ac:grpSpMkLst>
        </pc:grpChg>
        <pc:grpChg chg="add mod">
          <ac:chgData name="Nikolaj Godsk Vestergaard" userId="13f6e931-e8bb-4f58-9241-2f10614c3355" providerId="ADAL" clId="{E4806A0B-DC8E-4AB6-B884-FF8A33E1EF07}" dt="2022-12-02T08:51:46.460" v="11097"/>
          <ac:grpSpMkLst>
            <pc:docMk/>
            <pc:sldMk cId="377149076" sldId="343"/>
            <ac:grpSpMk id="63" creationId="{A119B350-BD87-4175-B206-EAA9596ACE3F}"/>
          </ac:grpSpMkLst>
        </pc:grpChg>
        <pc:grpChg chg="add mod">
          <ac:chgData name="Nikolaj Godsk Vestergaard" userId="13f6e931-e8bb-4f58-9241-2f10614c3355" providerId="ADAL" clId="{E4806A0B-DC8E-4AB6-B884-FF8A33E1EF07}" dt="2022-12-02T08:51:46.460" v="11097"/>
          <ac:grpSpMkLst>
            <pc:docMk/>
            <pc:sldMk cId="377149076" sldId="343"/>
            <ac:grpSpMk id="66" creationId="{08FA5040-8744-4B0B-AF35-BA2502364487}"/>
          </ac:grpSpMkLst>
        </pc:grpChg>
        <pc:grpChg chg="add mod">
          <ac:chgData name="Nikolaj Godsk Vestergaard" userId="13f6e931-e8bb-4f58-9241-2f10614c3355" providerId="ADAL" clId="{E4806A0B-DC8E-4AB6-B884-FF8A33E1EF07}" dt="2022-12-02T08:51:46.460" v="11097"/>
          <ac:grpSpMkLst>
            <pc:docMk/>
            <pc:sldMk cId="377149076" sldId="343"/>
            <ac:grpSpMk id="69" creationId="{FF21A5D4-3837-4915-9BCF-72CAAADA6C78}"/>
          </ac:grpSpMkLst>
        </pc:grpChg>
        <pc:grpChg chg="add mod">
          <ac:chgData name="Nikolaj Godsk Vestergaard" userId="13f6e931-e8bb-4f58-9241-2f10614c3355" providerId="ADAL" clId="{E4806A0B-DC8E-4AB6-B884-FF8A33E1EF07}" dt="2022-12-02T08:51:46.460" v="11097"/>
          <ac:grpSpMkLst>
            <pc:docMk/>
            <pc:sldMk cId="377149076" sldId="343"/>
            <ac:grpSpMk id="72" creationId="{9930B944-0D32-43A0-BE7C-323C2B74A2E7}"/>
          </ac:grpSpMkLst>
        </pc:grpChg>
        <pc:grpChg chg="add mod">
          <ac:chgData name="Nikolaj Godsk Vestergaard" userId="13f6e931-e8bb-4f58-9241-2f10614c3355" providerId="ADAL" clId="{E4806A0B-DC8E-4AB6-B884-FF8A33E1EF07}" dt="2022-12-02T08:51:46.460" v="11097"/>
          <ac:grpSpMkLst>
            <pc:docMk/>
            <pc:sldMk cId="377149076" sldId="343"/>
            <ac:grpSpMk id="75" creationId="{1E87C1EF-AA40-4345-830B-E9C106DA6F84}"/>
          </ac:grpSpMkLst>
        </pc:grpChg>
        <pc:grpChg chg="del">
          <ac:chgData name="Nikolaj Godsk Vestergaard" userId="13f6e931-e8bb-4f58-9241-2f10614c3355" providerId="ADAL" clId="{E4806A0B-DC8E-4AB6-B884-FF8A33E1EF07}" dt="2022-12-02T08:51:46.144" v="11096" actId="478"/>
          <ac:grpSpMkLst>
            <pc:docMk/>
            <pc:sldMk cId="377149076" sldId="343"/>
            <ac:grpSpMk id="94" creationId="{1F009119-3C5A-4A63-94C0-F9F14DAFF9DD}"/>
          </ac:grpSpMkLst>
        </pc:grpChg>
        <pc:grpChg chg="del">
          <ac:chgData name="Nikolaj Godsk Vestergaard" userId="13f6e931-e8bb-4f58-9241-2f10614c3355" providerId="ADAL" clId="{E4806A0B-DC8E-4AB6-B884-FF8A33E1EF07}" dt="2022-12-02T08:51:46.144" v="11096" actId="478"/>
          <ac:grpSpMkLst>
            <pc:docMk/>
            <pc:sldMk cId="377149076" sldId="343"/>
            <ac:grpSpMk id="96" creationId="{ED19D752-8C44-4F34-8FD4-B08E5996CE96}"/>
          </ac:grpSpMkLst>
        </pc:grpChg>
        <pc:grpChg chg="del">
          <ac:chgData name="Nikolaj Godsk Vestergaard" userId="13f6e931-e8bb-4f58-9241-2f10614c3355" providerId="ADAL" clId="{E4806A0B-DC8E-4AB6-B884-FF8A33E1EF07}" dt="2022-12-02T08:51:46.144" v="11096" actId="478"/>
          <ac:grpSpMkLst>
            <pc:docMk/>
            <pc:sldMk cId="377149076" sldId="343"/>
            <ac:grpSpMk id="99" creationId="{23B86DBF-3F82-4008-8ED2-C4F0A4925F9D}"/>
          </ac:grpSpMkLst>
        </pc:grpChg>
        <pc:grpChg chg="del">
          <ac:chgData name="Nikolaj Godsk Vestergaard" userId="13f6e931-e8bb-4f58-9241-2f10614c3355" providerId="ADAL" clId="{E4806A0B-DC8E-4AB6-B884-FF8A33E1EF07}" dt="2022-12-02T08:51:46.144" v="11096" actId="478"/>
          <ac:grpSpMkLst>
            <pc:docMk/>
            <pc:sldMk cId="377149076" sldId="343"/>
            <ac:grpSpMk id="102" creationId="{21881C62-961A-4A9A-AAE3-73189C64CC82}"/>
          </ac:grpSpMkLst>
        </pc:grpChg>
        <pc:grpChg chg="del">
          <ac:chgData name="Nikolaj Godsk Vestergaard" userId="13f6e931-e8bb-4f58-9241-2f10614c3355" providerId="ADAL" clId="{E4806A0B-DC8E-4AB6-B884-FF8A33E1EF07}" dt="2022-12-02T08:51:46.144" v="11096" actId="478"/>
          <ac:grpSpMkLst>
            <pc:docMk/>
            <pc:sldMk cId="377149076" sldId="343"/>
            <ac:grpSpMk id="105" creationId="{79E81BFD-DC38-466C-B604-CD21DC9A8154}"/>
          </ac:grpSpMkLst>
        </pc:grpChg>
        <pc:grpChg chg="del">
          <ac:chgData name="Nikolaj Godsk Vestergaard" userId="13f6e931-e8bb-4f58-9241-2f10614c3355" providerId="ADAL" clId="{E4806A0B-DC8E-4AB6-B884-FF8A33E1EF07}" dt="2022-12-02T08:51:46.144" v="11096" actId="478"/>
          <ac:grpSpMkLst>
            <pc:docMk/>
            <pc:sldMk cId="377149076" sldId="343"/>
            <ac:grpSpMk id="108" creationId="{AD74393E-CAD2-44FA-B4A8-13ABAFD82BD7}"/>
          </ac:grpSpMkLst>
        </pc:grpChg>
        <pc:grpChg chg="del">
          <ac:chgData name="Nikolaj Godsk Vestergaard" userId="13f6e931-e8bb-4f58-9241-2f10614c3355" providerId="ADAL" clId="{E4806A0B-DC8E-4AB6-B884-FF8A33E1EF07}" dt="2022-12-02T08:51:46.144" v="11096" actId="478"/>
          <ac:grpSpMkLst>
            <pc:docMk/>
            <pc:sldMk cId="377149076" sldId="343"/>
            <ac:grpSpMk id="111" creationId="{EC52DF8E-5DB7-4238-99AB-B43296204167}"/>
          </ac:grpSpMkLst>
        </pc:grpChg>
        <pc:grpChg chg="del">
          <ac:chgData name="Nikolaj Godsk Vestergaard" userId="13f6e931-e8bb-4f58-9241-2f10614c3355" providerId="ADAL" clId="{E4806A0B-DC8E-4AB6-B884-FF8A33E1EF07}" dt="2022-12-02T08:51:46.144" v="11096" actId="478"/>
          <ac:grpSpMkLst>
            <pc:docMk/>
            <pc:sldMk cId="377149076" sldId="343"/>
            <ac:grpSpMk id="114" creationId="{23DBDD4F-E497-4FFD-9DDD-865BE5ABD3D7}"/>
          </ac:grpSpMkLst>
        </pc:grpChg>
        <pc:grpChg chg="del">
          <ac:chgData name="Nikolaj Godsk Vestergaard" userId="13f6e931-e8bb-4f58-9241-2f10614c3355" providerId="ADAL" clId="{E4806A0B-DC8E-4AB6-B884-FF8A33E1EF07}" dt="2022-12-02T08:51:46.144" v="11096" actId="478"/>
          <ac:grpSpMkLst>
            <pc:docMk/>
            <pc:sldMk cId="377149076" sldId="343"/>
            <ac:grpSpMk id="117" creationId="{6874C2CE-D23C-4CF2-BC7A-4C430FBAE512}"/>
          </ac:grpSpMkLst>
        </pc:grpChg>
        <pc:graphicFrameChg chg="mod">
          <ac:chgData name="Nikolaj Godsk Vestergaard" userId="13f6e931-e8bb-4f58-9241-2f10614c3355" providerId="ADAL" clId="{E4806A0B-DC8E-4AB6-B884-FF8A33E1EF07}" dt="2022-11-28T16:00:00.672" v="10329"/>
          <ac:graphicFrameMkLst>
            <pc:docMk/>
            <pc:sldMk cId="377149076" sldId="343"/>
            <ac:graphicFrameMk id="6" creationId="{2CA615AF-F9B8-4523-BF47-85C929EE8B61}"/>
          </ac:graphicFrameMkLst>
        </pc:graphicFrameChg>
      </pc:sldChg>
      <pc:sldChg chg="addSp delSp modSp add mod ord">
        <pc:chgData name="Nikolaj Godsk Vestergaard" userId="13f6e931-e8bb-4f58-9241-2f10614c3355" providerId="ADAL" clId="{E4806A0B-DC8E-4AB6-B884-FF8A33E1EF07}" dt="2022-12-02T08:53:30.894" v="11123" actId="207"/>
        <pc:sldMkLst>
          <pc:docMk/>
          <pc:sldMk cId="1970458706" sldId="344"/>
        </pc:sldMkLst>
        <pc:spChg chg="mod">
          <ac:chgData name="Nikolaj Godsk Vestergaard" userId="13f6e931-e8bb-4f58-9241-2f10614c3355" providerId="ADAL" clId="{E4806A0B-DC8E-4AB6-B884-FF8A33E1EF07}" dt="2022-11-28T15:54:04.369" v="9706" actId="948"/>
          <ac:spMkLst>
            <pc:docMk/>
            <pc:sldMk cId="1970458706" sldId="344"/>
            <ac:spMk id="2" creationId="{0F8BF24F-A2E6-4CF6-8D40-59F7B68CAF25}"/>
          </ac:spMkLst>
        </pc:spChg>
        <pc:spChg chg="add del mod modVis">
          <ac:chgData name="Nikolaj Godsk Vestergaard" userId="13f6e931-e8bb-4f58-9241-2f10614c3355" providerId="ADAL" clId="{E4806A0B-DC8E-4AB6-B884-FF8A33E1EF07}" dt="2022-11-28T15:53:52.720" v="9601"/>
          <ac:spMkLst>
            <pc:docMk/>
            <pc:sldMk cId="1970458706" sldId="344"/>
            <ac:spMk id="3" creationId="{D2E469B1-7C6D-46FE-9751-88D3787F9230}"/>
          </ac:spMkLst>
        </pc:spChg>
        <pc:spChg chg="add del mod modVis">
          <ac:chgData name="Nikolaj Godsk Vestergaard" userId="13f6e931-e8bb-4f58-9241-2f10614c3355" providerId="ADAL" clId="{E4806A0B-DC8E-4AB6-B884-FF8A33E1EF07}" dt="2022-11-28T15:53:55.993" v="9645"/>
          <ac:spMkLst>
            <pc:docMk/>
            <pc:sldMk cId="1970458706" sldId="344"/>
            <ac:spMk id="5" creationId="{090052C3-63E1-406C-BF4F-62B9C2762E0E}"/>
          </ac:spMkLst>
        </pc:spChg>
        <pc:spChg chg="add del mod modVis">
          <ac:chgData name="Nikolaj Godsk Vestergaard" userId="13f6e931-e8bb-4f58-9241-2f10614c3355" providerId="ADAL" clId="{E4806A0B-DC8E-4AB6-B884-FF8A33E1EF07}" dt="2022-11-28T15:53:57.067" v="9691"/>
          <ac:spMkLst>
            <pc:docMk/>
            <pc:sldMk cId="1970458706" sldId="344"/>
            <ac:spMk id="7" creationId="{40502965-DE44-4050-8E41-14A69B68CD7A}"/>
          </ac:spMkLst>
        </pc:spChg>
        <pc:spChg chg="add del mod modVis">
          <ac:chgData name="Nikolaj Godsk Vestergaard" userId="13f6e931-e8bb-4f58-9241-2f10614c3355" providerId="ADAL" clId="{E4806A0B-DC8E-4AB6-B884-FF8A33E1EF07}" dt="2022-11-28T15:54:04.425" v="9746"/>
          <ac:spMkLst>
            <pc:docMk/>
            <pc:sldMk cId="1970458706" sldId="344"/>
            <ac:spMk id="8" creationId="{397D37ED-9C9A-45A2-8763-7341746729CC}"/>
          </ac:spMkLst>
        </pc:spChg>
        <pc:spChg chg="add 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40" creationId="{9B7E9337-5578-492C-B463-6F8C1EB50520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42" creationId="{A307AF87-083B-4157-A91F-3950DBBC243A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43" creationId="{0FDDDE8A-F63F-43A3-9BD7-DF416F831A58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44" creationId="{6A283A55-8456-4278-AABC-6B0C89EDCF13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45" creationId="{1F56C0F1-3461-4AFE-BF3B-A7E273C5EB38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46" creationId="{C775105F-CE7C-499F-ACF4-862853880598}"/>
          </ac:spMkLst>
        </pc:spChg>
        <pc:spChg chg="mod">
          <ac:chgData name="Nikolaj Godsk Vestergaard" userId="13f6e931-e8bb-4f58-9241-2f10614c3355" providerId="ADAL" clId="{E4806A0B-DC8E-4AB6-B884-FF8A33E1EF07}" dt="2022-12-02T08:53:20.707" v="11120" actId="207"/>
          <ac:spMkLst>
            <pc:docMk/>
            <pc:sldMk cId="1970458706" sldId="344"/>
            <ac:spMk id="47" creationId="{8577B4D3-CCFA-4631-A760-9570D83A2D86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48" creationId="{4804652F-400E-430D-A82D-FFA3665DCB1F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49" creationId="{658C38B2-8289-4A46-936C-3909FF620058}"/>
          </ac:spMkLst>
        </pc:spChg>
        <pc:spChg chg="mod">
          <ac:chgData name="Nikolaj Godsk Vestergaard" userId="13f6e931-e8bb-4f58-9241-2f10614c3355" providerId="ADAL" clId="{E4806A0B-DC8E-4AB6-B884-FF8A33E1EF07}" dt="2022-12-02T08:53:28.120" v="11122" actId="207"/>
          <ac:spMkLst>
            <pc:docMk/>
            <pc:sldMk cId="1970458706" sldId="344"/>
            <ac:spMk id="50" creationId="{11EC86C0-8E27-43F8-8667-7ABAB7EE4D95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51" creationId="{58E35C84-F4C3-4336-8B07-6F427BEC468C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53" creationId="{11B08A6B-E89C-47B6-83EA-236291A2A289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54" creationId="{0F658539-8B60-4F67-8433-BF6E025646D2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56" creationId="{5654453B-B9BE-471E-B18C-C20E8AD3DAF8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57" creationId="{BCB87BE6-D8F8-4CA8-A75B-7561F2FD221C}"/>
          </ac:spMkLst>
        </pc:spChg>
        <pc:spChg chg="mod">
          <ac:chgData name="Nikolaj Godsk Vestergaard" userId="13f6e931-e8bb-4f58-9241-2f10614c3355" providerId="ADAL" clId="{E4806A0B-DC8E-4AB6-B884-FF8A33E1EF07}" dt="2022-12-02T08:53:30.894" v="11123" actId="207"/>
          <ac:spMkLst>
            <pc:docMk/>
            <pc:sldMk cId="1970458706" sldId="344"/>
            <ac:spMk id="59" creationId="{E92F2D15-6AD8-4E0C-B304-7E3C02F6E26C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60" creationId="{88D08696-D5F1-41DC-82BD-9CFF61FF6A98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64" creationId="{6BBC83FC-DC57-45F1-B440-7BD9F15E4F3B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65" creationId="{522A0CEE-688E-4570-A0BA-F66DBE88A0E2}"/>
          </ac:spMkLst>
        </pc:spChg>
        <pc:spChg chg="mod">
          <ac:chgData name="Nikolaj Godsk Vestergaard" userId="13f6e931-e8bb-4f58-9241-2f10614c3355" providerId="ADAL" clId="{E4806A0B-DC8E-4AB6-B884-FF8A33E1EF07}" dt="2022-12-02T08:53:24.752" v="11121" actId="207"/>
          <ac:spMkLst>
            <pc:docMk/>
            <pc:sldMk cId="1970458706" sldId="344"/>
            <ac:spMk id="67" creationId="{A0DD493C-428D-46D4-856F-0A4F6A108707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68" creationId="{D55C9275-5460-4950-934D-912A5D7CDF27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70" creationId="{9AE2D3FE-26D0-4C35-A4FF-7BE1ABE51E94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71" creationId="{6B20653D-58B9-43BB-A304-DE18724AD71F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73" creationId="{1B9B0205-BC5D-44D7-A8AC-F18945BEF769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74" creationId="{A6D358CA-9943-4B0E-8209-20104E3F8A20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76" creationId="{5A33C16F-1BAA-42AC-9F95-C27B6835DB19}"/>
          </ac:spMkLst>
        </pc:spChg>
        <pc:spChg chg="mod">
          <ac:chgData name="Nikolaj Godsk Vestergaard" userId="13f6e931-e8bb-4f58-9241-2f10614c3355" providerId="ADAL" clId="{E4806A0B-DC8E-4AB6-B884-FF8A33E1EF07}" dt="2022-12-02T08:51:52.888" v="11099"/>
          <ac:spMkLst>
            <pc:docMk/>
            <pc:sldMk cId="1970458706" sldId="344"/>
            <ac:spMk id="77" creationId="{4A45E206-31EF-483B-B32B-64D94823B16B}"/>
          </ac:spMkLst>
        </pc:spChg>
        <pc:spChg chg="mod">
          <ac:chgData name="Nikolaj Godsk Vestergaard" userId="13f6e931-e8bb-4f58-9241-2f10614c3355" providerId="ADAL" clId="{E4806A0B-DC8E-4AB6-B884-FF8A33E1EF07}" dt="2022-11-28T15:35:25.873" v="8300" actId="207"/>
          <ac:spMkLst>
            <pc:docMk/>
            <pc:sldMk cId="1970458706" sldId="344"/>
            <ac:spMk id="81" creationId="{95E848D7-5372-4A94-8CEC-EE9FFD3BBC38}"/>
          </ac:spMkLst>
        </pc:spChg>
        <pc:spChg chg="mod">
          <ac:chgData name="Nikolaj Godsk Vestergaard" userId="13f6e931-e8bb-4f58-9241-2f10614c3355" providerId="ADAL" clId="{E4806A0B-DC8E-4AB6-B884-FF8A33E1EF07}" dt="2022-11-28T15:35:37.040" v="8303" actId="207"/>
          <ac:spMkLst>
            <pc:docMk/>
            <pc:sldMk cId="1970458706" sldId="344"/>
            <ac:spMk id="83" creationId="{FF2A2D53-481A-457F-96D8-2FB205F2BD79}"/>
          </ac:spMkLst>
        </pc:spChg>
        <pc:spChg chg="mod">
          <ac:chgData name="Nikolaj Godsk Vestergaard" userId="13f6e931-e8bb-4f58-9241-2f10614c3355" providerId="ADAL" clId="{E4806A0B-DC8E-4AB6-B884-FF8A33E1EF07}" dt="2022-11-28T15:35:33.179" v="8302" actId="207"/>
          <ac:spMkLst>
            <pc:docMk/>
            <pc:sldMk cId="1970458706" sldId="344"/>
            <ac:spMk id="109" creationId="{5C69A71A-0EEB-467A-B370-DC147B2ECC22}"/>
          </ac:spMkLst>
        </pc:spChg>
        <pc:spChg chg="mod">
          <ac:chgData name="Nikolaj Godsk Vestergaard" userId="13f6e931-e8bb-4f58-9241-2f10614c3355" providerId="ADAL" clId="{E4806A0B-DC8E-4AB6-B884-FF8A33E1EF07}" dt="2022-11-28T15:35:29.485" v="8301" actId="207"/>
          <ac:spMkLst>
            <pc:docMk/>
            <pc:sldMk cId="1970458706" sldId="344"/>
            <ac:spMk id="115" creationId="{82A2C29C-8068-46FA-B350-8E01764A1188}"/>
          </ac:spMkLst>
        </pc:spChg>
        <pc:grpChg chg="add mod">
          <ac:chgData name="Nikolaj Godsk Vestergaard" userId="13f6e931-e8bb-4f58-9241-2f10614c3355" providerId="ADAL" clId="{E4806A0B-DC8E-4AB6-B884-FF8A33E1EF07}" dt="2022-12-02T08:51:52.888" v="11099"/>
          <ac:grpSpMkLst>
            <pc:docMk/>
            <pc:sldMk cId="1970458706" sldId="344"/>
            <ac:grpSpMk id="41" creationId="{8E1B1356-DF97-4A76-A853-80F7960CB448}"/>
          </ac:grpSpMkLst>
        </pc:grpChg>
        <pc:grpChg chg="add mod">
          <ac:chgData name="Nikolaj Godsk Vestergaard" userId="13f6e931-e8bb-4f58-9241-2f10614c3355" providerId="ADAL" clId="{E4806A0B-DC8E-4AB6-B884-FF8A33E1EF07}" dt="2022-12-02T08:51:52.888" v="11099"/>
          <ac:grpSpMkLst>
            <pc:docMk/>
            <pc:sldMk cId="1970458706" sldId="344"/>
            <ac:grpSpMk id="52" creationId="{36DBB7C0-F5EA-41F9-BD36-62059DDBA97B}"/>
          </ac:grpSpMkLst>
        </pc:grpChg>
        <pc:grpChg chg="add mod">
          <ac:chgData name="Nikolaj Godsk Vestergaard" userId="13f6e931-e8bb-4f58-9241-2f10614c3355" providerId="ADAL" clId="{E4806A0B-DC8E-4AB6-B884-FF8A33E1EF07}" dt="2022-12-02T08:51:52.888" v="11099"/>
          <ac:grpSpMkLst>
            <pc:docMk/>
            <pc:sldMk cId="1970458706" sldId="344"/>
            <ac:grpSpMk id="55" creationId="{C9B17CD0-CB14-4B5D-8A61-4F6CB751FA01}"/>
          </ac:grpSpMkLst>
        </pc:grpChg>
        <pc:grpChg chg="add mod">
          <ac:chgData name="Nikolaj Godsk Vestergaard" userId="13f6e931-e8bb-4f58-9241-2f10614c3355" providerId="ADAL" clId="{E4806A0B-DC8E-4AB6-B884-FF8A33E1EF07}" dt="2022-12-02T08:51:52.888" v="11099"/>
          <ac:grpSpMkLst>
            <pc:docMk/>
            <pc:sldMk cId="1970458706" sldId="344"/>
            <ac:grpSpMk id="58" creationId="{237D436D-AD20-4286-B238-1B3AE83FD90A}"/>
          </ac:grpSpMkLst>
        </pc:grpChg>
        <pc:grpChg chg="add mod">
          <ac:chgData name="Nikolaj Godsk Vestergaard" userId="13f6e931-e8bb-4f58-9241-2f10614c3355" providerId="ADAL" clId="{E4806A0B-DC8E-4AB6-B884-FF8A33E1EF07}" dt="2022-12-02T08:51:52.888" v="11099"/>
          <ac:grpSpMkLst>
            <pc:docMk/>
            <pc:sldMk cId="1970458706" sldId="344"/>
            <ac:grpSpMk id="63" creationId="{98C6E45E-33B4-4D6F-9C30-9C9328657758}"/>
          </ac:grpSpMkLst>
        </pc:grpChg>
        <pc:grpChg chg="add mod">
          <ac:chgData name="Nikolaj Godsk Vestergaard" userId="13f6e931-e8bb-4f58-9241-2f10614c3355" providerId="ADAL" clId="{E4806A0B-DC8E-4AB6-B884-FF8A33E1EF07}" dt="2022-12-02T08:51:52.888" v="11099"/>
          <ac:grpSpMkLst>
            <pc:docMk/>
            <pc:sldMk cId="1970458706" sldId="344"/>
            <ac:grpSpMk id="66" creationId="{C8FADCA3-8AE0-4929-A8C5-D5CF4EDDC648}"/>
          </ac:grpSpMkLst>
        </pc:grpChg>
        <pc:grpChg chg="add mod">
          <ac:chgData name="Nikolaj Godsk Vestergaard" userId="13f6e931-e8bb-4f58-9241-2f10614c3355" providerId="ADAL" clId="{E4806A0B-DC8E-4AB6-B884-FF8A33E1EF07}" dt="2022-12-02T08:51:52.888" v="11099"/>
          <ac:grpSpMkLst>
            <pc:docMk/>
            <pc:sldMk cId="1970458706" sldId="344"/>
            <ac:grpSpMk id="69" creationId="{7632E6A4-F051-4454-9751-7B8F0ED1F888}"/>
          </ac:grpSpMkLst>
        </pc:grpChg>
        <pc:grpChg chg="add mod">
          <ac:chgData name="Nikolaj Godsk Vestergaard" userId="13f6e931-e8bb-4f58-9241-2f10614c3355" providerId="ADAL" clId="{E4806A0B-DC8E-4AB6-B884-FF8A33E1EF07}" dt="2022-12-02T08:51:52.888" v="11099"/>
          <ac:grpSpMkLst>
            <pc:docMk/>
            <pc:sldMk cId="1970458706" sldId="344"/>
            <ac:grpSpMk id="72" creationId="{5B572CB6-8C4A-4DE1-A72C-BCDF7DF93D8C}"/>
          </ac:grpSpMkLst>
        </pc:grpChg>
        <pc:grpChg chg="add mod">
          <ac:chgData name="Nikolaj Godsk Vestergaard" userId="13f6e931-e8bb-4f58-9241-2f10614c3355" providerId="ADAL" clId="{E4806A0B-DC8E-4AB6-B884-FF8A33E1EF07}" dt="2022-12-02T08:51:52.888" v="11099"/>
          <ac:grpSpMkLst>
            <pc:docMk/>
            <pc:sldMk cId="1970458706" sldId="344"/>
            <ac:grpSpMk id="75" creationId="{398DB585-8968-491E-8CC1-E6E424854274}"/>
          </ac:grpSpMkLst>
        </pc:grpChg>
        <pc:grpChg chg="del">
          <ac:chgData name="Nikolaj Godsk Vestergaard" userId="13f6e931-e8bb-4f58-9241-2f10614c3355" providerId="ADAL" clId="{E4806A0B-DC8E-4AB6-B884-FF8A33E1EF07}" dt="2022-12-02T08:51:52.599" v="11098" actId="478"/>
          <ac:grpSpMkLst>
            <pc:docMk/>
            <pc:sldMk cId="1970458706" sldId="344"/>
            <ac:grpSpMk id="94" creationId="{1F009119-3C5A-4A63-94C0-F9F14DAFF9DD}"/>
          </ac:grpSpMkLst>
        </pc:grpChg>
        <pc:grpChg chg="del">
          <ac:chgData name="Nikolaj Godsk Vestergaard" userId="13f6e931-e8bb-4f58-9241-2f10614c3355" providerId="ADAL" clId="{E4806A0B-DC8E-4AB6-B884-FF8A33E1EF07}" dt="2022-12-02T08:51:52.599" v="11098" actId="478"/>
          <ac:grpSpMkLst>
            <pc:docMk/>
            <pc:sldMk cId="1970458706" sldId="344"/>
            <ac:grpSpMk id="96" creationId="{ED19D752-8C44-4F34-8FD4-B08E5996CE96}"/>
          </ac:grpSpMkLst>
        </pc:grpChg>
        <pc:grpChg chg="del">
          <ac:chgData name="Nikolaj Godsk Vestergaard" userId="13f6e931-e8bb-4f58-9241-2f10614c3355" providerId="ADAL" clId="{E4806A0B-DC8E-4AB6-B884-FF8A33E1EF07}" dt="2022-12-02T08:51:52.599" v="11098" actId="478"/>
          <ac:grpSpMkLst>
            <pc:docMk/>
            <pc:sldMk cId="1970458706" sldId="344"/>
            <ac:grpSpMk id="99" creationId="{23B86DBF-3F82-4008-8ED2-C4F0A4925F9D}"/>
          </ac:grpSpMkLst>
        </pc:grpChg>
        <pc:grpChg chg="del">
          <ac:chgData name="Nikolaj Godsk Vestergaard" userId="13f6e931-e8bb-4f58-9241-2f10614c3355" providerId="ADAL" clId="{E4806A0B-DC8E-4AB6-B884-FF8A33E1EF07}" dt="2022-12-02T08:51:52.599" v="11098" actId="478"/>
          <ac:grpSpMkLst>
            <pc:docMk/>
            <pc:sldMk cId="1970458706" sldId="344"/>
            <ac:grpSpMk id="102" creationId="{21881C62-961A-4A9A-AAE3-73189C64CC82}"/>
          </ac:grpSpMkLst>
        </pc:grpChg>
        <pc:grpChg chg="del">
          <ac:chgData name="Nikolaj Godsk Vestergaard" userId="13f6e931-e8bb-4f58-9241-2f10614c3355" providerId="ADAL" clId="{E4806A0B-DC8E-4AB6-B884-FF8A33E1EF07}" dt="2022-12-02T08:51:52.599" v="11098" actId="478"/>
          <ac:grpSpMkLst>
            <pc:docMk/>
            <pc:sldMk cId="1970458706" sldId="344"/>
            <ac:grpSpMk id="105" creationId="{79E81BFD-DC38-466C-B604-CD21DC9A8154}"/>
          </ac:grpSpMkLst>
        </pc:grpChg>
        <pc:grpChg chg="del">
          <ac:chgData name="Nikolaj Godsk Vestergaard" userId="13f6e931-e8bb-4f58-9241-2f10614c3355" providerId="ADAL" clId="{E4806A0B-DC8E-4AB6-B884-FF8A33E1EF07}" dt="2022-12-02T08:51:52.599" v="11098" actId="478"/>
          <ac:grpSpMkLst>
            <pc:docMk/>
            <pc:sldMk cId="1970458706" sldId="344"/>
            <ac:grpSpMk id="108" creationId="{AD74393E-CAD2-44FA-B4A8-13ABAFD82BD7}"/>
          </ac:grpSpMkLst>
        </pc:grpChg>
        <pc:grpChg chg="del">
          <ac:chgData name="Nikolaj Godsk Vestergaard" userId="13f6e931-e8bb-4f58-9241-2f10614c3355" providerId="ADAL" clId="{E4806A0B-DC8E-4AB6-B884-FF8A33E1EF07}" dt="2022-12-02T08:51:52.599" v="11098" actId="478"/>
          <ac:grpSpMkLst>
            <pc:docMk/>
            <pc:sldMk cId="1970458706" sldId="344"/>
            <ac:grpSpMk id="111" creationId="{EC52DF8E-5DB7-4238-99AB-B43296204167}"/>
          </ac:grpSpMkLst>
        </pc:grpChg>
        <pc:grpChg chg="del">
          <ac:chgData name="Nikolaj Godsk Vestergaard" userId="13f6e931-e8bb-4f58-9241-2f10614c3355" providerId="ADAL" clId="{E4806A0B-DC8E-4AB6-B884-FF8A33E1EF07}" dt="2022-12-02T08:51:52.599" v="11098" actId="478"/>
          <ac:grpSpMkLst>
            <pc:docMk/>
            <pc:sldMk cId="1970458706" sldId="344"/>
            <ac:grpSpMk id="114" creationId="{23DBDD4F-E497-4FFD-9DDD-865BE5ABD3D7}"/>
          </ac:grpSpMkLst>
        </pc:grpChg>
        <pc:grpChg chg="del">
          <ac:chgData name="Nikolaj Godsk Vestergaard" userId="13f6e931-e8bb-4f58-9241-2f10614c3355" providerId="ADAL" clId="{E4806A0B-DC8E-4AB6-B884-FF8A33E1EF07}" dt="2022-12-02T08:51:52.599" v="11098" actId="478"/>
          <ac:grpSpMkLst>
            <pc:docMk/>
            <pc:sldMk cId="1970458706" sldId="344"/>
            <ac:grpSpMk id="117" creationId="{6874C2CE-D23C-4CF2-BC7A-4C430FBAE512}"/>
          </ac:grpSpMkLst>
        </pc:grpChg>
        <pc:graphicFrameChg chg="mod">
          <ac:chgData name="Nikolaj Godsk Vestergaard" userId="13f6e931-e8bb-4f58-9241-2f10614c3355" providerId="ADAL" clId="{E4806A0B-DC8E-4AB6-B884-FF8A33E1EF07}" dt="2022-11-28T15:54:04.426" v="9748"/>
          <ac:graphicFrameMkLst>
            <pc:docMk/>
            <pc:sldMk cId="1970458706" sldId="344"/>
            <ac:graphicFrameMk id="6" creationId="{2CA615AF-F9B8-4523-BF47-85C929EE8B61}"/>
          </ac:graphicFrameMkLst>
        </pc:graphicFrameChg>
      </pc:sldChg>
      <pc:sldChg chg="addSp delSp modSp add mod ord">
        <pc:chgData name="Nikolaj Godsk Vestergaard" userId="13f6e931-e8bb-4f58-9241-2f10614c3355" providerId="ADAL" clId="{E4806A0B-DC8E-4AB6-B884-FF8A33E1EF07}" dt="2022-12-02T08:53:49.302" v="11127" actId="207"/>
        <pc:sldMkLst>
          <pc:docMk/>
          <pc:sldMk cId="790945661" sldId="345"/>
        </pc:sldMkLst>
        <pc:spChg chg="mod">
          <ac:chgData name="Nikolaj Godsk Vestergaard" userId="13f6e931-e8bb-4f58-9241-2f10614c3355" providerId="ADAL" clId="{E4806A0B-DC8E-4AB6-B884-FF8A33E1EF07}" dt="2022-11-28T15:59:55.658" v="10242" actId="948"/>
          <ac:spMkLst>
            <pc:docMk/>
            <pc:sldMk cId="790945661" sldId="345"/>
            <ac:spMk id="2" creationId="{0F8BF24F-A2E6-4CF6-8D40-59F7B68CAF25}"/>
          </ac:spMkLst>
        </pc:spChg>
        <pc:spChg chg="add del mod modVis">
          <ac:chgData name="Nikolaj Godsk Vestergaard" userId="13f6e931-e8bb-4f58-9241-2f10614c3355" providerId="ADAL" clId="{E4806A0B-DC8E-4AB6-B884-FF8A33E1EF07}" dt="2022-11-28T15:59:55.708" v="10282"/>
          <ac:spMkLst>
            <pc:docMk/>
            <pc:sldMk cId="790945661" sldId="345"/>
            <ac:spMk id="3" creationId="{B2E8A368-1EB8-4E3A-90CD-E7F1AC1B3229}"/>
          </ac:spMkLst>
        </pc:spChg>
        <pc:spChg chg="add 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40" creationId="{A9FAB0C3-5A8A-4E2A-93E4-11A0AD723758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42" creationId="{45C7F0DD-7577-4695-BBDF-F71D9090914D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43" creationId="{36E08BFD-6290-48A2-BB67-ED447B6DC2E0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44" creationId="{C90655F7-3F43-4A9E-A6B1-F38662BCA767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45" creationId="{8699C90E-2DA6-457D-94EC-ED25724AC8D4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46" creationId="{57B06101-9835-4643-8A26-9F1F9F8B7505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47" creationId="{73F2E9B7-3233-49F3-AC17-BEE26E635C49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48" creationId="{108FE26B-83D2-4818-8724-4492C7D8EF80}"/>
          </ac:spMkLst>
        </pc:spChg>
        <pc:spChg chg="mod">
          <ac:chgData name="Nikolaj Godsk Vestergaard" userId="13f6e931-e8bb-4f58-9241-2f10614c3355" providerId="ADAL" clId="{E4806A0B-DC8E-4AB6-B884-FF8A33E1EF07}" dt="2022-12-02T08:53:49.302" v="11127" actId="207"/>
          <ac:spMkLst>
            <pc:docMk/>
            <pc:sldMk cId="790945661" sldId="345"/>
            <ac:spMk id="49" creationId="{48C1957D-2D0C-40DF-A213-D89F1AD88AD7}"/>
          </ac:spMkLst>
        </pc:spChg>
        <pc:spChg chg="mod">
          <ac:chgData name="Nikolaj Godsk Vestergaard" userId="13f6e931-e8bb-4f58-9241-2f10614c3355" providerId="ADAL" clId="{E4806A0B-DC8E-4AB6-B884-FF8A33E1EF07}" dt="2022-12-02T08:53:35.008" v="11124" actId="207"/>
          <ac:spMkLst>
            <pc:docMk/>
            <pc:sldMk cId="790945661" sldId="345"/>
            <ac:spMk id="50" creationId="{BA085F44-1D2C-4519-A4DA-9E2D649C31E8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51" creationId="{70854FB2-19E1-4308-AF45-B2FCE4AC1529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53" creationId="{C199E9B1-6D00-4818-98D1-BF89202E12BE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54" creationId="{800CF2BE-4831-4F2D-AE0F-88504244FAFF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56" creationId="{BF927AE9-E9BE-45EE-9AEE-24E13FA2E807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57" creationId="{85F9C842-E1FE-470B-8D5C-FF9CFE7C2FFF}"/>
          </ac:spMkLst>
        </pc:spChg>
        <pc:spChg chg="mod">
          <ac:chgData name="Nikolaj Godsk Vestergaard" userId="13f6e931-e8bb-4f58-9241-2f10614c3355" providerId="ADAL" clId="{E4806A0B-DC8E-4AB6-B884-FF8A33E1EF07}" dt="2022-12-02T08:53:41.123" v="11125" actId="207"/>
          <ac:spMkLst>
            <pc:docMk/>
            <pc:sldMk cId="790945661" sldId="345"/>
            <ac:spMk id="59" creationId="{14A8F12D-B65B-439D-90FB-7D2C71B23E01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60" creationId="{4DD79EDF-CCE9-4839-AED3-C2CE37A85F90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64" creationId="{0AF88451-B229-4F11-B903-83FA655DB62C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65" creationId="{5274732C-2A03-4A87-815E-ECED85D1D57F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67" creationId="{CC3E5930-1DEF-4A47-9F0C-74BA10E1BCBF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68" creationId="{FBE8C5B2-D994-43BE-BA15-021B4ECA9ADD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70" creationId="{1DE35C79-B0D1-417E-975C-3A2BAD534C2A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71" creationId="{E2CD22FE-8A02-41E6-8715-3E238E01BC05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73" creationId="{DF6A5292-2261-48C1-B973-6C2345DC35BC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74" creationId="{24EECCBC-F2CF-456C-9214-740E325FC617}"/>
          </ac:spMkLst>
        </pc:spChg>
        <pc:spChg chg="mod">
          <ac:chgData name="Nikolaj Godsk Vestergaard" userId="13f6e931-e8bb-4f58-9241-2f10614c3355" providerId="ADAL" clId="{E4806A0B-DC8E-4AB6-B884-FF8A33E1EF07}" dt="2022-12-02T08:53:45.906" v="11126" actId="207"/>
          <ac:spMkLst>
            <pc:docMk/>
            <pc:sldMk cId="790945661" sldId="345"/>
            <ac:spMk id="76" creationId="{262EF69F-F9E9-4A2A-8D15-C4950449CA9D}"/>
          </ac:spMkLst>
        </pc:spChg>
        <pc:spChg chg="mod">
          <ac:chgData name="Nikolaj Godsk Vestergaard" userId="13f6e931-e8bb-4f58-9241-2f10614c3355" providerId="ADAL" clId="{E4806A0B-DC8E-4AB6-B884-FF8A33E1EF07}" dt="2022-12-02T08:51:58.120" v="11101"/>
          <ac:spMkLst>
            <pc:docMk/>
            <pc:sldMk cId="790945661" sldId="345"/>
            <ac:spMk id="77" creationId="{9D1E8920-0B3A-4BF1-A144-9376035C6977}"/>
          </ac:spMkLst>
        </pc:spChg>
        <pc:spChg chg="mod">
          <ac:chgData name="Nikolaj Godsk Vestergaard" userId="13f6e931-e8bb-4f58-9241-2f10614c3355" providerId="ADAL" clId="{E4806A0B-DC8E-4AB6-B884-FF8A33E1EF07}" dt="2022-11-28T15:35:58.919" v="8333" actId="207"/>
          <ac:spMkLst>
            <pc:docMk/>
            <pc:sldMk cId="790945661" sldId="345"/>
            <ac:spMk id="83" creationId="{FF2A2D53-481A-457F-96D8-2FB205F2BD79}"/>
          </ac:spMkLst>
        </pc:spChg>
        <pc:spChg chg="mod">
          <ac:chgData name="Nikolaj Godsk Vestergaard" userId="13f6e931-e8bb-4f58-9241-2f10614c3355" providerId="ADAL" clId="{E4806A0B-DC8E-4AB6-B884-FF8A33E1EF07}" dt="2022-11-28T15:35:47.711" v="8330" actId="207"/>
          <ac:spMkLst>
            <pc:docMk/>
            <pc:sldMk cId="790945661" sldId="345"/>
            <ac:spMk id="91" creationId="{4E67B2EC-F97C-441D-A5A4-53738D3C680C}"/>
          </ac:spMkLst>
        </pc:spChg>
        <pc:spChg chg="mod">
          <ac:chgData name="Nikolaj Godsk Vestergaard" userId="13f6e931-e8bb-4f58-9241-2f10614c3355" providerId="ADAL" clId="{E4806A0B-DC8E-4AB6-B884-FF8A33E1EF07}" dt="2022-11-28T15:35:54.187" v="8332" actId="207"/>
          <ac:spMkLst>
            <pc:docMk/>
            <pc:sldMk cId="790945661" sldId="345"/>
            <ac:spMk id="109" creationId="{5C69A71A-0EEB-467A-B370-DC147B2ECC22}"/>
          </ac:spMkLst>
        </pc:spChg>
        <pc:spChg chg="mod">
          <ac:chgData name="Nikolaj Godsk Vestergaard" userId="13f6e931-e8bb-4f58-9241-2f10614c3355" providerId="ADAL" clId="{E4806A0B-DC8E-4AB6-B884-FF8A33E1EF07}" dt="2022-11-28T15:35:50.389" v="8331" actId="207"/>
          <ac:spMkLst>
            <pc:docMk/>
            <pc:sldMk cId="790945661" sldId="345"/>
            <ac:spMk id="118" creationId="{5CAD4682-2B7C-44F2-9320-8DBE0294A856}"/>
          </ac:spMkLst>
        </pc:spChg>
        <pc:grpChg chg="add mod">
          <ac:chgData name="Nikolaj Godsk Vestergaard" userId="13f6e931-e8bb-4f58-9241-2f10614c3355" providerId="ADAL" clId="{E4806A0B-DC8E-4AB6-B884-FF8A33E1EF07}" dt="2022-12-02T08:51:58.120" v="11101"/>
          <ac:grpSpMkLst>
            <pc:docMk/>
            <pc:sldMk cId="790945661" sldId="345"/>
            <ac:grpSpMk id="41" creationId="{54722C6A-EA85-4B2D-A075-AC0D0CEBB376}"/>
          </ac:grpSpMkLst>
        </pc:grpChg>
        <pc:grpChg chg="add mod">
          <ac:chgData name="Nikolaj Godsk Vestergaard" userId="13f6e931-e8bb-4f58-9241-2f10614c3355" providerId="ADAL" clId="{E4806A0B-DC8E-4AB6-B884-FF8A33E1EF07}" dt="2022-12-02T08:51:58.120" v="11101"/>
          <ac:grpSpMkLst>
            <pc:docMk/>
            <pc:sldMk cId="790945661" sldId="345"/>
            <ac:grpSpMk id="52" creationId="{1C8429BC-3CE7-4BC5-AFF9-A685A35ADB7F}"/>
          </ac:grpSpMkLst>
        </pc:grpChg>
        <pc:grpChg chg="add mod">
          <ac:chgData name="Nikolaj Godsk Vestergaard" userId="13f6e931-e8bb-4f58-9241-2f10614c3355" providerId="ADAL" clId="{E4806A0B-DC8E-4AB6-B884-FF8A33E1EF07}" dt="2022-12-02T08:51:58.120" v="11101"/>
          <ac:grpSpMkLst>
            <pc:docMk/>
            <pc:sldMk cId="790945661" sldId="345"/>
            <ac:grpSpMk id="55" creationId="{8444B660-E82E-4CCC-BBF5-2FD9A5C50AC1}"/>
          </ac:grpSpMkLst>
        </pc:grpChg>
        <pc:grpChg chg="add mod">
          <ac:chgData name="Nikolaj Godsk Vestergaard" userId="13f6e931-e8bb-4f58-9241-2f10614c3355" providerId="ADAL" clId="{E4806A0B-DC8E-4AB6-B884-FF8A33E1EF07}" dt="2022-12-02T08:51:58.120" v="11101"/>
          <ac:grpSpMkLst>
            <pc:docMk/>
            <pc:sldMk cId="790945661" sldId="345"/>
            <ac:grpSpMk id="58" creationId="{2D2D4B10-B0BE-4838-98C2-F2F28D6A2A67}"/>
          </ac:grpSpMkLst>
        </pc:grpChg>
        <pc:grpChg chg="add mod">
          <ac:chgData name="Nikolaj Godsk Vestergaard" userId="13f6e931-e8bb-4f58-9241-2f10614c3355" providerId="ADAL" clId="{E4806A0B-DC8E-4AB6-B884-FF8A33E1EF07}" dt="2022-12-02T08:51:58.120" v="11101"/>
          <ac:grpSpMkLst>
            <pc:docMk/>
            <pc:sldMk cId="790945661" sldId="345"/>
            <ac:grpSpMk id="63" creationId="{B0FA3D60-87E7-4D17-BF9E-3E4D8C7B53DE}"/>
          </ac:grpSpMkLst>
        </pc:grpChg>
        <pc:grpChg chg="add mod">
          <ac:chgData name="Nikolaj Godsk Vestergaard" userId="13f6e931-e8bb-4f58-9241-2f10614c3355" providerId="ADAL" clId="{E4806A0B-DC8E-4AB6-B884-FF8A33E1EF07}" dt="2022-12-02T08:51:58.120" v="11101"/>
          <ac:grpSpMkLst>
            <pc:docMk/>
            <pc:sldMk cId="790945661" sldId="345"/>
            <ac:grpSpMk id="66" creationId="{7E418234-209A-4B5D-80DB-205F826374CF}"/>
          </ac:grpSpMkLst>
        </pc:grpChg>
        <pc:grpChg chg="add mod">
          <ac:chgData name="Nikolaj Godsk Vestergaard" userId="13f6e931-e8bb-4f58-9241-2f10614c3355" providerId="ADAL" clId="{E4806A0B-DC8E-4AB6-B884-FF8A33E1EF07}" dt="2022-12-02T08:51:58.120" v="11101"/>
          <ac:grpSpMkLst>
            <pc:docMk/>
            <pc:sldMk cId="790945661" sldId="345"/>
            <ac:grpSpMk id="69" creationId="{1FADAB4B-F52D-4260-92FF-2CB651B1446F}"/>
          </ac:grpSpMkLst>
        </pc:grpChg>
        <pc:grpChg chg="add mod">
          <ac:chgData name="Nikolaj Godsk Vestergaard" userId="13f6e931-e8bb-4f58-9241-2f10614c3355" providerId="ADAL" clId="{E4806A0B-DC8E-4AB6-B884-FF8A33E1EF07}" dt="2022-12-02T08:51:58.120" v="11101"/>
          <ac:grpSpMkLst>
            <pc:docMk/>
            <pc:sldMk cId="790945661" sldId="345"/>
            <ac:grpSpMk id="72" creationId="{01CB7B31-6572-424B-94C0-A7E5B357190E}"/>
          </ac:grpSpMkLst>
        </pc:grpChg>
        <pc:grpChg chg="add mod">
          <ac:chgData name="Nikolaj Godsk Vestergaard" userId="13f6e931-e8bb-4f58-9241-2f10614c3355" providerId="ADAL" clId="{E4806A0B-DC8E-4AB6-B884-FF8A33E1EF07}" dt="2022-12-02T08:51:58.120" v="11101"/>
          <ac:grpSpMkLst>
            <pc:docMk/>
            <pc:sldMk cId="790945661" sldId="345"/>
            <ac:grpSpMk id="75" creationId="{B9ED0D7B-817A-4F10-89D5-190AC8D2B845}"/>
          </ac:grpSpMkLst>
        </pc:grpChg>
        <pc:grpChg chg="del">
          <ac:chgData name="Nikolaj Godsk Vestergaard" userId="13f6e931-e8bb-4f58-9241-2f10614c3355" providerId="ADAL" clId="{E4806A0B-DC8E-4AB6-B884-FF8A33E1EF07}" dt="2022-12-02T08:51:57.690" v="11100" actId="478"/>
          <ac:grpSpMkLst>
            <pc:docMk/>
            <pc:sldMk cId="790945661" sldId="345"/>
            <ac:grpSpMk id="94" creationId="{1F009119-3C5A-4A63-94C0-F9F14DAFF9DD}"/>
          </ac:grpSpMkLst>
        </pc:grpChg>
        <pc:grpChg chg="del">
          <ac:chgData name="Nikolaj Godsk Vestergaard" userId="13f6e931-e8bb-4f58-9241-2f10614c3355" providerId="ADAL" clId="{E4806A0B-DC8E-4AB6-B884-FF8A33E1EF07}" dt="2022-12-02T08:51:57.690" v="11100" actId="478"/>
          <ac:grpSpMkLst>
            <pc:docMk/>
            <pc:sldMk cId="790945661" sldId="345"/>
            <ac:grpSpMk id="96" creationId="{ED19D752-8C44-4F34-8FD4-B08E5996CE96}"/>
          </ac:grpSpMkLst>
        </pc:grpChg>
        <pc:grpChg chg="del">
          <ac:chgData name="Nikolaj Godsk Vestergaard" userId="13f6e931-e8bb-4f58-9241-2f10614c3355" providerId="ADAL" clId="{E4806A0B-DC8E-4AB6-B884-FF8A33E1EF07}" dt="2022-12-02T08:51:57.690" v="11100" actId="478"/>
          <ac:grpSpMkLst>
            <pc:docMk/>
            <pc:sldMk cId="790945661" sldId="345"/>
            <ac:grpSpMk id="99" creationId="{23B86DBF-3F82-4008-8ED2-C4F0A4925F9D}"/>
          </ac:grpSpMkLst>
        </pc:grpChg>
        <pc:grpChg chg="del">
          <ac:chgData name="Nikolaj Godsk Vestergaard" userId="13f6e931-e8bb-4f58-9241-2f10614c3355" providerId="ADAL" clId="{E4806A0B-DC8E-4AB6-B884-FF8A33E1EF07}" dt="2022-12-02T08:51:57.690" v="11100" actId="478"/>
          <ac:grpSpMkLst>
            <pc:docMk/>
            <pc:sldMk cId="790945661" sldId="345"/>
            <ac:grpSpMk id="102" creationId="{21881C62-961A-4A9A-AAE3-73189C64CC82}"/>
          </ac:grpSpMkLst>
        </pc:grpChg>
        <pc:grpChg chg="del">
          <ac:chgData name="Nikolaj Godsk Vestergaard" userId="13f6e931-e8bb-4f58-9241-2f10614c3355" providerId="ADAL" clId="{E4806A0B-DC8E-4AB6-B884-FF8A33E1EF07}" dt="2022-12-02T08:51:57.690" v="11100" actId="478"/>
          <ac:grpSpMkLst>
            <pc:docMk/>
            <pc:sldMk cId="790945661" sldId="345"/>
            <ac:grpSpMk id="105" creationId="{79E81BFD-DC38-466C-B604-CD21DC9A8154}"/>
          </ac:grpSpMkLst>
        </pc:grpChg>
        <pc:grpChg chg="del">
          <ac:chgData name="Nikolaj Godsk Vestergaard" userId="13f6e931-e8bb-4f58-9241-2f10614c3355" providerId="ADAL" clId="{E4806A0B-DC8E-4AB6-B884-FF8A33E1EF07}" dt="2022-12-02T08:51:57.690" v="11100" actId="478"/>
          <ac:grpSpMkLst>
            <pc:docMk/>
            <pc:sldMk cId="790945661" sldId="345"/>
            <ac:grpSpMk id="108" creationId="{AD74393E-CAD2-44FA-B4A8-13ABAFD82BD7}"/>
          </ac:grpSpMkLst>
        </pc:grpChg>
        <pc:grpChg chg="del">
          <ac:chgData name="Nikolaj Godsk Vestergaard" userId="13f6e931-e8bb-4f58-9241-2f10614c3355" providerId="ADAL" clId="{E4806A0B-DC8E-4AB6-B884-FF8A33E1EF07}" dt="2022-12-02T08:51:57.690" v="11100" actId="478"/>
          <ac:grpSpMkLst>
            <pc:docMk/>
            <pc:sldMk cId="790945661" sldId="345"/>
            <ac:grpSpMk id="111" creationId="{EC52DF8E-5DB7-4238-99AB-B43296204167}"/>
          </ac:grpSpMkLst>
        </pc:grpChg>
        <pc:grpChg chg="del">
          <ac:chgData name="Nikolaj Godsk Vestergaard" userId="13f6e931-e8bb-4f58-9241-2f10614c3355" providerId="ADAL" clId="{E4806A0B-DC8E-4AB6-B884-FF8A33E1EF07}" dt="2022-12-02T08:51:57.690" v="11100" actId="478"/>
          <ac:grpSpMkLst>
            <pc:docMk/>
            <pc:sldMk cId="790945661" sldId="345"/>
            <ac:grpSpMk id="114" creationId="{23DBDD4F-E497-4FFD-9DDD-865BE5ABD3D7}"/>
          </ac:grpSpMkLst>
        </pc:grpChg>
        <pc:grpChg chg="del">
          <ac:chgData name="Nikolaj Godsk Vestergaard" userId="13f6e931-e8bb-4f58-9241-2f10614c3355" providerId="ADAL" clId="{E4806A0B-DC8E-4AB6-B884-FF8A33E1EF07}" dt="2022-12-02T08:51:57.690" v="11100" actId="478"/>
          <ac:grpSpMkLst>
            <pc:docMk/>
            <pc:sldMk cId="790945661" sldId="345"/>
            <ac:grpSpMk id="117" creationId="{6874C2CE-D23C-4CF2-BC7A-4C430FBAE512}"/>
          </ac:grpSpMkLst>
        </pc:grpChg>
        <pc:graphicFrameChg chg="mod">
          <ac:chgData name="Nikolaj Godsk Vestergaard" userId="13f6e931-e8bb-4f58-9241-2f10614c3355" providerId="ADAL" clId="{E4806A0B-DC8E-4AB6-B884-FF8A33E1EF07}" dt="2022-11-28T15:59:55.710" v="10284"/>
          <ac:graphicFrameMkLst>
            <pc:docMk/>
            <pc:sldMk cId="790945661" sldId="345"/>
            <ac:graphicFrameMk id="6" creationId="{2CA615AF-F9B8-4523-BF47-85C929EE8B61}"/>
          </ac:graphicFrameMkLst>
        </pc:graphicFrameChg>
      </pc:sldChg>
      <pc:sldChg chg="addSp delSp modSp add mod ord">
        <pc:chgData name="Nikolaj Godsk Vestergaard" userId="13f6e931-e8bb-4f58-9241-2f10614c3355" providerId="ADAL" clId="{E4806A0B-DC8E-4AB6-B884-FF8A33E1EF07}" dt="2022-12-02T08:54:09.696" v="11131" actId="207"/>
        <pc:sldMkLst>
          <pc:docMk/>
          <pc:sldMk cId="1584598773" sldId="346"/>
        </pc:sldMkLst>
        <pc:spChg chg="mod">
          <ac:chgData name="Nikolaj Godsk Vestergaard" userId="13f6e931-e8bb-4f58-9241-2f10614c3355" providerId="ADAL" clId="{E4806A0B-DC8E-4AB6-B884-FF8A33E1EF07}" dt="2022-11-28T15:36:15.200" v="8357" actId="948"/>
          <ac:spMkLst>
            <pc:docMk/>
            <pc:sldMk cId="1584598773" sldId="346"/>
            <ac:spMk id="2" creationId="{0F8BF24F-A2E6-4CF6-8D40-59F7B68CAF25}"/>
          </ac:spMkLst>
        </pc:spChg>
        <pc:spChg chg="add del mod modVis">
          <ac:chgData name="Nikolaj Godsk Vestergaard" userId="13f6e931-e8bb-4f58-9241-2f10614c3355" providerId="ADAL" clId="{E4806A0B-DC8E-4AB6-B884-FF8A33E1EF07}" dt="2022-11-28T15:36:15.256" v="8397"/>
          <ac:spMkLst>
            <pc:docMk/>
            <pc:sldMk cId="1584598773" sldId="346"/>
            <ac:spMk id="3" creationId="{D99101A4-697C-4095-8A43-59A7ED45159F}"/>
          </ac:spMkLst>
        </pc:spChg>
        <pc:spChg chg="add 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40" creationId="{0F2F25D0-6A11-43F2-9430-142C6321531B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42" creationId="{B3C0C38C-E3BA-4C30-89C2-ABF881F050DF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43" creationId="{146ACEB9-662C-424D-900B-19B0DF85E87F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44" creationId="{5A60B03D-49E7-4E4A-86DB-0F076D4435CC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45" creationId="{712C6F69-DA71-4F01-BF12-AECE44EDCEF7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46" creationId="{F9EFB114-8761-47AA-BBE8-97E836327F88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47" creationId="{0E3E2567-1311-4F64-8AC2-E573DEB225BF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48" creationId="{E15FD762-2C81-4CA2-A78E-A348E8C1D893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49" creationId="{8C65F02E-82D1-48A6-A8F8-FAE102CF598D}"/>
          </ac:spMkLst>
        </pc:spChg>
        <pc:spChg chg="mod">
          <ac:chgData name="Nikolaj Godsk Vestergaard" userId="13f6e931-e8bb-4f58-9241-2f10614c3355" providerId="ADAL" clId="{E4806A0B-DC8E-4AB6-B884-FF8A33E1EF07}" dt="2022-12-02T08:53:55.783" v="11128" actId="207"/>
          <ac:spMkLst>
            <pc:docMk/>
            <pc:sldMk cId="1584598773" sldId="346"/>
            <ac:spMk id="50" creationId="{249AA565-719F-4575-9365-937B833A9771}"/>
          </ac:spMkLst>
        </pc:spChg>
        <pc:spChg chg="mod">
          <ac:chgData name="Nikolaj Godsk Vestergaard" userId="13f6e931-e8bb-4f58-9241-2f10614c3355" providerId="ADAL" clId="{E4806A0B-DC8E-4AB6-B884-FF8A33E1EF07}" dt="2022-12-02T08:54:09.696" v="11131" actId="207"/>
          <ac:spMkLst>
            <pc:docMk/>
            <pc:sldMk cId="1584598773" sldId="346"/>
            <ac:spMk id="51" creationId="{1BEE1D6F-2825-4648-9DC4-A3927685048D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53" creationId="{996BA6BC-7017-4313-9483-07EB9EFC592F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54" creationId="{98816216-BB08-426D-825B-D7954B129D37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56" creationId="{C65907AC-4900-4211-9603-C7053FBAC4B8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57" creationId="{37E8A172-00A3-4902-85BE-B801A9C04744}"/>
          </ac:spMkLst>
        </pc:spChg>
        <pc:spChg chg="mod">
          <ac:chgData name="Nikolaj Godsk Vestergaard" userId="13f6e931-e8bb-4f58-9241-2f10614c3355" providerId="ADAL" clId="{E4806A0B-DC8E-4AB6-B884-FF8A33E1EF07}" dt="2022-12-02T08:54:02.405" v="11129" actId="207"/>
          <ac:spMkLst>
            <pc:docMk/>
            <pc:sldMk cId="1584598773" sldId="346"/>
            <ac:spMk id="59" creationId="{FDCAB49A-9AD3-43BF-85EE-971AD3432C78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60" creationId="{E7B98AFE-EF3A-441F-A1B7-645AED7D420B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64" creationId="{420486CB-29BA-46A9-8046-B9242F8B9C8D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65" creationId="{D06DD5DB-0AE3-49E4-BB42-A527ADE916E6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67" creationId="{09463C07-B550-4564-9729-6A89E8A99A4D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68" creationId="{69DAA0FA-CB2D-4A52-B689-26A98D72CCC6}"/>
          </ac:spMkLst>
        </pc:spChg>
        <pc:spChg chg="mod">
          <ac:chgData name="Nikolaj Godsk Vestergaard" userId="13f6e931-e8bb-4f58-9241-2f10614c3355" providerId="ADAL" clId="{E4806A0B-DC8E-4AB6-B884-FF8A33E1EF07}" dt="2022-12-02T08:54:05.837" v="11130" actId="207"/>
          <ac:spMkLst>
            <pc:docMk/>
            <pc:sldMk cId="1584598773" sldId="346"/>
            <ac:spMk id="70" creationId="{0A8E4770-0229-4AD8-9D7E-A4364DB0AAB8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71" creationId="{156AF0BA-EBA1-49E7-83D2-C1CD252D882C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73" creationId="{C2DBC522-3BDD-47F4-A12F-30F963C1F14D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74" creationId="{08189606-B5D7-4C97-A885-48B5C5601F0F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76" creationId="{2CC38E7D-DCDA-498B-A90F-2E93AC2E82BF}"/>
          </ac:spMkLst>
        </pc:spChg>
        <pc:spChg chg="mod">
          <ac:chgData name="Nikolaj Godsk Vestergaard" userId="13f6e931-e8bb-4f58-9241-2f10614c3355" providerId="ADAL" clId="{E4806A0B-DC8E-4AB6-B884-FF8A33E1EF07}" dt="2022-12-02T08:52:04.762" v="11103"/>
          <ac:spMkLst>
            <pc:docMk/>
            <pc:sldMk cId="1584598773" sldId="346"/>
            <ac:spMk id="77" creationId="{03C16612-DE2F-49B5-AF7C-D0759B2A8044}"/>
          </ac:spMkLst>
        </pc:spChg>
        <pc:spChg chg="mod">
          <ac:chgData name="Nikolaj Godsk Vestergaard" userId="13f6e931-e8bb-4f58-9241-2f10614c3355" providerId="ADAL" clId="{E4806A0B-DC8E-4AB6-B884-FF8A33E1EF07}" dt="2022-11-28T15:36:18.471" v="8400" actId="207"/>
          <ac:spMkLst>
            <pc:docMk/>
            <pc:sldMk cId="1584598773" sldId="346"/>
            <ac:spMk id="91" creationId="{4E67B2EC-F97C-441D-A5A4-53738D3C680C}"/>
          </ac:spMkLst>
        </pc:spChg>
        <pc:spChg chg="mod">
          <ac:chgData name="Nikolaj Godsk Vestergaard" userId="13f6e931-e8bb-4f58-9241-2f10614c3355" providerId="ADAL" clId="{E4806A0B-DC8E-4AB6-B884-FF8A33E1EF07}" dt="2022-11-28T15:36:28.443" v="8403" actId="207"/>
          <ac:spMkLst>
            <pc:docMk/>
            <pc:sldMk cId="1584598773" sldId="346"/>
            <ac:spMk id="93" creationId="{29A583BF-D940-40B1-A6FA-C775E7BB420B}"/>
          </ac:spMkLst>
        </pc:spChg>
        <pc:spChg chg="mod">
          <ac:chgData name="Nikolaj Godsk Vestergaard" userId="13f6e931-e8bb-4f58-9241-2f10614c3355" providerId="ADAL" clId="{E4806A0B-DC8E-4AB6-B884-FF8A33E1EF07}" dt="2022-11-28T15:36:24.589" v="8402" actId="207"/>
          <ac:spMkLst>
            <pc:docMk/>
            <pc:sldMk cId="1584598773" sldId="346"/>
            <ac:spMk id="112" creationId="{2BF0CFD7-A748-42C9-9535-49457A47DB78}"/>
          </ac:spMkLst>
        </pc:spChg>
        <pc:spChg chg="mod">
          <ac:chgData name="Nikolaj Godsk Vestergaard" userId="13f6e931-e8bb-4f58-9241-2f10614c3355" providerId="ADAL" clId="{E4806A0B-DC8E-4AB6-B884-FF8A33E1EF07}" dt="2022-11-28T15:36:21.645" v="8401" actId="207"/>
          <ac:spMkLst>
            <pc:docMk/>
            <pc:sldMk cId="1584598773" sldId="346"/>
            <ac:spMk id="118" creationId="{5CAD4682-2B7C-44F2-9320-8DBE0294A856}"/>
          </ac:spMkLst>
        </pc:spChg>
        <pc:grpChg chg="add mod">
          <ac:chgData name="Nikolaj Godsk Vestergaard" userId="13f6e931-e8bb-4f58-9241-2f10614c3355" providerId="ADAL" clId="{E4806A0B-DC8E-4AB6-B884-FF8A33E1EF07}" dt="2022-12-02T08:52:04.762" v="11103"/>
          <ac:grpSpMkLst>
            <pc:docMk/>
            <pc:sldMk cId="1584598773" sldId="346"/>
            <ac:grpSpMk id="41" creationId="{E9AC88E0-B7A3-4364-AF1F-D0557F9FC54E}"/>
          </ac:grpSpMkLst>
        </pc:grpChg>
        <pc:grpChg chg="add mod">
          <ac:chgData name="Nikolaj Godsk Vestergaard" userId="13f6e931-e8bb-4f58-9241-2f10614c3355" providerId="ADAL" clId="{E4806A0B-DC8E-4AB6-B884-FF8A33E1EF07}" dt="2022-12-02T08:52:04.762" v="11103"/>
          <ac:grpSpMkLst>
            <pc:docMk/>
            <pc:sldMk cId="1584598773" sldId="346"/>
            <ac:grpSpMk id="52" creationId="{05CBC451-6F86-41E3-A1A1-1B0C53A258A1}"/>
          </ac:grpSpMkLst>
        </pc:grpChg>
        <pc:grpChg chg="add mod">
          <ac:chgData name="Nikolaj Godsk Vestergaard" userId="13f6e931-e8bb-4f58-9241-2f10614c3355" providerId="ADAL" clId="{E4806A0B-DC8E-4AB6-B884-FF8A33E1EF07}" dt="2022-12-02T08:52:04.762" v="11103"/>
          <ac:grpSpMkLst>
            <pc:docMk/>
            <pc:sldMk cId="1584598773" sldId="346"/>
            <ac:grpSpMk id="55" creationId="{3A0AEC43-F47F-49ED-9EF0-2BF8256423EE}"/>
          </ac:grpSpMkLst>
        </pc:grpChg>
        <pc:grpChg chg="add mod">
          <ac:chgData name="Nikolaj Godsk Vestergaard" userId="13f6e931-e8bb-4f58-9241-2f10614c3355" providerId="ADAL" clId="{E4806A0B-DC8E-4AB6-B884-FF8A33E1EF07}" dt="2022-12-02T08:52:04.762" v="11103"/>
          <ac:grpSpMkLst>
            <pc:docMk/>
            <pc:sldMk cId="1584598773" sldId="346"/>
            <ac:grpSpMk id="58" creationId="{459F8ECB-66FF-46AB-9494-F073D9D05D23}"/>
          </ac:grpSpMkLst>
        </pc:grpChg>
        <pc:grpChg chg="add mod">
          <ac:chgData name="Nikolaj Godsk Vestergaard" userId="13f6e931-e8bb-4f58-9241-2f10614c3355" providerId="ADAL" clId="{E4806A0B-DC8E-4AB6-B884-FF8A33E1EF07}" dt="2022-12-02T08:52:04.762" v="11103"/>
          <ac:grpSpMkLst>
            <pc:docMk/>
            <pc:sldMk cId="1584598773" sldId="346"/>
            <ac:grpSpMk id="63" creationId="{885110C6-6659-4A82-B402-B444E71131B3}"/>
          </ac:grpSpMkLst>
        </pc:grpChg>
        <pc:grpChg chg="add mod">
          <ac:chgData name="Nikolaj Godsk Vestergaard" userId="13f6e931-e8bb-4f58-9241-2f10614c3355" providerId="ADAL" clId="{E4806A0B-DC8E-4AB6-B884-FF8A33E1EF07}" dt="2022-12-02T08:52:04.762" v="11103"/>
          <ac:grpSpMkLst>
            <pc:docMk/>
            <pc:sldMk cId="1584598773" sldId="346"/>
            <ac:grpSpMk id="66" creationId="{DB003649-5314-42CE-BD20-4D43E5CFD2D7}"/>
          </ac:grpSpMkLst>
        </pc:grpChg>
        <pc:grpChg chg="add mod">
          <ac:chgData name="Nikolaj Godsk Vestergaard" userId="13f6e931-e8bb-4f58-9241-2f10614c3355" providerId="ADAL" clId="{E4806A0B-DC8E-4AB6-B884-FF8A33E1EF07}" dt="2022-12-02T08:52:04.762" v="11103"/>
          <ac:grpSpMkLst>
            <pc:docMk/>
            <pc:sldMk cId="1584598773" sldId="346"/>
            <ac:grpSpMk id="69" creationId="{631A0FDA-D4EA-4464-ABB7-1E3198C68D79}"/>
          </ac:grpSpMkLst>
        </pc:grpChg>
        <pc:grpChg chg="add mod">
          <ac:chgData name="Nikolaj Godsk Vestergaard" userId="13f6e931-e8bb-4f58-9241-2f10614c3355" providerId="ADAL" clId="{E4806A0B-DC8E-4AB6-B884-FF8A33E1EF07}" dt="2022-12-02T08:52:04.762" v="11103"/>
          <ac:grpSpMkLst>
            <pc:docMk/>
            <pc:sldMk cId="1584598773" sldId="346"/>
            <ac:grpSpMk id="72" creationId="{93F8BF9C-1F94-4F8C-A13A-A5F3A776989B}"/>
          </ac:grpSpMkLst>
        </pc:grpChg>
        <pc:grpChg chg="add mod">
          <ac:chgData name="Nikolaj Godsk Vestergaard" userId="13f6e931-e8bb-4f58-9241-2f10614c3355" providerId="ADAL" clId="{E4806A0B-DC8E-4AB6-B884-FF8A33E1EF07}" dt="2022-12-02T08:52:04.762" v="11103"/>
          <ac:grpSpMkLst>
            <pc:docMk/>
            <pc:sldMk cId="1584598773" sldId="346"/>
            <ac:grpSpMk id="75" creationId="{A1FBE61E-BF50-48D2-997E-038F63DC7C43}"/>
          </ac:grpSpMkLst>
        </pc:grpChg>
        <pc:grpChg chg="del">
          <ac:chgData name="Nikolaj Godsk Vestergaard" userId="13f6e931-e8bb-4f58-9241-2f10614c3355" providerId="ADAL" clId="{E4806A0B-DC8E-4AB6-B884-FF8A33E1EF07}" dt="2022-12-02T08:52:04.476" v="11102" actId="478"/>
          <ac:grpSpMkLst>
            <pc:docMk/>
            <pc:sldMk cId="1584598773" sldId="346"/>
            <ac:grpSpMk id="94" creationId="{1F009119-3C5A-4A63-94C0-F9F14DAFF9DD}"/>
          </ac:grpSpMkLst>
        </pc:grpChg>
        <pc:grpChg chg="del">
          <ac:chgData name="Nikolaj Godsk Vestergaard" userId="13f6e931-e8bb-4f58-9241-2f10614c3355" providerId="ADAL" clId="{E4806A0B-DC8E-4AB6-B884-FF8A33E1EF07}" dt="2022-12-02T08:52:04.476" v="11102" actId="478"/>
          <ac:grpSpMkLst>
            <pc:docMk/>
            <pc:sldMk cId="1584598773" sldId="346"/>
            <ac:grpSpMk id="96" creationId="{ED19D752-8C44-4F34-8FD4-B08E5996CE96}"/>
          </ac:grpSpMkLst>
        </pc:grpChg>
        <pc:grpChg chg="del">
          <ac:chgData name="Nikolaj Godsk Vestergaard" userId="13f6e931-e8bb-4f58-9241-2f10614c3355" providerId="ADAL" clId="{E4806A0B-DC8E-4AB6-B884-FF8A33E1EF07}" dt="2022-12-02T08:52:04.476" v="11102" actId="478"/>
          <ac:grpSpMkLst>
            <pc:docMk/>
            <pc:sldMk cId="1584598773" sldId="346"/>
            <ac:grpSpMk id="99" creationId="{23B86DBF-3F82-4008-8ED2-C4F0A4925F9D}"/>
          </ac:grpSpMkLst>
        </pc:grpChg>
        <pc:grpChg chg="del">
          <ac:chgData name="Nikolaj Godsk Vestergaard" userId="13f6e931-e8bb-4f58-9241-2f10614c3355" providerId="ADAL" clId="{E4806A0B-DC8E-4AB6-B884-FF8A33E1EF07}" dt="2022-12-02T08:52:04.476" v="11102" actId="478"/>
          <ac:grpSpMkLst>
            <pc:docMk/>
            <pc:sldMk cId="1584598773" sldId="346"/>
            <ac:grpSpMk id="102" creationId="{21881C62-961A-4A9A-AAE3-73189C64CC82}"/>
          </ac:grpSpMkLst>
        </pc:grpChg>
        <pc:grpChg chg="del">
          <ac:chgData name="Nikolaj Godsk Vestergaard" userId="13f6e931-e8bb-4f58-9241-2f10614c3355" providerId="ADAL" clId="{E4806A0B-DC8E-4AB6-B884-FF8A33E1EF07}" dt="2022-12-02T08:52:04.476" v="11102" actId="478"/>
          <ac:grpSpMkLst>
            <pc:docMk/>
            <pc:sldMk cId="1584598773" sldId="346"/>
            <ac:grpSpMk id="105" creationId="{79E81BFD-DC38-466C-B604-CD21DC9A8154}"/>
          </ac:grpSpMkLst>
        </pc:grpChg>
        <pc:grpChg chg="del">
          <ac:chgData name="Nikolaj Godsk Vestergaard" userId="13f6e931-e8bb-4f58-9241-2f10614c3355" providerId="ADAL" clId="{E4806A0B-DC8E-4AB6-B884-FF8A33E1EF07}" dt="2022-12-02T08:52:04.476" v="11102" actId="478"/>
          <ac:grpSpMkLst>
            <pc:docMk/>
            <pc:sldMk cId="1584598773" sldId="346"/>
            <ac:grpSpMk id="108" creationId="{AD74393E-CAD2-44FA-B4A8-13ABAFD82BD7}"/>
          </ac:grpSpMkLst>
        </pc:grpChg>
        <pc:grpChg chg="del">
          <ac:chgData name="Nikolaj Godsk Vestergaard" userId="13f6e931-e8bb-4f58-9241-2f10614c3355" providerId="ADAL" clId="{E4806A0B-DC8E-4AB6-B884-FF8A33E1EF07}" dt="2022-12-02T08:52:04.476" v="11102" actId="478"/>
          <ac:grpSpMkLst>
            <pc:docMk/>
            <pc:sldMk cId="1584598773" sldId="346"/>
            <ac:grpSpMk id="111" creationId="{EC52DF8E-5DB7-4238-99AB-B43296204167}"/>
          </ac:grpSpMkLst>
        </pc:grpChg>
        <pc:grpChg chg="del">
          <ac:chgData name="Nikolaj Godsk Vestergaard" userId="13f6e931-e8bb-4f58-9241-2f10614c3355" providerId="ADAL" clId="{E4806A0B-DC8E-4AB6-B884-FF8A33E1EF07}" dt="2022-12-02T08:52:04.476" v="11102" actId="478"/>
          <ac:grpSpMkLst>
            <pc:docMk/>
            <pc:sldMk cId="1584598773" sldId="346"/>
            <ac:grpSpMk id="114" creationId="{23DBDD4F-E497-4FFD-9DDD-865BE5ABD3D7}"/>
          </ac:grpSpMkLst>
        </pc:grpChg>
        <pc:grpChg chg="del">
          <ac:chgData name="Nikolaj Godsk Vestergaard" userId="13f6e931-e8bb-4f58-9241-2f10614c3355" providerId="ADAL" clId="{E4806A0B-DC8E-4AB6-B884-FF8A33E1EF07}" dt="2022-12-02T08:52:04.476" v="11102" actId="478"/>
          <ac:grpSpMkLst>
            <pc:docMk/>
            <pc:sldMk cId="1584598773" sldId="346"/>
            <ac:grpSpMk id="117" creationId="{6874C2CE-D23C-4CF2-BC7A-4C430FBAE512}"/>
          </ac:grpSpMkLst>
        </pc:grpChg>
        <pc:graphicFrameChg chg="mod">
          <ac:chgData name="Nikolaj Godsk Vestergaard" userId="13f6e931-e8bb-4f58-9241-2f10614c3355" providerId="ADAL" clId="{E4806A0B-DC8E-4AB6-B884-FF8A33E1EF07}" dt="2022-11-28T15:36:15.258" v="8399"/>
          <ac:graphicFrameMkLst>
            <pc:docMk/>
            <pc:sldMk cId="1584598773" sldId="346"/>
            <ac:graphicFrameMk id="6" creationId="{2CA615AF-F9B8-4523-BF47-85C929EE8B61}"/>
          </ac:graphicFrameMkLst>
        </pc:graphicFrameChg>
      </pc:sldChg>
      <pc:sldChg chg="addSp delSp modSp add mod delCm">
        <pc:chgData name="Nikolaj Godsk Vestergaard" userId="13f6e931-e8bb-4f58-9241-2f10614c3355" providerId="ADAL" clId="{E4806A0B-DC8E-4AB6-B884-FF8A33E1EF07}" dt="2022-12-02T10:27:58.366" v="12284" actId="1076"/>
        <pc:sldMkLst>
          <pc:docMk/>
          <pc:sldMk cId="2085250317" sldId="347"/>
        </pc:sldMkLst>
        <pc:spChg chg="mod">
          <ac:chgData name="Nikolaj Godsk Vestergaard" userId="13f6e931-e8bb-4f58-9241-2f10614c3355" providerId="ADAL" clId="{E4806A0B-DC8E-4AB6-B884-FF8A33E1EF07}" dt="2022-11-28T15:47:44.149" v="8803" actId="20577"/>
          <ac:spMkLst>
            <pc:docMk/>
            <pc:sldMk cId="2085250317" sldId="347"/>
            <ac:spMk id="7" creationId="{27C30AB3-064D-441B-A9D9-D1F3413F87C2}"/>
          </ac:spMkLst>
        </pc:spChg>
        <pc:spChg chg="add mod">
          <ac:chgData name="Nikolaj Godsk Vestergaard" userId="13f6e931-e8bb-4f58-9241-2f10614c3355" providerId="ADAL" clId="{E4806A0B-DC8E-4AB6-B884-FF8A33E1EF07}" dt="2022-12-02T10:27:58.366" v="12284" actId="1076"/>
          <ac:spMkLst>
            <pc:docMk/>
            <pc:sldMk cId="2085250317" sldId="347"/>
            <ac:spMk id="10" creationId="{FE4F67D4-34BD-4D42-8101-64E942117DFA}"/>
          </ac:spMkLst>
        </pc:spChg>
        <pc:spChg chg="add del mod">
          <ac:chgData name="Nikolaj Godsk Vestergaard" userId="13f6e931-e8bb-4f58-9241-2f10614c3355" providerId="ADAL" clId="{E4806A0B-DC8E-4AB6-B884-FF8A33E1EF07}" dt="2022-12-02T10:27:58.366" v="12284" actId="1076"/>
          <ac:spMkLst>
            <pc:docMk/>
            <pc:sldMk cId="2085250317" sldId="347"/>
            <ac:spMk id="22" creationId="{A8916DC6-5398-4A09-AF36-6DA76F62CE3F}"/>
          </ac:spMkLst>
        </pc:spChg>
        <pc:spChg chg="mod">
          <ac:chgData name="Nikolaj Godsk Vestergaard" userId="13f6e931-e8bb-4f58-9241-2f10614c3355" providerId="ADAL" clId="{E4806A0B-DC8E-4AB6-B884-FF8A33E1EF07}" dt="2022-12-02T10:27:58.366" v="12284" actId="1076"/>
          <ac:spMkLst>
            <pc:docMk/>
            <pc:sldMk cId="2085250317" sldId="347"/>
            <ac:spMk id="25" creationId="{EDA2C9DA-AA0E-4900-AD2F-E52580846E8D}"/>
          </ac:spMkLst>
        </pc:spChg>
        <pc:spChg chg="mod">
          <ac:chgData name="Nikolaj Godsk Vestergaard" userId="13f6e931-e8bb-4f58-9241-2f10614c3355" providerId="ADAL" clId="{E4806A0B-DC8E-4AB6-B884-FF8A33E1EF07}" dt="2022-12-02T10:27:58.366" v="12284" actId="1076"/>
          <ac:spMkLst>
            <pc:docMk/>
            <pc:sldMk cId="2085250317" sldId="347"/>
            <ac:spMk id="28" creationId="{C9C8853F-9B19-4599-9846-37DE71762DBA}"/>
          </ac:spMkLst>
        </pc:spChg>
        <pc:spChg chg="add del mod">
          <ac:chgData name="Nikolaj Godsk Vestergaard" userId="13f6e931-e8bb-4f58-9241-2f10614c3355" providerId="ADAL" clId="{E4806A0B-DC8E-4AB6-B884-FF8A33E1EF07}" dt="2022-12-02T10:27:58.366" v="12284" actId="1076"/>
          <ac:spMkLst>
            <pc:docMk/>
            <pc:sldMk cId="2085250317" sldId="347"/>
            <ac:spMk id="30" creationId="{BC46319C-8AE6-4A31-95E2-BC1DDD2382F5}"/>
          </ac:spMkLst>
        </pc:spChg>
        <pc:spChg chg="add del mod">
          <ac:chgData name="Nikolaj Godsk Vestergaard" userId="13f6e931-e8bb-4f58-9241-2f10614c3355" providerId="ADAL" clId="{E4806A0B-DC8E-4AB6-B884-FF8A33E1EF07}" dt="2022-12-02T10:27:58.366" v="12284" actId="1076"/>
          <ac:spMkLst>
            <pc:docMk/>
            <pc:sldMk cId="2085250317" sldId="347"/>
            <ac:spMk id="34" creationId="{2DF2090F-B6D0-440A-B4EE-EA7B3F59241C}"/>
          </ac:spMkLst>
        </pc:spChg>
      </pc:sldChg>
      <pc:sldChg chg="addSp delSp modSp add mod modCm">
        <pc:chgData name="Nikolaj Godsk Vestergaard" userId="13f6e931-e8bb-4f58-9241-2f10614c3355" providerId="ADAL" clId="{E4806A0B-DC8E-4AB6-B884-FF8A33E1EF07}" dt="2022-12-02T11:50:04.921" v="13592" actId="20577"/>
        <pc:sldMkLst>
          <pc:docMk/>
          <pc:sldMk cId="3860365020" sldId="348"/>
        </pc:sldMkLst>
        <pc:spChg chg="del mod">
          <ac:chgData name="Nikolaj Godsk Vestergaard" userId="13f6e931-e8bb-4f58-9241-2f10614c3355" providerId="ADAL" clId="{E4806A0B-DC8E-4AB6-B884-FF8A33E1EF07}" dt="2022-12-02T10:28:59.519" v="12285" actId="478"/>
          <ac:spMkLst>
            <pc:docMk/>
            <pc:sldMk cId="3860365020" sldId="348"/>
            <ac:spMk id="7" creationId="{27C30AB3-064D-441B-A9D9-D1F3413F87C2}"/>
          </ac:spMkLst>
        </pc:spChg>
        <pc:spChg chg="del mod">
          <ac:chgData name="Nikolaj Godsk Vestergaard" userId="13f6e931-e8bb-4f58-9241-2f10614c3355" providerId="ADAL" clId="{E4806A0B-DC8E-4AB6-B884-FF8A33E1EF07}" dt="2022-12-02T10:29:55.016" v="12292" actId="478"/>
          <ac:spMkLst>
            <pc:docMk/>
            <pc:sldMk cId="3860365020" sldId="348"/>
            <ac:spMk id="10" creationId="{21109319-0CC7-4DF1-84F6-3A269736EED2}"/>
          </ac:spMkLst>
        </pc:spChg>
        <pc:spChg chg="mod">
          <ac:chgData name="Nikolaj Godsk Vestergaard" userId="13f6e931-e8bb-4f58-9241-2f10614c3355" providerId="ADAL" clId="{E4806A0B-DC8E-4AB6-B884-FF8A33E1EF07}" dt="2022-12-02T11:50:04.921" v="13592" actId="20577"/>
          <ac:spMkLst>
            <pc:docMk/>
            <pc:sldMk cId="3860365020" sldId="348"/>
            <ac:spMk id="11" creationId="{F2237923-C517-4E64-BA44-64D3957B8269}"/>
          </ac:spMkLst>
        </pc:spChg>
        <pc:spChg chg="add del mod">
          <ac:chgData name="Nikolaj Godsk Vestergaard" userId="13f6e931-e8bb-4f58-9241-2f10614c3355" providerId="ADAL" clId="{E4806A0B-DC8E-4AB6-B884-FF8A33E1EF07}" dt="2022-12-02T10:29:55.016" v="12292" actId="478"/>
          <ac:spMkLst>
            <pc:docMk/>
            <pc:sldMk cId="3860365020" sldId="348"/>
            <ac:spMk id="12" creationId="{8F4B76D4-CD81-4686-BE24-11B085E78F71}"/>
          </ac:spMkLst>
        </pc:spChg>
        <pc:spChg chg="add mod">
          <ac:chgData name="Nikolaj Godsk Vestergaard" userId="13f6e931-e8bb-4f58-9241-2f10614c3355" providerId="ADAL" clId="{E4806A0B-DC8E-4AB6-B884-FF8A33E1EF07}" dt="2022-12-02T11:14:49.517" v="12328" actId="20577"/>
          <ac:spMkLst>
            <pc:docMk/>
            <pc:sldMk cId="3860365020" sldId="348"/>
            <ac:spMk id="13" creationId="{2FC28857-6AB4-4EBD-BE8D-30FD8BCBACF4}"/>
          </ac:spMkLst>
        </pc:spChg>
        <pc:spChg chg="add mod">
          <ac:chgData name="Nikolaj Godsk Vestergaard" userId="13f6e931-e8bb-4f58-9241-2f10614c3355" providerId="ADAL" clId="{E4806A0B-DC8E-4AB6-B884-FF8A33E1EF07}" dt="2022-12-02T10:29:40.481" v="12290" actId="207"/>
          <ac:spMkLst>
            <pc:docMk/>
            <pc:sldMk cId="3860365020" sldId="348"/>
            <ac:spMk id="14" creationId="{F798AB2F-4FFF-4E24-808F-EE9763DA7283}"/>
          </ac:spMkLst>
        </pc:spChg>
        <pc:spChg chg="add mod">
          <ac:chgData name="Nikolaj Godsk Vestergaard" userId="13f6e931-e8bb-4f58-9241-2f10614c3355" providerId="ADAL" clId="{E4806A0B-DC8E-4AB6-B884-FF8A33E1EF07}" dt="2022-12-02T10:29:10.625" v="12286"/>
          <ac:spMkLst>
            <pc:docMk/>
            <pc:sldMk cId="3860365020" sldId="348"/>
            <ac:spMk id="15" creationId="{7B391B04-476D-458D-A2D5-18F6BC2496A7}"/>
          </ac:spMkLst>
        </pc:spChg>
        <pc:spChg chg="add mod">
          <ac:chgData name="Nikolaj Godsk Vestergaard" userId="13f6e931-e8bb-4f58-9241-2f10614c3355" providerId="ADAL" clId="{E4806A0B-DC8E-4AB6-B884-FF8A33E1EF07}" dt="2022-12-02T10:29:10.625" v="12286"/>
          <ac:spMkLst>
            <pc:docMk/>
            <pc:sldMk cId="3860365020" sldId="348"/>
            <ac:spMk id="16" creationId="{2AF1504E-C4B5-4C61-9CDA-04780381566F}"/>
          </ac:spMkLst>
        </pc:spChg>
        <pc:spChg chg="add mod">
          <ac:chgData name="Nikolaj Godsk Vestergaard" userId="13f6e931-e8bb-4f58-9241-2f10614c3355" providerId="ADAL" clId="{E4806A0B-DC8E-4AB6-B884-FF8A33E1EF07}" dt="2022-12-02T10:29:29.203" v="12288" actId="571"/>
          <ac:spMkLst>
            <pc:docMk/>
            <pc:sldMk cId="3860365020" sldId="348"/>
            <ac:spMk id="17" creationId="{1EDE7980-4592-4497-8A26-31ED0F43B8E6}"/>
          </ac:spMkLst>
        </pc:spChg>
        <pc:spChg chg="del">
          <ac:chgData name="Nikolaj Godsk Vestergaard" userId="13f6e931-e8bb-4f58-9241-2f10614c3355" providerId="ADAL" clId="{E4806A0B-DC8E-4AB6-B884-FF8A33E1EF07}" dt="2022-12-02T10:29:55.016" v="12292" actId="478"/>
          <ac:spMkLst>
            <pc:docMk/>
            <pc:sldMk cId="3860365020" sldId="348"/>
            <ac:spMk id="22" creationId="{A8916DC6-5398-4A09-AF36-6DA76F62CE3F}"/>
          </ac:spMkLst>
        </pc:spChg>
        <pc:spChg chg="del mod">
          <ac:chgData name="Nikolaj Godsk Vestergaard" userId="13f6e931-e8bb-4f58-9241-2f10614c3355" providerId="ADAL" clId="{E4806A0B-DC8E-4AB6-B884-FF8A33E1EF07}" dt="2022-12-02T10:29:55.016" v="12292" actId="478"/>
          <ac:spMkLst>
            <pc:docMk/>
            <pc:sldMk cId="3860365020" sldId="348"/>
            <ac:spMk id="25" creationId="{EDA2C9DA-AA0E-4900-AD2F-E52580846E8D}"/>
          </ac:spMkLst>
        </pc:spChg>
        <pc:spChg chg="del">
          <ac:chgData name="Nikolaj Godsk Vestergaard" userId="13f6e931-e8bb-4f58-9241-2f10614c3355" providerId="ADAL" clId="{E4806A0B-DC8E-4AB6-B884-FF8A33E1EF07}" dt="2022-12-02T10:29:55.016" v="12292" actId="478"/>
          <ac:spMkLst>
            <pc:docMk/>
            <pc:sldMk cId="3860365020" sldId="348"/>
            <ac:spMk id="30" creationId="{BC46319C-8AE6-4A31-95E2-BC1DDD2382F5}"/>
          </ac:spMkLst>
        </pc:spChg>
      </pc:sldChg>
      <pc:sldChg chg="addSp delSp modSp add mod">
        <pc:chgData name="Nikolaj Godsk Vestergaard" userId="13f6e931-e8bb-4f58-9241-2f10614c3355" providerId="ADAL" clId="{E4806A0B-DC8E-4AB6-B884-FF8A33E1EF07}" dt="2022-12-02T11:16:52.455" v="12370" actId="14100"/>
        <pc:sldMkLst>
          <pc:docMk/>
          <pc:sldMk cId="2523447034" sldId="349"/>
        </pc:sldMkLst>
        <pc:spChg chg="mod ord">
          <ac:chgData name="Nikolaj Godsk Vestergaard" userId="13f6e931-e8bb-4f58-9241-2f10614c3355" providerId="ADAL" clId="{E4806A0B-DC8E-4AB6-B884-FF8A33E1EF07}" dt="2022-11-28T15:52:35.461" v="9505"/>
          <ac:spMkLst>
            <pc:docMk/>
            <pc:sldMk cId="2523447034" sldId="349"/>
            <ac:spMk id="4" creationId="{B7FC3C18-0E4F-49B9-85D2-82FF8A035D13}"/>
          </ac:spMkLst>
        </pc:spChg>
        <pc:spChg chg="del mod ord">
          <ac:chgData name="Nikolaj Godsk Vestergaard" userId="13f6e931-e8bb-4f58-9241-2f10614c3355" providerId="ADAL" clId="{E4806A0B-DC8E-4AB6-B884-FF8A33E1EF07}" dt="2022-12-02T11:15:58.982" v="12330" actId="478"/>
          <ac:spMkLst>
            <pc:docMk/>
            <pc:sldMk cId="2523447034" sldId="349"/>
            <ac:spMk id="7" creationId="{27C30AB3-064D-441B-A9D9-D1F3413F87C2}"/>
          </ac:spMkLst>
        </pc:spChg>
        <pc:spChg chg="del mod ord">
          <ac:chgData name="Nikolaj Godsk Vestergaard" userId="13f6e931-e8bb-4f58-9241-2f10614c3355" providerId="ADAL" clId="{E4806A0B-DC8E-4AB6-B884-FF8A33E1EF07}" dt="2022-12-02T11:16:49.514" v="12369" actId="478"/>
          <ac:spMkLst>
            <pc:docMk/>
            <pc:sldMk cId="2523447034" sldId="349"/>
            <ac:spMk id="10" creationId="{21109319-0CC7-4DF1-84F6-3A269736EED2}"/>
          </ac:spMkLst>
        </pc:spChg>
        <pc:spChg chg="mod ord">
          <ac:chgData name="Nikolaj Godsk Vestergaard" userId="13f6e931-e8bb-4f58-9241-2f10614c3355" providerId="ADAL" clId="{E4806A0B-DC8E-4AB6-B884-FF8A33E1EF07}" dt="2022-12-02T11:16:52.455" v="12370" actId="14100"/>
          <ac:spMkLst>
            <pc:docMk/>
            <pc:sldMk cId="2523447034" sldId="349"/>
            <ac:spMk id="11" creationId="{F2237923-C517-4E64-BA44-64D3957B8269}"/>
          </ac:spMkLst>
        </pc:spChg>
        <pc:spChg chg="del mod ord">
          <ac:chgData name="Nikolaj Godsk Vestergaard" userId="13f6e931-e8bb-4f58-9241-2f10614c3355" providerId="ADAL" clId="{E4806A0B-DC8E-4AB6-B884-FF8A33E1EF07}" dt="2022-12-02T11:16:49.514" v="12369" actId="478"/>
          <ac:spMkLst>
            <pc:docMk/>
            <pc:sldMk cId="2523447034" sldId="349"/>
            <ac:spMk id="12" creationId="{8F4B76D4-CD81-4686-BE24-11B085E78F71}"/>
          </ac:spMkLst>
        </pc:spChg>
        <pc:spChg chg="add mod">
          <ac:chgData name="Nikolaj Godsk Vestergaard" userId="13f6e931-e8bb-4f58-9241-2f10614c3355" providerId="ADAL" clId="{E4806A0B-DC8E-4AB6-B884-FF8A33E1EF07}" dt="2022-12-02T11:16:18.796" v="12337" actId="1076"/>
          <ac:spMkLst>
            <pc:docMk/>
            <pc:sldMk cId="2523447034" sldId="349"/>
            <ac:spMk id="13" creationId="{E44FCFB7-0905-4495-B223-209AD486D675}"/>
          </ac:spMkLst>
        </pc:spChg>
        <pc:spChg chg="add mod">
          <ac:chgData name="Nikolaj Godsk Vestergaard" userId="13f6e931-e8bb-4f58-9241-2f10614c3355" providerId="ADAL" clId="{E4806A0B-DC8E-4AB6-B884-FF8A33E1EF07}" dt="2022-12-02T11:15:59.391" v="12331"/>
          <ac:spMkLst>
            <pc:docMk/>
            <pc:sldMk cId="2523447034" sldId="349"/>
            <ac:spMk id="14" creationId="{8D77ABF8-22A5-4EBA-ACFD-057F31DD2460}"/>
          </ac:spMkLst>
        </pc:spChg>
        <pc:spChg chg="add mod">
          <ac:chgData name="Nikolaj Godsk Vestergaard" userId="13f6e931-e8bb-4f58-9241-2f10614c3355" providerId="ADAL" clId="{E4806A0B-DC8E-4AB6-B884-FF8A33E1EF07}" dt="2022-12-02T11:15:59.391" v="12331"/>
          <ac:spMkLst>
            <pc:docMk/>
            <pc:sldMk cId="2523447034" sldId="349"/>
            <ac:spMk id="15" creationId="{C451550F-EFB2-4C13-9C8C-B35A01C7319B}"/>
          </ac:spMkLst>
        </pc:spChg>
        <pc:spChg chg="add mod">
          <ac:chgData name="Nikolaj Godsk Vestergaard" userId="13f6e931-e8bb-4f58-9241-2f10614c3355" providerId="ADAL" clId="{E4806A0B-DC8E-4AB6-B884-FF8A33E1EF07}" dt="2022-12-02T11:15:59.391" v="12331"/>
          <ac:spMkLst>
            <pc:docMk/>
            <pc:sldMk cId="2523447034" sldId="349"/>
            <ac:spMk id="16" creationId="{2C4E75D8-5C6A-4161-A2BB-B1420349ADD5}"/>
          </ac:spMkLst>
        </pc:spChg>
        <pc:spChg chg="add mod">
          <ac:chgData name="Nikolaj Godsk Vestergaard" userId="13f6e931-e8bb-4f58-9241-2f10614c3355" providerId="ADAL" clId="{E4806A0B-DC8E-4AB6-B884-FF8A33E1EF07}" dt="2022-12-02T11:16:45.567" v="12368" actId="255"/>
          <ac:spMkLst>
            <pc:docMk/>
            <pc:sldMk cId="2523447034" sldId="349"/>
            <ac:spMk id="17" creationId="{221206B3-5380-4285-BBC2-087D4A2D0CFE}"/>
          </ac:spMkLst>
        </pc:spChg>
        <pc:spChg chg="del mod ord">
          <ac:chgData name="Nikolaj Godsk Vestergaard" userId="13f6e931-e8bb-4f58-9241-2f10614c3355" providerId="ADAL" clId="{E4806A0B-DC8E-4AB6-B884-FF8A33E1EF07}" dt="2022-12-02T11:16:49.514" v="12369" actId="478"/>
          <ac:spMkLst>
            <pc:docMk/>
            <pc:sldMk cId="2523447034" sldId="349"/>
            <ac:spMk id="22" creationId="{A8916DC6-5398-4A09-AF36-6DA76F62CE3F}"/>
          </ac:spMkLst>
        </pc:spChg>
        <pc:spChg chg="del mod ord">
          <ac:chgData name="Nikolaj Godsk Vestergaard" userId="13f6e931-e8bb-4f58-9241-2f10614c3355" providerId="ADAL" clId="{E4806A0B-DC8E-4AB6-B884-FF8A33E1EF07}" dt="2022-12-02T11:16:49.514" v="12369" actId="478"/>
          <ac:spMkLst>
            <pc:docMk/>
            <pc:sldMk cId="2523447034" sldId="349"/>
            <ac:spMk id="25" creationId="{EDA2C9DA-AA0E-4900-AD2F-E52580846E8D}"/>
          </ac:spMkLst>
        </pc:spChg>
        <pc:spChg chg="del mod ord">
          <ac:chgData name="Nikolaj Godsk Vestergaard" userId="13f6e931-e8bb-4f58-9241-2f10614c3355" providerId="ADAL" clId="{E4806A0B-DC8E-4AB6-B884-FF8A33E1EF07}" dt="2022-12-02T11:16:49.514" v="12369" actId="478"/>
          <ac:spMkLst>
            <pc:docMk/>
            <pc:sldMk cId="2523447034" sldId="349"/>
            <ac:spMk id="30" creationId="{BC46319C-8AE6-4A31-95E2-BC1DDD2382F5}"/>
          </ac:spMkLst>
        </pc:spChg>
        <pc:graphicFrameChg chg="mod">
          <ac:chgData name="Nikolaj Godsk Vestergaard" userId="13f6e931-e8bb-4f58-9241-2f10614c3355" providerId="ADAL" clId="{E4806A0B-DC8E-4AB6-B884-FF8A33E1EF07}" dt="2022-11-28T15:52:35.469" v="9522"/>
          <ac:graphicFrameMkLst>
            <pc:docMk/>
            <pc:sldMk cId="2523447034" sldId="349"/>
            <ac:graphicFrameMk id="5" creationId="{494DFD4A-C58C-4389-9344-CB1D175806AB}"/>
          </ac:graphicFrameMkLst>
        </pc:graphicFrameChg>
      </pc:sldChg>
      <pc:sldChg chg="addSp delSp modSp add mod addCm delCm">
        <pc:chgData name="Nikolaj Godsk Vestergaard" userId="13f6e931-e8bb-4f58-9241-2f10614c3355" providerId="ADAL" clId="{E4806A0B-DC8E-4AB6-B884-FF8A33E1EF07}" dt="2022-12-05T08:36:31.735" v="16357" actId="20577"/>
        <pc:sldMkLst>
          <pc:docMk/>
          <pc:sldMk cId="4265384927" sldId="350"/>
        </pc:sldMkLst>
        <pc:spChg chg="mod ord">
          <ac:chgData name="Nikolaj Godsk Vestergaard" userId="13f6e931-e8bb-4f58-9241-2f10614c3355" providerId="ADAL" clId="{E4806A0B-DC8E-4AB6-B884-FF8A33E1EF07}" dt="2022-12-02T11:18:38.645" v="12496"/>
          <ac:spMkLst>
            <pc:docMk/>
            <pc:sldMk cId="4265384927" sldId="350"/>
            <ac:spMk id="4" creationId="{B7FC3C18-0E4F-49B9-85D2-82FF8A035D13}"/>
          </ac:spMkLst>
        </pc:spChg>
        <pc:spChg chg="del">
          <ac:chgData name="Nikolaj Godsk Vestergaard" userId="13f6e931-e8bb-4f58-9241-2f10614c3355" providerId="ADAL" clId="{E4806A0B-DC8E-4AB6-B884-FF8A33E1EF07}" dt="2022-12-02T11:17:29.696" v="12371" actId="478"/>
          <ac:spMkLst>
            <pc:docMk/>
            <pc:sldMk cId="4265384927" sldId="350"/>
            <ac:spMk id="7" creationId="{27C30AB3-064D-441B-A9D9-D1F3413F87C2}"/>
          </ac:spMkLst>
        </pc:spChg>
        <pc:spChg chg="del mod">
          <ac:chgData name="Nikolaj Godsk Vestergaard" userId="13f6e931-e8bb-4f58-9241-2f10614c3355" providerId="ADAL" clId="{E4806A0B-DC8E-4AB6-B884-FF8A33E1EF07}" dt="2022-12-02T11:18:34.516" v="12441" actId="478"/>
          <ac:spMkLst>
            <pc:docMk/>
            <pc:sldMk cId="4265384927" sldId="350"/>
            <ac:spMk id="10" creationId="{21109319-0CC7-4DF1-84F6-3A269736EED2}"/>
          </ac:spMkLst>
        </pc:spChg>
        <pc:spChg chg="del mod ord">
          <ac:chgData name="Nikolaj Godsk Vestergaard" userId="13f6e931-e8bb-4f58-9241-2f10614c3355" providerId="ADAL" clId="{E4806A0B-DC8E-4AB6-B884-FF8A33E1EF07}" dt="2022-12-02T11:18:53.384" v="12533" actId="478"/>
          <ac:spMkLst>
            <pc:docMk/>
            <pc:sldMk cId="4265384927" sldId="350"/>
            <ac:spMk id="11" creationId="{F2237923-C517-4E64-BA44-64D3957B8269}"/>
          </ac:spMkLst>
        </pc:spChg>
        <pc:spChg chg="del mod">
          <ac:chgData name="Nikolaj Godsk Vestergaard" userId="13f6e931-e8bb-4f58-9241-2f10614c3355" providerId="ADAL" clId="{E4806A0B-DC8E-4AB6-B884-FF8A33E1EF07}" dt="2022-12-02T11:18:34.516" v="12441" actId="478"/>
          <ac:spMkLst>
            <pc:docMk/>
            <pc:sldMk cId="4265384927" sldId="350"/>
            <ac:spMk id="12" creationId="{8F4B76D4-CD81-4686-BE24-11B085E78F71}"/>
          </ac:spMkLst>
        </pc:spChg>
        <pc:spChg chg="add mod ord">
          <ac:chgData name="Nikolaj Godsk Vestergaard" userId="13f6e931-e8bb-4f58-9241-2f10614c3355" providerId="ADAL" clId="{E4806A0B-DC8E-4AB6-B884-FF8A33E1EF07}" dt="2022-12-02T11:18:38.646" v="12500"/>
          <ac:spMkLst>
            <pc:docMk/>
            <pc:sldMk cId="4265384927" sldId="350"/>
            <ac:spMk id="13" creationId="{2ED698F6-0227-4A06-97B8-87A32BEFC515}"/>
          </ac:spMkLst>
        </pc:spChg>
        <pc:spChg chg="add mod ord">
          <ac:chgData name="Nikolaj Godsk Vestergaard" userId="13f6e931-e8bb-4f58-9241-2f10614c3355" providerId="ADAL" clId="{E4806A0B-DC8E-4AB6-B884-FF8A33E1EF07}" dt="2022-12-02T11:18:38.646" v="12502"/>
          <ac:spMkLst>
            <pc:docMk/>
            <pc:sldMk cId="4265384927" sldId="350"/>
            <ac:spMk id="14" creationId="{EF93DDC6-D529-4E56-A5BC-0CA44071B46F}"/>
          </ac:spMkLst>
        </pc:spChg>
        <pc:spChg chg="add mod ord">
          <ac:chgData name="Nikolaj Godsk Vestergaard" userId="13f6e931-e8bb-4f58-9241-2f10614c3355" providerId="ADAL" clId="{E4806A0B-DC8E-4AB6-B884-FF8A33E1EF07}" dt="2022-12-02T11:18:38.647" v="12504"/>
          <ac:spMkLst>
            <pc:docMk/>
            <pc:sldMk cId="4265384927" sldId="350"/>
            <ac:spMk id="15" creationId="{CD4943F4-DC8F-499A-BE31-00739BC103A2}"/>
          </ac:spMkLst>
        </pc:spChg>
        <pc:spChg chg="add mod ord">
          <ac:chgData name="Nikolaj Godsk Vestergaard" userId="13f6e931-e8bb-4f58-9241-2f10614c3355" providerId="ADAL" clId="{E4806A0B-DC8E-4AB6-B884-FF8A33E1EF07}" dt="2022-12-02T11:22:27.769" v="12969" actId="403"/>
          <ac:spMkLst>
            <pc:docMk/>
            <pc:sldMk cId="4265384927" sldId="350"/>
            <ac:spMk id="16" creationId="{244E4438-15B1-4095-9186-CD2B0A123E47}"/>
          </ac:spMkLst>
        </pc:spChg>
        <pc:spChg chg="add mod ord">
          <ac:chgData name="Nikolaj Godsk Vestergaard" userId="13f6e931-e8bb-4f58-9241-2f10614c3355" providerId="ADAL" clId="{E4806A0B-DC8E-4AB6-B884-FF8A33E1EF07}" dt="2022-12-02T11:18:38.648" v="12508"/>
          <ac:spMkLst>
            <pc:docMk/>
            <pc:sldMk cId="4265384927" sldId="350"/>
            <ac:spMk id="17" creationId="{E9728847-4BA7-456F-BFBC-4BB2CBC9D1BB}"/>
          </ac:spMkLst>
        </pc:spChg>
        <pc:spChg chg="add mod ord">
          <ac:chgData name="Nikolaj Godsk Vestergaard" userId="13f6e931-e8bb-4f58-9241-2f10614c3355" providerId="ADAL" clId="{E4806A0B-DC8E-4AB6-B884-FF8A33E1EF07}" dt="2022-12-02T12:08:18.719" v="13738"/>
          <ac:spMkLst>
            <pc:docMk/>
            <pc:sldMk cId="4265384927" sldId="350"/>
            <ac:spMk id="18" creationId="{B3616200-E5B3-48A1-AC7B-FA5D164E0798}"/>
          </ac:spMkLst>
        </pc:spChg>
        <pc:spChg chg="add mod ord">
          <ac:chgData name="Nikolaj Godsk Vestergaard" userId="13f6e931-e8bb-4f58-9241-2f10614c3355" providerId="ADAL" clId="{E4806A0B-DC8E-4AB6-B884-FF8A33E1EF07}" dt="2022-12-02T11:54:09.998" v="13621" actId="14100"/>
          <ac:spMkLst>
            <pc:docMk/>
            <pc:sldMk cId="4265384927" sldId="350"/>
            <ac:spMk id="19" creationId="{4B8E3163-699F-4B88-9820-F6D6BE2435AD}"/>
          </ac:spMkLst>
        </pc:spChg>
        <pc:spChg chg="add del mod ord">
          <ac:chgData name="Nikolaj Godsk Vestergaard" userId="13f6e931-e8bb-4f58-9241-2f10614c3355" providerId="ADAL" clId="{E4806A0B-DC8E-4AB6-B884-FF8A33E1EF07}" dt="2022-12-02T11:22:55.134" v="12974" actId="478"/>
          <ac:spMkLst>
            <pc:docMk/>
            <pc:sldMk cId="4265384927" sldId="350"/>
            <ac:spMk id="20" creationId="{27AEC5DA-DB57-4FF7-BC97-D0DCB75F7413}"/>
          </ac:spMkLst>
        </pc:spChg>
        <pc:spChg chg="add del mod ord">
          <ac:chgData name="Nikolaj Godsk Vestergaard" userId="13f6e931-e8bb-4f58-9241-2f10614c3355" providerId="ADAL" clId="{E4806A0B-DC8E-4AB6-B884-FF8A33E1EF07}" dt="2022-12-02T11:22:55.134" v="12974" actId="478"/>
          <ac:spMkLst>
            <pc:docMk/>
            <pc:sldMk cId="4265384927" sldId="350"/>
            <ac:spMk id="21" creationId="{0ACDC5B3-99F7-4053-BD4A-1A838F0EECEF}"/>
          </ac:spMkLst>
        </pc:spChg>
        <pc:spChg chg="del mod">
          <ac:chgData name="Nikolaj Godsk Vestergaard" userId="13f6e931-e8bb-4f58-9241-2f10614c3355" providerId="ADAL" clId="{E4806A0B-DC8E-4AB6-B884-FF8A33E1EF07}" dt="2022-12-02T11:18:34.516" v="12441" actId="478"/>
          <ac:spMkLst>
            <pc:docMk/>
            <pc:sldMk cId="4265384927" sldId="350"/>
            <ac:spMk id="22" creationId="{A8916DC6-5398-4A09-AF36-6DA76F62CE3F}"/>
          </ac:spMkLst>
        </pc:spChg>
        <pc:spChg chg="add mod ord">
          <ac:chgData name="Nikolaj Godsk Vestergaard" userId="13f6e931-e8bb-4f58-9241-2f10614c3355" providerId="ADAL" clId="{E4806A0B-DC8E-4AB6-B884-FF8A33E1EF07}" dt="2022-12-02T11:54:08.078" v="13620" actId="14100"/>
          <ac:spMkLst>
            <pc:docMk/>
            <pc:sldMk cId="4265384927" sldId="350"/>
            <ac:spMk id="23" creationId="{E2F52B12-961B-4345-B36E-FA8811F1E884}"/>
          </ac:spMkLst>
        </pc:spChg>
        <pc:spChg chg="add del mod ord">
          <ac:chgData name="Nikolaj Godsk Vestergaard" userId="13f6e931-e8bb-4f58-9241-2f10614c3355" providerId="ADAL" clId="{E4806A0B-DC8E-4AB6-B884-FF8A33E1EF07}" dt="2022-12-02T11:22:55.134" v="12974" actId="478"/>
          <ac:spMkLst>
            <pc:docMk/>
            <pc:sldMk cId="4265384927" sldId="350"/>
            <ac:spMk id="24" creationId="{333BF7DC-F18E-4E2F-A11C-B80E1DD98D25}"/>
          </ac:spMkLst>
        </pc:spChg>
        <pc:spChg chg="del">
          <ac:chgData name="Nikolaj Godsk Vestergaard" userId="13f6e931-e8bb-4f58-9241-2f10614c3355" providerId="ADAL" clId="{E4806A0B-DC8E-4AB6-B884-FF8A33E1EF07}" dt="2022-12-02T11:18:34.516" v="12441" actId="478"/>
          <ac:spMkLst>
            <pc:docMk/>
            <pc:sldMk cId="4265384927" sldId="350"/>
            <ac:spMk id="25" creationId="{EDA2C9DA-AA0E-4900-AD2F-E52580846E8D}"/>
          </ac:spMkLst>
        </pc:spChg>
        <pc:spChg chg="add del mod ord">
          <ac:chgData name="Nikolaj Godsk Vestergaard" userId="13f6e931-e8bb-4f58-9241-2f10614c3355" providerId="ADAL" clId="{E4806A0B-DC8E-4AB6-B884-FF8A33E1EF07}" dt="2022-12-02T11:22:55.134" v="12974" actId="478"/>
          <ac:spMkLst>
            <pc:docMk/>
            <pc:sldMk cId="4265384927" sldId="350"/>
            <ac:spMk id="26" creationId="{FBD8F672-5F8A-41C3-BEA8-ACBE7A93F29D}"/>
          </ac:spMkLst>
        </pc:spChg>
        <pc:spChg chg="add mod">
          <ac:chgData name="Nikolaj Godsk Vestergaard" userId="13f6e931-e8bb-4f58-9241-2f10614c3355" providerId="ADAL" clId="{E4806A0B-DC8E-4AB6-B884-FF8A33E1EF07}" dt="2022-12-02T11:31:08.437" v="13288" actId="1076"/>
          <ac:spMkLst>
            <pc:docMk/>
            <pc:sldMk cId="4265384927" sldId="350"/>
            <ac:spMk id="27" creationId="{E3323178-1C2E-4F2B-8B35-09069FF56A89}"/>
          </ac:spMkLst>
        </pc:spChg>
        <pc:spChg chg="add mod">
          <ac:chgData name="Nikolaj Godsk Vestergaard" userId="13f6e931-e8bb-4f58-9241-2f10614c3355" providerId="ADAL" clId="{E4806A0B-DC8E-4AB6-B884-FF8A33E1EF07}" dt="2022-12-02T11:30:32.218" v="13287" actId="20577"/>
          <ac:spMkLst>
            <pc:docMk/>
            <pc:sldMk cId="4265384927" sldId="350"/>
            <ac:spMk id="28" creationId="{2E3CC1C2-359D-4BEB-8AB7-E18A49D9DAE7}"/>
          </ac:spMkLst>
        </pc:spChg>
        <pc:spChg chg="add mod">
          <ac:chgData name="Nikolaj Godsk Vestergaard" userId="13f6e931-e8bb-4f58-9241-2f10614c3355" providerId="ADAL" clId="{E4806A0B-DC8E-4AB6-B884-FF8A33E1EF07}" dt="2022-12-02T11:31:26.129" v="13290" actId="208"/>
          <ac:spMkLst>
            <pc:docMk/>
            <pc:sldMk cId="4265384927" sldId="350"/>
            <ac:spMk id="29" creationId="{B5D326BE-16AC-4C1A-B7E1-89C4DAF880E5}"/>
          </ac:spMkLst>
        </pc:spChg>
        <pc:spChg chg="del">
          <ac:chgData name="Nikolaj Godsk Vestergaard" userId="13f6e931-e8bb-4f58-9241-2f10614c3355" providerId="ADAL" clId="{E4806A0B-DC8E-4AB6-B884-FF8A33E1EF07}" dt="2022-12-02T11:18:34.516" v="12441" actId="478"/>
          <ac:spMkLst>
            <pc:docMk/>
            <pc:sldMk cId="4265384927" sldId="350"/>
            <ac:spMk id="30" creationId="{BC46319C-8AE6-4A31-95E2-BC1DDD2382F5}"/>
          </ac:spMkLst>
        </pc:spChg>
        <pc:spChg chg="add mod">
          <ac:chgData name="Nikolaj Godsk Vestergaard" userId="13f6e931-e8bb-4f58-9241-2f10614c3355" providerId="ADAL" clId="{E4806A0B-DC8E-4AB6-B884-FF8A33E1EF07}" dt="2022-12-05T08:36:24.153" v="16352" actId="20577"/>
          <ac:spMkLst>
            <pc:docMk/>
            <pc:sldMk cId="4265384927" sldId="350"/>
            <ac:spMk id="31" creationId="{7C0CC2A7-EB47-41A4-8E2A-0DE01D1C450F}"/>
          </ac:spMkLst>
        </pc:spChg>
        <pc:spChg chg="add mod">
          <ac:chgData name="Nikolaj Godsk Vestergaard" userId="13f6e931-e8bb-4f58-9241-2f10614c3355" providerId="ADAL" clId="{E4806A0B-DC8E-4AB6-B884-FF8A33E1EF07}" dt="2022-12-02T11:31:26.129" v="13290" actId="208"/>
          <ac:spMkLst>
            <pc:docMk/>
            <pc:sldMk cId="4265384927" sldId="350"/>
            <ac:spMk id="32" creationId="{592FC398-CCB2-4F7F-A6E3-EE6C323DD866}"/>
          </ac:spMkLst>
        </pc:spChg>
        <pc:spChg chg="add mod">
          <ac:chgData name="Nikolaj Godsk Vestergaard" userId="13f6e931-e8bb-4f58-9241-2f10614c3355" providerId="ADAL" clId="{E4806A0B-DC8E-4AB6-B884-FF8A33E1EF07}" dt="2022-12-05T08:36:31.735" v="16357" actId="20577"/>
          <ac:spMkLst>
            <pc:docMk/>
            <pc:sldMk cId="4265384927" sldId="350"/>
            <ac:spMk id="33" creationId="{11E9CBF0-73D7-43A4-A560-53DC0355BEB1}"/>
          </ac:spMkLst>
        </pc:spChg>
        <pc:graphicFrameChg chg="mod">
          <ac:chgData name="Nikolaj Godsk Vestergaard" userId="13f6e931-e8bb-4f58-9241-2f10614c3355" providerId="ADAL" clId="{E4806A0B-DC8E-4AB6-B884-FF8A33E1EF07}" dt="2022-12-02T11:18:38.650" v="12511"/>
          <ac:graphicFrameMkLst>
            <pc:docMk/>
            <pc:sldMk cId="4265384927" sldId="350"/>
            <ac:graphicFrameMk id="5" creationId="{494DFD4A-C58C-4389-9344-CB1D175806AB}"/>
          </ac:graphicFrameMkLst>
        </pc:graphicFrameChg>
      </pc:sldChg>
      <pc:sldChg chg="addSp delSp modSp add mod delCm">
        <pc:chgData name="Nikolaj Godsk Vestergaard" userId="13f6e931-e8bb-4f58-9241-2f10614c3355" providerId="ADAL" clId="{E4806A0B-DC8E-4AB6-B884-FF8A33E1EF07}" dt="2022-12-02T11:44:03.934" v="13499" actId="20577"/>
        <pc:sldMkLst>
          <pc:docMk/>
          <pc:sldMk cId="2886145505" sldId="351"/>
        </pc:sldMkLst>
        <pc:spChg chg="mod ord">
          <ac:chgData name="Nikolaj Godsk Vestergaard" userId="13f6e931-e8bb-4f58-9241-2f10614c3355" providerId="ADAL" clId="{E4806A0B-DC8E-4AB6-B884-FF8A33E1EF07}" dt="2022-12-02T11:42:03.139" v="13445"/>
          <ac:spMkLst>
            <pc:docMk/>
            <pc:sldMk cId="2886145505" sldId="351"/>
            <ac:spMk id="4" creationId="{B7FC3C18-0E4F-49B9-85D2-82FF8A035D13}"/>
          </ac:spMkLst>
        </pc:spChg>
        <pc:spChg chg="del">
          <ac:chgData name="Nikolaj Godsk Vestergaard" userId="13f6e931-e8bb-4f58-9241-2f10614c3355" providerId="ADAL" clId="{E4806A0B-DC8E-4AB6-B884-FF8A33E1EF07}" dt="2022-12-02T11:32:20.116" v="13292" actId="478"/>
          <ac:spMkLst>
            <pc:docMk/>
            <pc:sldMk cId="2886145505" sldId="351"/>
            <ac:spMk id="7" creationId="{27C30AB3-064D-441B-A9D9-D1F3413F87C2}"/>
          </ac:spMkLst>
        </pc:spChg>
        <pc:spChg chg="del">
          <ac:chgData name="Nikolaj Godsk Vestergaard" userId="13f6e931-e8bb-4f58-9241-2f10614c3355" providerId="ADAL" clId="{E4806A0B-DC8E-4AB6-B884-FF8A33E1EF07}" dt="2022-12-02T11:32:55.487" v="13352" actId="478"/>
          <ac:spMkLst>
            <pc:docMk/>
            <pc:sldMk cId="2886145505" sldId="351"/>
            <ac:spMk id="10" creationId="{21109319-0CC7-4DF1-84F6-3A269736EED2}"/>
          </ac:spMkLst>
        </pc:spChg>
        <pc:spChg chg="mod ord">
          <ac:chgData name="Nikolaj Godsk Vestergaard" userId="13f6e931-e8bb-4f58-9241-2f10614c3355" providerId="ADAL" clId="{E4806A0B-DC8E-4AB6-B884-FF8A33E1EF07}" dt="2022-12-02T11:44:03.934" v="13499" actId="20577"/>
          <ac:spMkLst>
            <pc:docMk/>
            <pc:sldMk cId="2886145505" sldId="351"/>
            <ac:spMk id="11" creationId="{F2237923-C517-4E64-BA44-64D3957B8269}"/>
          </ac:spMkLst>
        </pc:spChg>
        <pc:spChg chg="del">
          <ac:chgData name="Nikolaj Godsk Vestergaard" userId="13f6e931-e8bb-4f58-9241-2f10614c3355" providerId="ADAL" clId="{E4806A0B-DC8E-4AB6-B884-FF8A33E1EF07}" dt="2022-12-02T11:32:55.487" v="13352" actId="478"/>
          <ac:spMkLst>
            <pc:docMk/>
            <pc:sldMk cId="2886145505" sldId="351"/>
            <ac:spMk id="12" creationId="{8F4B76D4-CD81-4686-BE24-11B085E78F71}"/>
          </ac:spMkLst>
        </pc:spChg>
        <pc:spChg chg="add mod ord">
          <ac:chgData name="Nikolaj Godsk Vestergaard" userId="13f6e931-e8bb-4f58-9241-2f10614c3355" providerId="ADAL" clId="{E4806A0B-DC8E-4AB6-B884-FF8A33E1EF07}" dt="2022-12-02T11:42:03.139" v="13447"/>
          <ac:spMkLst>
            <pc:docMk/>
            <pc:sldMk cId="2886145505" sldId="351"/>
            <ac:spMk id="13" creationId="{7899EC51-58C2-40AE-B6E5-A1626EA0B6CA}"/>
          </ac:spMkLst>
        </pc:spChg>
        <pc:spChg chg="add mod ord">
          <ac:chgData name="Nikolaj Godsk Vestergaard" userId="13f6e931-e8bb-4f58-9241-2f10614c3355" providerId="ADAL" clId="{E4806A0B-DC8E-4AB6-B884-FF8A33E1EF07}" dt="2022-12-02T11:42:03.140" v="13449"/>
          <ac:spMkLst>
            <pc:docMk/>
            <pc:sldMk cId="2886145505" sldId="351"/>
            <ac:spMk id="14" creationId="{7C1FC4C0-295D-470A-AC04-CC70810E8CB2}"/>
          </ac:spMkLst>
        </pc:spChg>
        <pc:spChg chg="add mod ord">
          <ac:chgData name="Nikolaj Godsk Vestergaard" userId="13f6e931-e8bb-4f58-9241-2f10614c3355" providerId="ADAL" clId="{E4806A0B-DC8E-4AB6-B884-FF8A33E1EF07}" dt="2022-12-02T11:42:03.141" v="13451"/>
          <ac:spMkLst>
            <pc:docMk/>
            <pc:sldMk cId="2886145505" sldId="351"/>
            <ac:spMk id="15" creationId="{0E18020A-049B-446D-9F9A-492A5E4AC333}"/>
          </ac:spMkLst>
        </pc:spChg>
        <pc:spChg chg="add mod ord">
          <ac:chgData name="Nikolaj Godsk Vestergaard" userId="13f6e931-e8bb-4f58-9241-2f10614c3355" providerId="ADAL" clId="{E4806A0B-DC8E-4AB6-B884-FF8A33E1EF07}" dt="2022-12-02T11:42:03.141" v="13453"/>
          <ac:spMkLst>
            <pc:docMk/>
            <pc:sldMk cId="2886145505" sldId="351"/>
            <ac:spMk id="16" creationId="{6DA91306-6925-448E-AA0F-89737C70BDF0}"/>
          </ac:spMkLst>
        </pc:spChg>
        <pc:spChg chg="add mod ord">
          <ac:chgData name="Nikolaj Godsk Vestergaard" userId="13f6e931-e8bb-4f58-9241-2f10614c3355" providerId="ADAL" clId="{E4806A0B-DC8E-4AB6-B884-FF8A33E1EF07}" dt="2022-12-02T11:42:03.142" v="13455"/>
          <ac:spMkLst>
            <pc:docMk/>
            <pc:sldMk cId="2886145505" sldId="351"/>
            <ac:spMk id="17" creationId="{0CD3CED4-3BC5-45E9-9548-CCEC25290CB4}"/>
          </ac:spMkLst>
        </pc:spChg>
        <pc:spChg chg="del mod">
          <ac:chgData name="Nikolaj Godsk Vestergaard" userId="13f6e931-e8bb-4f58-9241-2f10614c3355" providerId="ADAL" clId="{E4806A0B-DC8E-4AB6-B884-FF8A33E1EF07}" dt="2022-12-02T11:32:55.487" v="13352" actId="478"/>
          <ac:spMkLst>
            <pc:docMk/>
            <pc:sldMk cId="2886145505" sldId="351"/>
            <ac:spMk id="22" creationId="{A8916DC6-5398-4A09-AF36-6DA76F62CE3F}"/>
          </ac:spMkLst>
        </pc:spChg>
        <pc:spChg chg="del">
          <ac:chgData name="Nikolaj Godsk Vestergaard" userId="13f6e931-e8bb-4f58-9241-2f10614c3355" providerId="ADAL" clId="{E4806A0B-DC8E-4AB6-B884-FF8A33E1EF07}" dt="2022-12-02T11:32:55.487" v="13352" actId="478"/>
          <ac:spMkLst>
            <pc:docMk/>
            <pc:sldMk cId="2886145505" sldId="351"/>
            <ac:spMk id="25" creationId="{EDA2C9DA-AA0E-4900-AD2F-E52580846E8D}"/>
          </ac:spMkLst>
        </pc:spChg>
        <pc:spChg chg="del mod">
          <ac:chgData name="Nikolaj Godsk Vestergaard" userId="13f6e931-e8bb-4f58-9241-2f10614c3355" providerId="ADAL" clId="{E4806A0B-DC8E-4AB6-B884-FF8A33E1EF07}" dt="2022-12-02T11:32:55.487" v="13352" actId="478"/>
          <ac:spMkLst>
            <pc:docMk/>
            <pc:sldMk cId="2886145505" sldId="351"/>
            <ac:spMk id="30" creationId="{BC46319C-8AE6-4A31-95E2-BC1DDD2382F5}"/>
          </ac:spMkLst>
        </pc:spChg>
        <pc:grpChg chg="add mod">
          <ac:chgData name="Nikolaj Godsk Vestergaard" userId="13f6e931-e8bb-4f58-9241-2f10614c3355" providerId="ADAL" clId="{E4806A0B-DC8E-4AB6-B884-FF8A33E1EF07}" dt="2022-12-02T11:43:34.478" v="13495" actId="1076"/>
          <ac:grpSpMkLst>
            <pc:docMk/>
            <pc:sldMk cId="2886145505" sldId="351"/>
            <ac:grpSpMk id="6" creationId="{35EB6BCE-7998-4BD1-8431-9B9D3FFFCDB5}"/>
          </ac:grpSpMkLst>
        </pc:grpChg>
        <pc:grpChg chg="add del mod">
          <ac:chgData name="Nikolaj Godsk Vestergaard" userId="13f6e931-e8bb-4f58-9241-2f10614c3355" providerId="ADAL" clId="{E4806A0B-DC8E-4AB6-B884-FF8A33E1EF07}" dt="2022-12-02T11:42:42.223" v="13477" actId="478"/>
          <ac:grpSpMkLst>
            <pc:docMk/>
            <pc:sldMk cId="2886145505" sldId="351"/>
            <ac:grpSpMk id="21" creationId="{51C52720-FC86-4CB9-AAE9-4A4118D7801E}"/>
          </ac:grpSpMkLst>
        </pc:grpChg>
        <pc:grpChg chg="add del mod">
          <ac:chgData name="Nikolaj Godsk Vestergaard" userId="13f6e931-e8bb-4f58-9241-2f10614c3355" providerId="ADAL" clId="{E4806A0B-DC8E-4AB6-B884-FF8A33E1EF07}" dt="2022-12-02T11:42:41.558" v="13476" actId="478"/>
          <ac:grpSpMkLst>
            <pc:docMk/>
            <pc:sldMk cId="2886145505" sldId="351"/>
            <ac:grpSpMk id="26" creationId="{F8BAC1CE-AAAD-425D-8831-7EAC36DB0C49}"/>
          </ac:grpSpMkLst>
        </pc:grpChg>
        <pc:grpChg chg="add del mod">
          <ac:chgData name="Nikolaj Godsk Vestergaard" userId="13f6e931-e8bb-4f58-9241-2f10614c3355" providerId="ADAL" clId="{E4806A0B-DC8E-4AB6-B884-FF8A33E1EF07}" dt="2022-12-02T11:42:54.346" v="13482" actId="478"/>
          <ac:grpSpMkLst>
            <pc:docMk/>
            <pc:sldMk cId="2886145505" sldId="351"/>
            <ac:grpSpMk id="29" creationId="{748E9D5F-D4B5-4C15-9416-2EA3B24DB36B}"/>
          </ac:grpSpMkLst>
        </pc:grpChg>
        <pc:graphicFrameChg chg="mod">
          <ac:chgData name="Nikolaj Godsk Vestergaard" userId="13f6e931-e8bb-4f58-9241-2f10614c3355" providerId="ADAL" clId="{E4806A0B-DC8E-4AB6-B884-FF8A33E1EF07}" dt="2022-12-02T11:42:03.146" v="13463"/>
          <ac:graphicFrameMkLst>
            <pc:docMk/>
            <pc:sldMk cId="2886145505" sldId="351"/>
            <ac:graphicFrameMk id="5" creationId="{494DFD4A-C58C-4389-9344-CB1D175806AB}"/>
          </ac:graphicFrameMkLst>
        </pc:graphicFrameChg>
        <pc:picChg chg="add mod ord">
          <ac:chgData name="Nikolaj Godsk Vestergaard" userId="13f6e931-e8bb-4f58-9241-2f10614c3355" providerId="ADAL" clId="{E4806A0B-DC8E-4AB6-B884-FF8A33E1EF07}" dt="2022-12-02T11:43:49.063" v="13497" actId="14100"/>
          <ac:picMkLst>
            <pc:docMk/>
            <pc:sldMk cId="2886145505" sldId="351"/>
            <ac:picMk id="3" creationId="{E5627E2F-9D18-48BE-85A3-58AC3C4C3982}"/>
          </ac:picMkLst>
        </pc:picChg>
        <pc:picChg chg="mod">
          <ac:chgData name="Nikolaj Godsk Vestergaard" userId="13f6e931-e8bb-4f58-9241-2f10614c3355" providerId="ADAL" clId="{E4806A0B-DC8E-4AB6-B884-FF8A33E1EF07}" dt="2022-12-02T11:42:33.191" v="13473" actId="1076"/>
          <ac:picMkLst>
            <pc:docMk/>
            <pc:sldMk cId="2886145505" sldId="351"/>
            <ac:picMk id="23" creationId="{6BA50DA4-2996-405B-A24C-3FE57B44D788}"/>
          </ac:picMkLst>
        </pc:picChg>
        <pc:picChg chg="mod">
          <ac:chgData name="Nikolaj Godsk Vestergaard" userId="13f6e931-e8bb-4f58-9241-2f10614c3355" providerId="ADAL" clId="{E4806A0B-DC8E-4AB6-B884-FF8A33E1EF07}" dt="2022-12-02T11:42:33.191" v="13473" actId="1076"/>
          <ac:picMkLst>
            <pc:docMk/>
            <pc:sldMk cId="2886145505" sldId="351"/>
            <ac:picMk id="24" creationId="{0A4475D3-0504-4124-B826-2F2F3E92B1C8}"/>
          </ac:picMkLst>
        </pc:picChg>
        <pc:picChg chg="mod">
          <ac:chgData name="Nikolaj Godsk Vestergaard" userId="13f6e931-e8bb-4f58-9241-2f10614c3355" providerId="ADAL" clId="{E4806A0B-DC8E-4AB6-B884-FF8A33E1EF07}" dt="2022-12-02T11:42:40.733" v="13475" actId="1076"/>
          <ac:picMkLst>
            <pc:docMk/>
            <pc:sldMk cId="2886145505" sldId="351"/>
            <ac:picMk id="27" creationId="{B8967C18-4288-49FD-93AE-043FB53A6EE9}"/>
          </ac:picMkLst>
        </pc:picChg>
        <pc:picChg chg="mod">
          <ac:chgData name="Nikolaj Godsk Vestergaard" userId="13f6e931-e8bb-4f58-9241-2f10614c3355" providerId="ADAL" clId="{E4806A0B-DC8E-4AB6-B884-FF8A33E1EF07}" dt="2022-12-02T11:42:40.733" v="13475" actId="1076"/>
          <ac:picMkLst>
            <pc:docMk/>
            <pc:sldMk cId="2886145505" sldId="351"/>
            <ac:picMk id="28" creationId="{3ECE026C-26A2-413E-897F-A8C4A3903F30}"/>
          </ac:picMkLst>
        </pc:picChg>
        <pc:picChg chg="mod">
          <ac:chgData name="Nikolaj Godsk Vestergaard" userId="13f6e931-e8bb-4f58-9241-2f10614c3355" providerId="ADAL" clId="{E4806A0B-DC8E-4AB6-B884-FF8A33E1EF07}" dt="2022-12-02T11:42:50.920" v="13481" actId="571"/>
          <ac:picMkLst>
            <pc:docMk/>
            <pc:sldMk cId="2886145505" sldId="351"/>
            <ac:picMk id="31" creationId="{8AF31638-E21F-4387-A2A6-BC9827EF5BF8}"/>
          </ac:picMkLst>
        </pc:picChg>
        <pc:picChg chg="mod">
          <ac:chgData name="Nikolaj Godsk Vestergaard" userId="13f6e931-e8bb-4f58-9241-2f10614c3355" providerId="ADAL" clId="{E4806A0B-DC8E-4AB6-B884-FF8A33E1EF07}" dt="2022-12-02T11:42:50.920" v="13481" actId="571"/>
          <ac:picMkLst>
            <pc:docMk/>
            <pc:sldMk cId="2886145505" sldId="351"/>
            <ac:picMk id="32" creationId="{01EECFF2-C2F1-4947-8ECB-8DF34DB1EB7D}"/>
          </ac:picMkLst>
        </pc:picChg>
        <pc:picChg chg="add del mod">
          <ac:chgData name="Nikolaj Godsk Vestergaard" userId="13f6e931-e8bb-4f58-9241-2f10614c3355" providerId="ADAL" clId="{E4806A0B-DC8E-4AB6-B884-FF8A33E1EF07}" dt="2022-12-02T11:41:54.926" v="13439" actId="478"/>
          <ac:picMkLst>
            <pc:docMk/>
            <pc:sldMk cId="2886145505" sldId="351"/>
            <ac:picMk id="1026" creationId="{A098A486-72EA-4F01-A022-18833244983A}"/>
          </ac:picMkLst>
        </pc:picChg>
        <pc:picChg chg="add mod">
          <ac:chgData name="Nikolaj Godsk Vestergaard" userId="13f6e931-e8bb-4f58-9241-2f10614c3355" providerId="ADAL" clId="{E4806A0B-DC8E-4AB6-B884-FF8A33E1EF07}" dt="2022-12-02T11:43:34.478" v="13495" actId="1076"/>
          <ac:picMkLst>
            <pc:docMk/>
            <pc:sldMk cId="2886145505" sldId="351"/>
            <ac:picMk id="1028" creationId="{1BCB9111-5CA2-4841-A69C-853A8106DF88}"/>
          </ac:picMkLst>
        </pc:picChg>
      </pc:sldChg>
      <pc:sldChg chg="del">
        <pc:chgData name="Nikolaj Godsk Vestergaard" userId="13f6e931-e8bb-4f58-9241-2f10614c3355" providerId="ADAL" clId="{E4806A0B-DC8E-4AB6-B884-FF8A33E1EF07}" dt="2022-12-02T10:25:47.242" v="12260" actId="47"/>
        <pc:sldMkLst>
          <pc:docMk/>
          <pc:sldMk cId="2823617944" sldId="352"/>
        </pc:sldMkLst>
      </pc:sldChg>
      <pc:sldChg chg="addSp delSp modSp mod">
        <pc:chgData name="Nikolaj Godsk Vestergaard" userId="13f6e931-e8bb-4f58-9241-2f10614c3355" providerId="ADAL" clId="{E4806A0B-DC8E-4AB6-B884-FF8A33E1EF07}" dt="2022-12-02T11:49:05.942" v="13589" actId="1076"/>
        <pc:sldMkLst>
          <pc:docMk/>
          <pc:sldMk cId="2460403538" sldId="353"/>
        </pc:sldMkLst>
        <pc:spChg chg="mod">
          <ac:chgData name="Nikolaj Godsk Vestergaard" userId="13f6e931-e8bb-4f58-9241-2f10614c3355" providerId="ADAL" clId="{E4806A0B-DC8E-4AB6-B884-FF8A33E1EF07}" dt="2022-12-02T11:49:05.942" v="13589" actId="1076"/>
          <ac:spMkLst>
            <pc:docMk/>
            <pc:sldMk cId="2460403538" sldId="353"/>
            <ac:spMk id="4" creationId="{B7FC3C18-0E4F-49B9-85D2-82FF8A035D13}"/>
          </ac:spMkLst>
        </pc:spChg>
        <pc:spChg chg="add mod">
          <ac:chgData name="Nikolaj Godsk Vestergaard" userId="13f6e931-e8bb-4f58-9241-2f10614c3355" providerId="ADAL" clId="{E4806A0B-DC8E-4AB6-B884-FF8A33E1EF07}" dt="2022-12-02T11:48:49.223" v="13579" actId="20577"/>
          <ac:spMkLst>
            <pc:docMk/>
            <pc:sldMk cId="2460403538" sldId="353"/>
            <ac:spMk id="6" creationId="{0AABCFDE-D7EA-49B3-9D3D-D807DDA47D5D}"/>
          </ac:spMkLst>
        </pc:spChg>
        <pc:spChg chg="add mod">
          <ac:chgData name="Nikolaj Godsk Vestergaard" userId="13f6e931-e8bb-4f58-9241-2f10614c3355" providerId="ADAL" clId="{E4806A0B-DC8E-4AB6-B884-FF8A33E1EF07}" dt="2022-12-02T11:48:01.742" v="13548" actId="1076"/>
          <ac:spMkLst>
            <pc:docMk/>
            <pc:sldMk cId="2460403538" sldId="353"/>
            <ac:spMk id="8" creationId="{FF7A399C-0702-4332-B4F2-1BAAD28E60AB}"/>
          </ac:spMkLst>
        </pc:spChg>
        <pc:spChg chg="add mod">
          <ac:chgData name="Nikolaj Godsk Vestergaard" userId="13f6e931-e8bb-4f58-9241-2f10614c3355" providerId="ADAL" clId="{E4806A0B-DC8E-4AB6-B884-FF8A33E1EF07}" dt="2022-12-02T11:48:01.742" v="13548" actId="1076"/>
          <ac:spMkLst>
            <pc:docMk/>
            <pc:sldMk cId="2460403538" sldId="353"/>
            <ac:spMk id="9" creationId="{7F44B5C7-CBD8-43A8-9C4E-212C8DF7CC89}"/>
          </ac:spMkLst>
        </pc:spChg>
        <pc:spChg chg="add mod">
          <ac:chgData name="Nikolaj Godsk Vestergaard" userId="13f6e931-e8bb-4f58-9241-2f10614c3355" providerId="ADAL" clId="{E4806A0B-DC8E-4AB6-B884-FF8A33E1EF07}" dt="2022-12-02T11:48:01.742" v="13548" actId="1076"/>
          <ac:spMkLst>
            <pc:docMk/>
            <pc:sldMk cId="2460403538" sldId="353"/>
            <ac:spMk id="10" creationId="{19FB744E-8CCB-46B8-8B1D-7BD74BB6B10E}"/>
          </ac:spMkLst>
        </pc:spChg>
        <pc:spChg chg="del mod">
          <ac:chgData name="Nikolaj Godsk Vestergaard" userId="13f6e931-e8bb-4f58-9241-2f10614c3355" providerId="ADAL" clId="{E4806A0B-DC8E-4AB6-B884-FF8A33E1EF07}" dt="2022-12-02T11:47:54.790" v="13547" actId="478"/>
          <ac:spMkLst>
            <pc:docMk/>
            <pc:sldMk cId="2460403538" sldId="353"/>
            <ac:spMk id="11" creationId="{F2237923-C517-4E64-BA44-64D3957B8269}"/>
          </ac:spMkLst>
        </pc:spChg>
        <pc:spChg chg="add mod">
          <ac:chgData name="Nikolaj Godsk Vestergaard" userId="13f6e931-e8bb-4f58-9241-2f10614c3355" providerId="ADAL" clId="{E4806A0B-DC8E-4AB6-B884-FF8A33E1EF07}" dt="2022-12-02T11:48:01.742" v="13548" actId="1076"/>
          <ac:spMkLst>
            <pc:docMk/>
            <pc:sldMk cId="2460403538" sldId="353"/>
            <ac:spMk id="12" creationId="{35E881E3-870B-497A-8382-CBE0B9CB644A}"/>
          </ac:spMkLst>
        </pc:spChg>
        <pc:spChg chg="add mod">
          <ac:chgData name="Nikolaj Godsk Vestergaard" userId="13f6e931-e8bb-4f58-9241-2f10614c3355" providerId="ADAL" clId="{E4806A0B-DC8E-4AB6-B884-FF8A33E1EF07}" dt="2022-12-02T11:48:01.742" v="13548" actId="1076"/>
          <ac:spMkLst>
            <pc:docMk/>
            <pc:sldMk cId="2460403538" sldId="353"/>
            <ac:spMk id="13" creationId="{A65E5C63-45A9-4013-AE20-74B61F2D80F2}"/>
          </ac:spMkLst>
        </pc:spChg>
        <pc:spChg chg="add mod">
          <ac:chgData name="Nikolaj Godsk Vestergaard" userId="13f6e931-e8bb-4f58-9241-2f10614c3355" providerId="ADAL" clId="{E4806A0B-DC8E-4AB6-B884-FF8A33E1EF07}" dt="2022-12-02T11:48:26.921" v="13566" actId="404"/>
          <ac:spMkLst>
            <pc:docMk/>
            <pc:sldMk cId="2460403538" sldId="353"/>
            <ac:spMk id="15" creationId="{D96F3E6F-9694-44D2-809D-51264EF85021}"/>
          </ac:spMkLst>
        </pc:spChg>
        <pc:spChg chg="add mod">
          <ac:chgData name="Nikolaj Godsk Vestergaard" userId="13f6e931-e8bb-4f58-9241-2f10614c3355" providerId="ADAL" clId="{E4806A0B-DC8E-4AB6-B884-FF8A33E1EF07}" dt="2022-12-02T11:48:26.921" v="13566" actId="404"/>
          <ac:spMkLst>
            <pc:docMk/>
            <pc:sldMk cId="2460403538" sldId="353"/>
            <ac:spMk id="17" creationId="{9B57ADD3-8930-49EB-9F2A-A2B54A138328}"/>
          </ac:spMkLst>
        </pc:spChg>
        <pc:spChg chg="add mod">
          <ac:chgData name="Nikolaj Godsk Vestergaard" userId="13f6e931-e8bb-4f58-9241-2f10614c3355" providerId="ADAL" clId="{E4806A0B-DC8E-4AB6-B884-FF8A33E1EF07}" dt="2022-12-02T11:48:59.808" v="13588" actId="20577"/>
          <ac:spMkLst>
            <pc:docMk/>
            <pc:sldMk cId="2460403538" sldId="353"/>
            <ac:spMk id="19" creationId="{ECBB8316-FF4F-49E6-880A-15E1A5C70BA5}"/>
          </ac:spMkLst>
        </pc:spChg>
        <pc:cxnChg chg="add mod">
          <ac:chgData name="Nikolaj Godsk Vestergaard" userId="13f6e931-e8bb-4f58-9241-2f10614c3355" providerId="ADAL" clId="{E4806A0B-DC8E-4AB6-B884-FF8A33E1EF07}" dt="2022-12-02T11:48:01.742" v="13548" actId="1076"/>
          <ac:cxnSpMkLst>
            <pc:docMk/>
            <pc:sldMk cId="2460403538" sldId="353"/>
            <ac:cxnSpMk id="14" creationId="{FABA3CC2-9C87-49C6-BE37-B30DC7783122}"/>
          </ac:cxnSpMkLst>
        </pc:cxnChg>
        <pc:cxnChg chg="add mod">
          <ac:chgData name="Nikolaj Godsk Vestergaard" userId="13f6e931-e8bb-4f58-9241-2f10614c3355" providerId="ADAL" clId="{E4806A0B-DC8E-4AB6-B884-FF8A33E1EF07}" dt="2022-12-02T11:48:01.742" v="13548" actId="1076"/>
          <ac:cxnSpMkLst>
            <pc:docMk/>
            <pc:sldMk cId="2460403538" sldId="353"/>
            <ac:cxnSpMk id="16" creationId="{D44A69B8-A054-491F-97F5-B68ADAFE9C64}"/>
          </ac:cxnSpMkLst>
        </pc:cxnChg>
        <pc:cxnChg chg="add mod">
          <ac:chgData name="Nikolaj Godsk Vestergaard" userId="13f6e931-e8bb-4f58-9241-2f10614c3355" providerId="ADAL" clId="{E4806A0B-DC8E-4AB6-B884-FF8A33E1EF07}" dt="2022-12-02T11:48:44.618" v="13567" actId="571"/>
          <ac:cxnSpMkLst>
            <pc:docMk/>
            <pc:sldMk cId="2460403538" sldId="353"/>
            <ac:cxnSpMk id="18" creationId="{E1DE5B8B-E884-4971-A8DB-B5B49365A677}"/>
          </ac:cxnSpMkLst>
        </pc:cxnChg>
      </pc:sldChg>
      <pc:sldChg chg="add del setBg">
        <pc:chgData name="Nikolaj Godsk Vestergaard" userId="13f6e931-e8bb-4f58-9241-2f10614c3355" providerId="ADAL" clId="{E4806A0B-DC8E-4AB6-B884-FF8A33E1EF07}" dt="2022-12-02T08:45:05.017" v="11050" actId="47"/>
        <pc:sldMkLst>
          <pc:docMk/>
          <pc:sldMk cId="1724018709" sldId="354"/>
        </pc:sldMkLst>
      </pc:sldChg>
      <pc:sldChg chg="add del ord">
        <pc:chgData name="Nikolaj Godsk Vestergaard" userId="13f6e931-e8bb-4f58-9241-2f10614c3355" providerId="ADAL" clId="{E4806A0B-DC8E-4AB6-B884-FF8A33E1EF07}" dt="2022-12-02T10:25:43.283" v="12259"/>
        <pc:sldMkLst>
          <pc:docMk/>
          <pc:sldMk cId="2028763355" sldId="354"/>
        </pc:sldMkLst>
      </pc:sldChg>
      <pc:sldMasterChg chg="modSldLayout">
        <pc:chgData name="Nikolaj Godsk Vestergaard" userId="13f6e931-e8bb-4f58-9241-2f10614c3355" providerId="ADAL" clId="{E4806A0B-DC8E-4AB6-B884-FF8A33E1EF07}" dt="2022-12-02T08:48:24.124" v="11054" actId="207"/>
        <pc:sldMasterMkLst>
          <pc:docMk/>
          <pc:sldMasterMk cId="180999990" sldId="2147483648"/>
        </pc:sldMasterMkLst>
        <pc:sldLayoutChg chg="setBg">
          <pc:chgData name="Nikolaj Godsk Vestergaard" userId="13f6e931-e8bb-4f58-9241-2f10614c3355" providerId="ADAL" clId="{E4806A0B-DC8E-4AB6-B884-FF8A33E1EF07}" dt="2022-11-28T12:34:13.439" v="36"/>
          <pc:sldLayoutMkLst>
            <pc:docMk/>
            <pc:sldMasterMk cId="180999990" sldId="2147483648"/>
            <pc:sldLayoutMk cId="1811271279" sldId="2147483657"/>
          </pc:sldLayoutMkLst>
        </pc:sldLayoutChg>
        <pc:sldLayoutChg chg="addSp delSp modSp mod setBg">
          <pc:chgData name="Nikolaj Godsk Vestergaard" userId="13f6e931-e8bb-4f58-9241-2f10614c3355" providerId="ADAL" clId="{E4806A0B-DC8E-4AB6-B884-FF8A33E1EF07}" dt="2022-11-28T12:53:23.753" v="1215" actId="478"/>
          <pc:sldLayoutMkLst>
            <pc:docMk/>
            <pc:sldMasterMk cId="180999990" sldId="2147483648"/>
            <pc:sldLayoutMk cId="1801837105" sldId="2147483658"/>
          </pc:sldLayoutMkLst>
          <pc:spChg chg="mod ord">
            <ac:chgData name="Nikolaj Godsk Vestergaard" userId="13f6e931-e8bb-4f58-9241-2f10614c3355" providerId="ADAL" clId="{E4806A0B-DC8E-4AB6-B884-FF8A33E1EF07}" dt="2022-11-28T12:36:59.527" v="93"/>
            <ac:spMkLst>
              <pc:docMk/>
              <pc:sldMasterMk cId="180999990" sldId="2147483648"/>
              <pc:sldLayoutMk cId="1801837105" sldId="2147483658"/>
              <ac:spMk id="2" creationId="{00000000-0000-0000-0000-000000000000}"/>
            </ac:spMkLst>
          </pc:spChg>
          <pc:spChg chg="mod ord">
            <ac:chgData name="Nikolaj Godsk Vestergaard" userId="13f6e931-e8bb-4f58-9241-2f10614c3355" providerId="ADAL" clId="{E4806A0B-DC8E-4AB6-B884-FF8A33E1EF07}" dt="2022-11-28T12:36:59.528" v="95"/>
            <ac:spMkLst>
              <pc:docMk/>
              <pc:sldMasterMk cId="180999990" sldId="2147483648"/>
              <pc:sldLayoutMk cId="1801837105" sldId="2147483658"/>
              <ac:spMk id="3" creationId="{00000000-0000-0000-0000-000000000000}"/>
            </ac:spMkLst>
          </pc:spChg>
          <pc:spChg chg="del mod ord">
            <ac:chgData name="Nikolaj Godsk Vestergaard" userId="13f6e931-e8bb-4f58-9241-2f10614c3355" providerId="ADAL" clId="{E4806A0B-DC8E-4AB6-B884-FF8A33E1EF07}" dt="2022-11-28T12:53:19.599" v="1213" actId="478"/>
            <ac:spMkLst>
              <pc:docMk/>
              <pc:sldMasterMk cId="180999990" sldId="2147483648"/>
              <pc:sldLayoutMk cId="1801837105" sldId="2147483658"/>
              <ac:spMk id="4" creationId="{C1ACC7FD-8EF4-43FC-BAB3-47E907F17871}"/>
            </ac:spMkLst>
          </pc:spChg>
          <pc:spChg chg="del mod ord">
            <ac:chgData name="Nikolaj Godsk Vestergaard" userId="13f6e931-e8bb-4f58-9241-2f10614c3355" providerId="ADAL" clId="{E4806A0B-DC8E-4AB6-B884-FF8A33E1EF07}" dt="2022-11-28T12:53:23.753" v="1215" actId="478"/>
            <ac:spMkLst>
              <pc:docMk/>
              <pc:sldMasterMk cId="180999990" sldId="2147483648"/>
              <pc:sldLayoutMk cId="1801837105" sldId="2147483658"/>
              <ac:spMk id="5" creationId="{084C6AF5-5886-488E-94AF-540306D52116}"/>
            </ac:spMkLst>
          </pc:spChg>
          <pc:spChg chg="del mod ord">
            <ac:chgData name="Nikolaj Godsk Vestergaard" userId="13f6e931-e8bb-4f58-9241-2f10614c3355" providerId="ADAL" clId="{E4806A0B-DC8E-4AB6-B884-FF8A33E1EF07}" dt="2022-11-28T12:53:20.556" v="1214" actId="478"/>
            <ac:spMkLst>
              <pc:docMk/>
              <pc:sldMasterMk cId="180999990" sldId="2147483648"/>
              <pc:sldLayoutMk cId="1801837105" sldId="2147483658"/>
              <ac:spMk id="6" creationId="{34A05638-6A02-4F90-BE63-DA3C1ABD6852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8" creationId="{52DDEDDC-15D2-4E4C-901E-42E502E2A8B1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9" creationId="{CA5C13E6-5A09-4E57-8AA5-E627EC086C2F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0" creationId="{DAF7605A-6C97-4A29-A6C4-D0BCB41B7E04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1" creationId="{95F694D8-E89D-4F85-B965-6ABB0FD294C9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2" creationId="{42F9A808-20E2-4D0D-BC85-EA2AD4EE89EA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3" creationId="{0172F219-15C9-4DE3-85DB-880E95DE5D8E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4" creationId="{59F8DCF2-19C0-4EC9-AB80-F9304608F1A7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5" creationId="{B918CB4E-9A2D-4280-B8D6-EAE731751A45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6" creationId="{37435EF2-1CCA-4464-9F09-3ECBC1399B9C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7" creationId="{F7A74B35-E181-4700-99FD-FFD1E7C070B6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8" creationId="{062EB108-DA8F-4CAA-A021-2FB10C1EC4F1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19" creationId="{73D1FC50-BAC9-4E63-B3C2-BC7032F81AAD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20" creationId="{5F9B7FB3-35F4-4CBE-A09C-F66F590CFFE8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21" creationId="{D916FBB6-384D-4771-8641-58BD9CD17907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22" creationId="{71BF65B1-EDAE-48BD-9611-9B3FAF80BFC6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23" creationId="{9BA01FEA-2993-4024-825B-1DB626CB98BB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24" creationId="{99AD2AE6-9050-4889-82F2-C1419125FF29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25" creationId="{C57713A8-CEA2-47F3-BD43-6ADEB3FE868B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26" creationId="{7E90AF16-2D94-4AA6-8F4F-BA951107600C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27" creationId="{C9486BE3-4E3B-4C58-A77A-744CDAC1B7B6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29" creationId="{B70BC019-5B58-4937-8117-6773BDC0F1EF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30" creationId="{037CE266-13C0-448C-A563-1454B36CFBA4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32" creationId="{4DFA9240-E771-4987-974F-DCEF5FC6723C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33" creationId="{5FE706DA-1126-4F4C-8BBA-DC7AC43A2500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34" creationId="{663F8069-EBEA-4D62-B798-7843177FF1CB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35" creationId="{6D8D561E-D592-4F4A-A43C-EC6417F3F195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36" creationId="{A2209A31-DFA2-4D5E-AC37-61A897B80BA2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37" creationId="{5129EA7F-C30F-425A-947A-D527198CD2FD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38" creationId="{5881CFEE-ADE8-48E5-AB7C-68CB9039AA11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39" creationId="{69E898E1-6FA4-4718-AFF7-3DC996848B50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0" creationId="{F154A736-934B-41BD-A76B-8E0C52C1AE46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1" creationId="{C3AC04FE-8671-498F-828D-203CBC0BB635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2" creationId="{63F18C92-17B7-43A5-A68C-C450B779DADC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3" creationId="{417EB980-32D0-4DC4-A6C4-7E6D846EC924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4" creationId="{381163EF-7629-4CFF-B559-9851352F5ACF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5" creationId="{0F50E663-39E1-4AD0-93A3-1908DAE033F1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6" creationId="{71494E0A-A727-4295-A68E-7B51FCE149E5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7" creationId="{631DB046-E1DA-46FF-B77D-914F220E12DF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8" creationId="{6C3F2E69-7F19-4BB4-9196-BC1986750B11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49" creationId="{9B2453D0-FA03-4643-84F5-9E3C91A5CBC8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50" creationId="{9807AEC3-39CD-4D14-B42A-CD3D9393FE2E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51" creationId="{796D8525-F78B-4E8E-B835-32B685225339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53" creationId="{2CFDE35F-9C93-41AA-AF39-B673BE122D10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54" creationId="{205D0610-BF1E-4924-B2BC-5F952001F3CA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56" creationId="{6F723D16-9CA1-4043-8ACE-CDD24A84CAAE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57" creationId="{C4E55DC9-07C5-4BD4-87D7-ECDF770DF217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58" creationId="{DA90D220-A61A-410A-82F9-F4435DFF17DB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59" creationId="{9207D843-5CE4-4D01-AACF-727765A8CE11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60" creationId="{3B7AA49C-B52E-45C3-B4F0-5DB3CE9ACE95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61" creationId="{865D144E-115E-4C0F-858B-7AD446047D5F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62" creationId="{FBDD473D-941E-49C0-95D2-5368D36472F6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63" creationId="{2FFF5DD8-0F93-4F46-AD24-11024FDF3236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64" creationId="{747E638D-D925-4CD5-BA8E-12E806D795E9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65" creationId="{398577B8-887D-49A3-BAB5-913FE53A8C39}"/>
            </ac:spMkLst>
          </pc:spChg>
          <pc:spChg chg="mod">
            <ac:chgData name="Nikolaj Godsk Vestergaard" userId="13f6e931-e8bb-4f58-9241-2f10614c3355" providerId="ADAL" clId="{E4806A0B-DC8E-4AB6-B884-FF8A33E1EF07}" dt="2022-11-28T12:33:29.568" v="31"/>
            <ac:spMkLst>
              <pc:docMk/>
              <pc:sldMasterMk cId="180999990" sldId="2147483648"/>
              <pc:sldLayoutMk cId="1801837105" sldId="2147483658"/>
              <ac:spMk id="66" creationId="{EFA2CCDF-E88F-49CB-8522-55A21ECFC218}"/>
            </ac:spMkLst>
          </pc:spChg>
          <pc:spChg chg="add del mod modVis">
            <ac:chgData name="Nikolaj Godsk Vestergaard" userId="13f6e931-e8bb-4f58-9241-2f10614c3355" providerId="ADAL" clId="{E4806A0B-DC8E-4AB6-B884-FF8A33E1EF07}" dt="2022-11-28T12:36:59.561" v="120"/>
            <ac:spMkLst>
              <pc:docMk/>
              <pc:sldMasterMk cId="180999990" sldId="2147483648"/>
              <pc:sldLayoutMk cId="1801837105" sldId="2147483658"/>
              <ac:spMk id="67" creationId="{E66F1520-9A62-4859-9DCD-9B31F5A84B79}"/>
            </ac:spMkLst>
          </pc:spChg>
          <pc:grpChg chg="add mod ord">
            <ac:chgData name="Nikolaj Godsk Vestergaard" userId="13f6e931-e8bb-4f58-9241-2f10614c3355" providerId="ADAL" clId="{E4806A0B-DC8E-4AB6-B884-FF8A33E1EF07}" dt="2022-11-28T12:36:59.527" v="91"/>
            <ac:grpSpMkLst>
              <pc:docMk/>
              <pc:sldMasterMk cId="180999990" sldId="2147483648"/>
              <pc:sldLayoutMk cId="1801837105" sldId="2147483658"/>
              <ac:grpSpMk id="7" creationId="{DFA3D236-3486-4F19-A7C5-E133BD55CE1C}"/>
            </ac:grpSpMkLst>
          </pc:grpChg>
          <pc:grpChg chg="mod">
            <ac:chgData name="Nikolaj Godsk Vestergaard" userId="13f6e931-e8bb-4f58-9241-2f10614c3355" providerId="ADAL" clId="{E4806A0B-DC8E-4AB6-B884-FF8A33E1EF07}" dt="2022-11-28T12:33:29.568" v="31"/>
            <ac:grpSpMkLst>
              <pc:docMk/>
              <pc:sldMasterMk cId="180999990" sldId="2147483648"/>
              <pc:sldLayoutMk cId="1801837105" sldId="2147483658"/>
              <ac:grpSpMk id="28" creationId="{3C6F0935-C1C0-463D-A543-D7A18AF418BF}"/>
            </ac:grpSpMkLst>
          </pc:grpChg>
          <pc:grpChg chg="mod">
            <ac:chgData name="Nikolaj Godsk Vestergaard" userId="13f6e931-e8bb-4f58-9241-2f10614c3355" providerId="ADAL" clId="{E4806A0B-DC8E-4AB6-B884-FF8A33E1EF07}" dt="2022-11-28T12:33:29.568" v="31"/>
            <ac:grpSpMkLst>
              <pc:docMk/>
              <pc:sldMasterMk cId="180999990" sldId="2147483648"/>
              <pc:sldLayoutMk cId="1801837105" sldId="2147483658"/>
              <ac:grpSpMk id="31" creationId="{27EDFF7F-5034-4BC9-BE8B-3E6D7C6197BC}"/>
            </ac:grpSpMkLst>
          </pc:grpChg>
          <pc:grpChg chg="mod">
            <ac:chgData name="Nikolaj Godsk Vestergaard" userId="13f6e931-e8bb-4f58-9241-2f10614c3355" providerId="ADAL" clId="{E4806A0B-DC8E-4AB6-B884-FF8A33E1EF07}" dt="2022-11-28T12:33:29.568" v="31"/>
            <ac:grpSpMkLst>
              <pc:docMk/>
              <pc:sldMasterMk cId="180999990" sldId="2147483648"/>
              <pc:sldLayoutMk cId="1801837105" sldId="2147483658"/>
              <ac:grpSpMk id="52" creationId="{1ED48132-0E3B-4C9F-8080-7B4FB0379E28}"/>
            </ac:grpSpMkLst>
          </pc:grpChg>
          <pc:grpChg chg="mod">
            <ac:chgData name="Nikolaj Godsk Vestergaard" userId="13f6e931-e8bb-4f58-9241-2f10614c3355" providerId="ADAL" clId="{E4806A0B-DC8E-4AB6-B884-FF8A33E1EF07}" dt="2022-11-28T12:33:29.568" v="31"/>
            <ac:grpSpMkLst>
              <pc:docMk/>
              <pc:sldMasterMk cId="180999990" sldId="2147483648"/>
              <pc:sldLayoutMk cId="1801837105" sldId="2147483658"/>
              <ac:grpSpMk id="55" creationId="{644799B6-39C4-4EDA-90F6-B1BA328AF112}"/>
            </ac:grpSpMkLst>
          </pc:grpChg>
          <pc:graphicFrameChg chg="add mod ord modVis replST">
            <ac:chgData name="Nikolaj Godsk Vestergaard" userId="13f6e931-e8bb-4f58-9241-2f10614c3355" providerId="ADAL" clId="{E4806A0B-DC8E-4AB6-B884-FF8A33E1EF07}" dt="2022-11-28T12:36:59.579" v="136"/>
            <ac:graphicFrameMkLst>
              <pc:docMk/>
              <pc:sldMasterMk cId="180999990" sldId="2147483648"/>
              <pc:sldLayoutMk cId="1801837105" sldId="2147483658"/>
              <ac:graphicFrameMk id="68" creationId="{A100C677-B418-4EDF-ABC6-CE08CDC695FD}"/>
            </ac:graphicFrameMkLst>
          </pc:graphicFrameChg>
        </pc:sldLayoutChg>
        <pc:sldLayoutChg chg="addSp delSp modSp mod setBg">
          <pc:chgData name="Nikolaj Godsk Vestergaard" userId="13f6e931-e8bb-4f58-9241-2f10614c3355" providerId="ADAL" clId="{E4806A0B-DC8E-4AB6-B884-FF8A33E1EF07}" dt="2022-11-28T13:08:13.334" v="1535" actId="1076"/>
          <pc:sldLayoutMkLst>
            <pc:docMk/>
            <pc:sldMasterMk cId="180999990" sldId="2147483648"/>
            <pc:sldLayoutMk cId="1480811344" sldId="2147483691"/>
          </pc:sldLayoutMkLst>
          <pc:spChg chg="mod">
            <ac:chgData name="Nikolaj Godsk Vestergaard" userId="13f6e931-e8bb-4f58-9241-2f10614c3355" providerId="ADAL" clId="{E4806A0B-DC8E-4AB6-B884-FF8A33E1EF07}" dt="2022-11-28T13:08:13.334" v="1535" actId="1076"/>
            <ac:spMkLst>
              <pc:docMk/>
              <pc:sldMasterMk cId="180999990" sldId="2147483648"/>
              <pc:sldLayoutMk cId="1480811344" sldId="2147483691"/>
              <ac:spMk id="3" creationId="{00000000-0000-0000-0000-000000000000}"/>
            </ac:spMkLst>
          </pc:spChg>
          <pc:spChg chg="del">
            <ac:chgData name="Nikolaj Godsk Vestergaard" userId="13f6e931-e8bb-4f58-9241-2f10614c3355" providerId="ADAL" clId="{E4806A0B-DC8E-4AB6-B884-FF8A33E1EF07}" dt="2022-11-28T13:07:19.229" v="1526" actId="478"/>
            <ac:spMkLst>
              <pc:docMk/>
              <pc:sldMasterMk cId="180999990" sldId="2147483648"/>
              <pc:sldLayoutMk cId="1480811344" sldId="2147483691"/>
              <ac:spMk id="7" creationId="{00000000-0000-0000-0000-000000000000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10" creationId="{92B86184-6952-451E-8923-D1FFF61F2739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12" creationId="{C71AF609-7BB7-450F-A8AB-E493826AA9E9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13" creationId="{AED2F901-8026-448D-A349-9CA72B883ABC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14" creationId="{13A0FF20-A9BC-4DAA-BC16-E4C747D6646E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15" creationId="{62047D3D-2B35-4A87-9CEF-A9996A3BA36D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16" creationId="{36BACEDB-3231-4638-A682-B189FBE3FC4A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17" creationId="{80CF381C-9814-44B2-9E55-B8EC0B0AB8C4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18" creationId="{DFDF226F-A40F-4BAA-9FAA-D845B566B9F8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19" creationId="{65745712-0C3F-45EC-9C30-CA73E2C17891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0" creationId="{7B829C39-2590-47E2-8710-BABEF413F2C4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1" creationId="{E2175861-EC9F-4D11-A9B9-5ED7178A5D26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2" creationId="{1A3525D8-70CE-4CE1-B00C-FC50C9741911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3" creationId="{C350A2E7-53C0-405C-9A2C-01C66AD3068C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4" creationId="{D93D1F43-D738-46E7-8390-A696F6D1FDAD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5" creationId="{7B352C66-7B72-4D46-8287-9BD85434F192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6" creationId="{DD11AFDF-9ADA-413F-88BB-D1A61CA48A22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7" creationId="{95430F5E-BF6A-479A-B0E5-4881661F4642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8" creationId="{C58D23D2-086A-4899-96CA-FAF579AEAA82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29" creationId="{322C0835-F152-41BD-9EE2-77C35F50ADB1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30" creationId="{9A8D009F-7E08-4CCE-A86A-BA4170D78ECD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32" creationId="{375853E5-8D2D-4BFD-A344-777696706008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33" creationId="{6421FDF3-8380-4586-B83E-2921B2CFAF8F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35" creationId="{B47530CC-894E-4F4E-A9E1-811A9F54E060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36" creationId="{BFFDEA78-7890-4D70-AE9F-F38D5F43582C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37" creationId="{594D8DC3-1DC1-4C04-8D8B-12D29A61F2A4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38" creationId="{81F1ED35-B550-4F73-8A0D-BB1EA8636792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39" creationId="{FCA7A200-8695-4433-80AB-6AD5C9BC8FB1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0" creationId="{C35532D8-0C59-45DE-AEA2-EDF349D00105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1" creationId="{85AAC109-4491-463F-B14F-6FEBB7D58F80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2" creationId="{E58DA6A9-C278-4BB1-B2CB-D5E0026C1509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3" creationId="{789450D2-6F31-4A2B-B6F9-41770B7F2109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4" creationId="{5573F5F2-17BD-48C0-9F23-F83B1A5A8105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5" creationId="{1669DDF8-3A03-4864-9401-6964B3660B6E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6" creationId="{FD5CC3CC-71F7-4EA4-9714-7E4B1A822154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7" creationId="{66AD0467-5823-4999-AD6B-89A8E5203963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8" creationId="{273E409A-ECD6-470B-8EF7-98B6344C2682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49" creationId="{E9F45DAE-D07F-4A54-A8CA-371949E134EF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50" creationId="{658AC260-88AF-48F4-A331-C8C9FB4AF599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51" creationId="{FD01B15F-3134-4B86-81F7-196D34FD1337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52" creationId="{ECE62D4D-DAD1-4BD5-95D7-E4F2C4AB4E20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53" creationId="{E1411E4E-DD68-441C-BA24-04EC531F7CB4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54" creationId="{4FAAA02B-145E-42EF-9989-D3B3298B2D2D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55" creationId="{A1BC7C48-F5BC-429D-A0C2-2F698A1C754A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57" creationId="{A74C9D07-C230-4862-BDAB-5DE3DD971641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58" creationId="{CFF947DF-86EC-4D06-8402-0D28FAA07E2E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0" creationId="{64EE9073-F1CC-4483-89C9-142F060D1563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1" creationId="{CB7DB896-33B3-41DC-BB01-F2D7CB78EADD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2" creationId="{F428F3A0-7407-4A41-8EC0-E729B29E0AB0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3" creationId="{4F767371-F835-49CF-A9BA-C3C144C2E73A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4" creationId="{D43D496B-4A9F-4C55-9824-8149A5C3513C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5" creationId="{66796A3A-7456-4310-BB79-D5EFA11CDF29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6" creationId="{5AE20EA3-139D-4E96-87EA-6ABD338A141A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7" creationId="{A5D8B871-971A-497E-88EA-BD3C7E11BB9B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8" creationId="{EF015BEC-6C1B-40AC-A84D-118AD8944F9F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69" creationId="{8C9BC79A-1AA0-4E0B-A67B-8A9CA8102CE9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70" creationId="{75BFC764-F28D-40CD-A337-0DCD40399465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71" creationId="{75ACE2E8-E896-4D2F-AA37-81A8AEFC8139}"/>
            </ac:spMkLst>
          </pc:spChg>
          <pc:spChg chg="mod">
            <ac:chgData name="Nikolaj Godsk Vestergaard" userId="13f6e931-e8bb-4f58-9241-2f10614c3355" providerId="ADAL" clId="{E4806A0B-DC8E-4AB6-B884-FF8A33E1EF07}" dt="2022-11-28T13:07:41.518" v="1529"/>
            <ac:spMkLst>
              <pc:docMk/>
              <pc:sldMasterMk cId="180999990" sldId="2147483648"/>
              <pc:sldLayoutMk cId="1480811344" sldId="2147483691"/>
              <ac:spMk id="72" creationId="{7206F198-9F89-4266-9D50-C07019C2CD7E}"/>
            </ac:spMkLst>
          </pc:spChg>
          <pc:grpChg chg="add mod">
            <ac:chgData name="Nikolaj Godsk Vestergaard" userId="13f6e931-e8bb-4f58-9241-2f10614c3355" providerId="ADAL" clId="{E4806A0B-DC8E-4AB6-B884-FF8A33E1EF07}" dt="2022-11-28T13:08:06.421" v="1534" actId="1076"/>
            <ac:grpSpMkLst>
              <pc:docMk/>
              <pc:sldMasterMk cId="180999990" sldId="2147483648"/>
              <pc:sldLayoutMk cId="1480811344" sldId="2147483691"/>
              <ac:grpSpMk id="9" creationId="{07CC82E2-09C1-4622-A41A-D1941B226DC3}"/>
            </ac:grpSpMkLst>
          </pc:grpChg>
          <pc:grpChg chg="mod">
            <ac:chgData name="Nikolaj Godsk Vestergaard" userId="13f6e931-e8bb-4f58-9241-2f10614c3355" providerId="ADAL" clId="{E4806A0B-DC8E-4AB6-B884-FF8A33E1EF07}" dt="2022-11-28T13:07:41.518" v="1529"/>
            <ac:grpSpMkLst>
              <pc:docMk/>
              <pc:sldMasterMk cId="180999990" sldId="2147483648"/>
              <pc:sldLayoutMk cId="1480811344" sldId="2147483691"/>
              <ac:grpSpMk id="31" creationId="{B26D16EB-CAF3-40C1-B403-368196AE17A5}"/>
            </ac:grpSpMkLst>
          </pc:grpChg>
          <pc:grpChg chg="mod">
            <ac:chgData name="Nikolaj Godsk Vestergaard" userId="13f6e931-e8bb-4f58-9241-2f10614c3355" providerId="ADAL" clId="{E4806A0B-DC8E-4AB6-B884-FF8A33E1EF07}" dt="2022-11-28T13:07:41.518" v="1529"/>
            <ac:grpSpMkLst>
              <pc:docMk/>
              <pc:sldMasterMk cId="180999990" sldId="2147483648"/>
              <pc:sldLayoutMk cId="1480811344" sldId="2147483691"/>
              <ac:grpSpMk id="34" creationId="{5D66BD58-4BE5-4935-BF2C-EDC1609FD8BD}"/>
            </ac:grpSpMkLst>
          </pc:grpChg>
          <pc:grpChg chg="mod">
            <ac:chgData name="Nikolaj Godsk Vestergaard" userId="13f6e931-e8bb-4f58-9241-2f10614c3355" providerId="ADAL" clId="{E4806A0B-DC8E-4AB6-B884-FF8A33E1EF07}" dt="2022-11-28T13:07:41.518" v="1529"/>
            <ac:grpSpMkLst>
              <pc:docMk/>
              <pc:sldMasterMk cId="180999990" sldId="2147483648"/>
              <pc:sldLayoutMk cId="1480811344" sldId="2147483691"/>
              <ac:grpSpMk id="56" creationId="{061BBCF4-A94F-464F-9254-80F333F37689}"/>
            </ac:grpSpMkLst>
          </pc:grpChg>
          <pc:grpChg chg="mod">
            <ac:chgData name="Nikolaj Godsk Vestergaard" userId="13f6e931-e8bb-4f58-9241-2f10614c3355" providerId="ADAL" clId="{E4806A0B-DC8E-4AB6-B884-FF8A33E1EF07}" dt="2022-11-28T13:07:41.518" v="1529"/>
            <ac:grpSpMkLst>
              <pc:docMk/>
              <pc:sldMasterMk cId="180999990" sldId="2147483648"/>
              <pc:sldLayoutMk cId="1480811344" sldId="2147483691"/>
              <ac:grpSpMk id="59" creationId="{296C5B09-63AC-4349-A8AD-5FC47298B7BF}"/>
            </ac:grpSpMkLst>
          </pc:grpChg>
        </pc:sldLayoutChg>
        <pc:sldLayoutChg chg="addSp delSp modSp mod setBg">
          <pc:chgData name="Nikolaj Godsk Vestergaard" userId="13f6e931-e8bb-4f58-9241-2f10614c3355" providerId="ADAL" clId="{E4806A0B-DC8E-4AB6-B884-FF8A33E1EF07}" dt="2022-12-02T08:48:24.124" v="11054" actId="207"/>
          <pc:sldLayoutMkLst>
            <pc:docMk/>
            <pc:sldMasterMk cId="180999990" sldId="2147483648"/>
            <pc:sldLayoutMk cId="4004401256" sldId="2147483692"/>
          </pc:sldLayoutMkLst>
          <pc:spChg chg="mod ord">
            <ac:chgData name="Nikolaj Godsk Vestergaard" userId="13f6e931-e8bb-4f58-9241-2f10614c3355" providerId="ADAL" clId="{E4806A0B-DC8E-4AB6-B884-FF8A33E1EF07}" dt="2022-11-28T13:16:37.510" v="2145" actId="948"/>
            <ac:spMkLst>
              <pc:docMk/>
              <pc:sldMasterMk cId="180999990" sldId="2147483648"/>
              <pc:sldLayoutMk cId="4004401256" sldId="2147483692"/>
              <ac:spMk id="2" creationId="{00000000-0000-0000-0000-000000000000}"/>
            </ac:spMkLst>
          </pc:spChg>
          <pc:spChg chg="del mod ord">
            <ac:chgData name="Nikolaj Godsk Vestergaard" userId="13f6e931-e8bb-4f58-9241-2f10614c3355" providerId="ADAL" clId="{E4806A0B-DC8E-4AB6-B884-FF8A33E1EF07}" dt="2022-11-28T13:16:40.844" v="2188" actId="478"/>
            <ac:spMkLst>
              <pc:docMk/>
              <pc:sldMasterMk cId="180999990" sldId="2147483648"/>
              <pc:sldLayoutMk cId="4004401256" sldId="2147483692"/>
              <ac:spMk id="3" creationId="{00000000-0000-0000-0000-000000000000}"/>
            </ac:spMkLst>
          </pc:spChg>
          <pc:spChg chg="del mod ord">
            <ac:chgData name="Nikolaj Godsk Vestergaard" userId="13f6e931-e8bb-4f58-9241-2f10614c3355" providerId="ADAL" clId="{E4806A0B-DC8E-4AB6-B884-FF8A33E1EF07}" dt="2022-11-28T13:16:01.622" v="2007" actId="478"/>
            <ac:spMkLst>
              <pc:docMk/>
              <pc:sldMasterMk cId="180999990" sldId="2147483648"/>
              <pc:sldLayoutMk cId="4004401256" sldId="2147483692"/>
              <ac:spMk id="4" creationId="{4E3D603A-7559-4371-ACE3-B12E20084BAE}"/>
            </ac:spMkLst>
          </pc:spChg>
          <pc:spChg chg="del mod ord">
            <ac:chgData name="Nikolaj Godsk Vestergaard" userId="13f6e931-e8bb-4f58-9241-2f10614c3355" providerId="ADAL" clId="{E4806A0B-DC8E-4AB6-B884-FF8A33E1EF07}" dt="2022-11-28T13:16:05.600" v="2009" actId="478"/>
            <ac:spMkLst>
              <pc:docMk/>
              <pc:sldMasterMk cId="180999990" sldId="2147483648"/>
              <pc:sldLayoutMk cId="4004401256" sldId="2147483692"/>
              <ac:spMk id="5" creationId="{4518BCD5-ACF2-4924-B2F7-A3E3F0EBDB44}"/>
            </ac:spMkLst>
          </pc:spChg>
          <pc:spChg chg="del mod ord">
            <ac:chgData name="Nikolaj Godsk Vestergaard" userId="13f6e931-e8bb-4f58-9241-2f10614c3355" providerId="ADAL" clId="{E4806A0B-DC8E-4AB6-B884-FF8A33E1EF07}" dt="2022-11-28T13:16:02.447" v="2008" actId="478"/>
            <ac:spMkLst>
              <pc:docMk/>
              <pc:sldMasterMk cId="180999990" sldId="2147483648"/>
              <pc:sldLayoutMk cId="4004401256" sldId="2147483692"/>
              <ac:spMk id="6" creationId="{2FEB807C-31DA-4CEA-947C-A0D8107B02E3}"/>
            </ac:spMkLst>
          </pc:spChg>
          <pc:spChg chg="del">
            <ac:chgData name="Nikolaj Godsk Vestergaard" userId="13f6e931-e8bb-4f58-9241-2f10614c3355" providerId="ADAL" clId="{E4806A0B-DC8E-4AB6-B884-FF8A33E1EF07}" dt="2022-11-28T13:09:07.043" v="1536" actId="478"/>
            <ac:spMkLst>
              <pc:docMk/>
              <pc:sldMasterMk cId="180999990" sldId="2147483648"/>
              <pc:sldLayoutMk cId="4004401256" sldId="2147483692"/>
              <ac:spMk id="7" creationId="{00000000-0000-0000-0000-000000000000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9" creationId="{AE6DBC5B-411F-4EBB-A58F-CCC09280C896}"/>
            </ac:spMkLst>
          </pc:spChg>
          <pc:spChg chg="del mod ord">
            <ac:chgData name="Nikolaj Godsk Vestergaard" userId="13f6e931-e8bb-4f58-9241-2f10614c3355" providerId="ADAL" clId="{E4806A0B-DC8E-4AB6-B884-FF8A33E1EF07}" dt="2022-11-28T13:15:52.360" v="2006" actId="478"/>
            <ac:spMkLst>
              <pc:docMk/>
              <pc:sldMasterMk cId="180999990" sldId="2147483648"/>
              <pc:sldLayoutMk cId="4004401256" sldId="2147483692"/>
              <ac:spMk id="10" creationId="{D556956A-96D6-4D98-8C29-19A32FDF3B33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11" creationId="{8D7B6659-76FF-4D24-A989-E5CC2A3C5CEA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12" creationId="{D55FE598-616D-48EA-9019-D80936ABE22D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13" creationId="{B2FA1B30-E8F7-446E-A867-366883904586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14" creationId="{059C5DAA-0B5C-438B-95B7-8CED0D5F6A8F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15" creationId="{4818E2A0-3EA9-4194-9D64-6CB0B9A4CA07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16" creationId="{9C80652C-C7FE-48F0-A58E-3B0E871B3CC4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17" creationId="{994ED56D-326B-4B6C-8A74-8A6A7C68CA58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18" creationId="{8E36754F-6BD9-4831-B48E-1441DDD1AA5C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19" creationId="{E03B2F12-5E47-49CD-A5BF-8DB25A082B05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0" creationId="{AE99D425-CA77-4850-868E-98AECC44E6A9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1" creationId="{5EF3B7DE-5931-4953-A036-9C96296403E9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2" creationId="{45D17060-0BF2-4159-B419-28FFE17C63EC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3" creationId="{E1BF86A8-5582-4579-AB98-F5448FBDC351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4" creationId="{7F7B3F3C-D037-480E-A450-D09F90121C64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5" creationId="{5530CE61-3068-438B-9E6A-4DFB5912A121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6" creationId="{0EDF7A21-D3F6-4C42-A28D-9BCBD0D48C5E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7" creationId="{80EF907B-50E3-4A4E-BB4C-A48FDF4F236E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8" creationId="{07B764C5-A9BF-4B80-9EC3-60E1A867CDE6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29" creationId="{62B0DF4B-1A72-4A00-BE1E-0B1544334079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30" creationId="{A66191EB-8AD5-4BD9-A48C-E96AC67834EA}"/>
            </ac:spMkLst>
          </pc:spChg>
          <pc:spChg chg="mod">
            <ac:chgData name="Nikolaj Godsk Vestergaard" userId="13f6e931-e8bb-4f58-9241-2f10614c3355" providerId="ADAL" clId="{E4806A0B-DC8E-4AB6-B884-FF8A33E1EF07}" dt="2022-11-28T13:09:19.893" v="1539"/>
            <ac:spMkLst>
              <pc:docMk/>
              <pc:sldMasterMk cId="180999990" sldId="2147483648"/>
              <pc:sldLayoutMk cId="4004401256" sldId="2147483692"/>
              <ac:spMk id="32" creationId="{CE49ABB9-46A1-420C-B388-231926FB140A}"/>
            </ac:spMkLst>
          </pc:spChg>
          <pc:spChg chg="mod">
            <ac:chgData name="Nikolaj Godsk Vestergaard" userId="13f6e931-e8bb-4f58-9241-2f10614c3355" providerId="ADAL" clId="{E4806A0B-DC8E-4AB6-B884-FF8A33E1EF07}" dt="2022-11-28T13:09:19.893" v="1539"/>
            <ac:spMkLst>
              <pc:docMk/>
              <pc:sldMasterMk cId="180999990" sldId="2147483648"/>
              <pc:sldLayoutMk cId="4004401256" sldId="2147483692"/>
              <ac:spMk id="33" creationId="{C2D9E6CE-A009-49E9-ADBA-054A7EFB64AC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34" creationId="{76A0F72E-4D06-4E99-8279-52813E42374B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35" creationId="{D303BDEF-1E33-44D6-9CF0-EE33B78CB803}"/>
            </ac:spMkLst>
          </pc:spChg>
          <pc:spChg chg="mod">
            <ac:chgData name="Nikolaj Godsk Vestergaard" userId="13f6e931-e8bb-4f58-9241-2f10614c3355" providerId="ADAL" clId="{E4806A0B-DC8E-4AB6-B884-FF8A33E1EF07}" dt="2022-11-28T13:09:19.893" v="1539"/>
            <ac:spMkLst>
              <pc:docMk/>
              <pc:sldMasterMk cId="180999990" sldId="2147483648"/>
              <pc:sldLayoutMk cId="4004401256" sldId="2147483692"/>
              <ac:spMk id="37" creationId="{2083655E-E092-44D7-9DEE-CB2130CF25C2}"/>
            </ac:spMkLst>
          </pc:spChg>
          <pc:spChg chg="mod">
            <ac:chgData name="Nikolaj Godsk Vestergaard" userId="13f6e931-e8bb-4f58-9241-2f10614c3355" providerId="ADAL" clId="{E4806A0B-DC8E-4AB6-B884-FF8A33E1EF07}" dt="2022-11-28T13:09:19.893" v="1539"/>
            <ac:spMkLst>
              <pc:docMk/>
              <pc:sldMasterMk cId="180999990" sldId="2147483648"/>
              <pc:sldLayoutMk cId="4004401256" sldId="2147483692"/>
              <ac:spMk id="38" creationId="{036E7FD0-8D08-4A75-9162-50955BC0B375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39" creationId="{43B2DDEF-C2FB-4DDD-98C0-15C79B410BD1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0" creationId="{C5D8CDC4-0B06-4608-9742-1B20AFC1F071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1" creationId="{CC8A61FC-4B30-4A99-8BBB-BEC66F55B3BB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2" creationId="{5A943EA4-3EDB-4556-ADE4-359BAC1349CA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3" creationId="{04EBF04D-6E0F-4EC1-90F1-7F9619208779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4" creationId="{422779BA-CE83-4C14-A150-55170B61CC58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5" creationId="{6B57E380-F0C0-4AFC-9E1C-93DF269867D5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6" creationId="{C92B8AB9-A55F-445F-AF05-BD58BB3E88A8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7" creationId="{AF617A20-6E5A-4F8E-9CF0-409331549658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8" creationId="{21BA81BF-34CC-4577-9C0D-BB040EAEC1BF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49" creationId="{52194FF3-C173-41F7-9F77-9B9D3D2CF20A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0" creationId="{613DBBDD-B0D1-4802-8618-EC36BA3EC23D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1" creationId="{F553CED2-F9C1-40B3-8B3D-59436F2A429D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2" creationId="{8F1C0EF5-9124-4B24-A424-1673756BCF09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3" creationId="{1075C8EE-79AA-4D05-9D9F-73205D92EFC6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4" creationId="{B3D0268A-0CA5-4EDE-AC32-6C296E653731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5" creationId="{033A845D-9E0A-471A-84A4-9720876E6499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6" creationId="{B1872487-8703-4184-A8D7-CBC1D5F13A1F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7" creationId="{B82A8BD9-C5BD-4539-887F-DC3691F99D04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8" creationId="{E8D6650F-FEF2-4DAA-BB27-621CBE086A5A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59" creationId="{7F7B8E7C-51F9-49B1-AEE2-E4618045DA75}"/>
            </ac:spMkLst>
          </pc:spChg>
          <pc:spChg chg="mod">
            <ac:chgData name="Nikolaj Godsk Vestergaard" userId="13f6e931-e8bb-4f58-9241-2f10614c3355" providerId="ADAL" clId="{E4806A0B-DC8E-4AB6-B884-FF8A33E1EF07}" dt="2022-11-28T13:09:19.893" v="1539"/>
            <ac:spMkLst>
              <pc:docMk/>
              <pc:sldMasterMk cId="180999990" sldId="2147483648"/>
              <pc:sldLayoutMk cId="4004401256" sldId="2147483692"/>
              <ac:spMk id="61" creationId="{DB74F26A-A6E6-47BA-A2B1-E82577326E1C}"/>
            </ac:spMkLst>
          </pc:spChg>
          <pc:spChg chg="mod">
            <ac:chgData name="Nikolaj Godsk Vestergaard" userId="13f6e931-e8bb-4f58-9241-2f10614c3355" providerId="ADAL" clId="{E4806A0B-DC8E-4AB6-B884-FF8A33E1EF07}" dt="2022-11-28T13:09:19.893" v="1539"/>
            <ac:spMkLst>
              <pc:docMk/>
              <pc:sldMasterMk cId="180999990" sldId="2147483648"/>
              <pc:sldLayoutMk cId="4004401256" sldId="2147483692"/>
              <ac:spMk id="62" creationId="{637E5B50-56C6-4361-9788-EE7F137E5E4E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63" creationId="{C9BB1D2A-655D-4545-96E2-96786DF75DBD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64" creationId="{2B92AA66-1C24-41B9-B6E6-736ED8E2CD76}"/>
            </ac:spMkLst>
          </pc:spChg>
          <pc:spChg chg="mod">
            <ac:chgData name="Nikolaj Godsk Vestergaard" userId="13f6e931-e8bb-4f58-9241-2f10614c3355" providerId="ADAL" clId="{E4806A0B-DC8E-4AB6-B884-FF8A33E1EF07}" dt="2022-11-28T13:09:19.893" v="1539"/>
            <ac:spMkLst>
              <pc:docMk/>
              <pc:sldMasterMk cId="180999990" sldId="2147483648"/>
              <pc:sldLayoutMk cId="4004401256" sldId="2147483692"/>
              <ac:spMk id="66" creationId="{3668847A-EB35-48A7-AC21-3BDCF5FCD71E}"/>
            </ac:spMkLst>
          </pc:spChg>
          <pc:spChg chg="mod">
            <ac:chgData name="Nikolaj Godsk Vestergaard" userId="13f6e931-e8bb-4f58-9241-2f10614c3355" providerId="ADAL" clId="{E4806A0B-DC8E-4AB6-B884-FF8A33E1EF07}" dt="2022-11-28T13:09:19.893" v="1539"/>
            <ac:spMkLst>
              <pc:docMk/>
              <pc:sldMasterMk cId="180999990" sldId="2147483648"/>
              <pc:sldLayoutMk cId="4004401256" sldId="2147483692"/>
              <ac:spMk id="67" creationId="{9BD3C8FE-1262-4085-A360-D2E2BBEE62C1}"/>
            </ac:spMkLst>
          </pc:spChg>
          <pc:spChg chg="mod">
            <ac:chgData name="Nikolaj Godsk Vestergaard" userId="13f6e931-e8bb-4f58-9241-2f10614c3355" providerId="ADAL" clId="{E4806A0B-DC8E-4AB6-B884-FF8A33E1EF07}" dt="2022-11-28T13:09:19.893" v="1539"/>
            <ac:spMkLst>
              <pc:docMk/>
              <pc:sldMasterMk cId="180999990" sldId="2147483648"/>
              <pc:sldLayoutMk cId="4004401256" sldId="2147483692"/>
              <ac:spMk id="68" creationId="{CA6C1CDC-A4FC-473B-AD2A-70EEFF89B5CA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69" creationId="{1829692C-D3A6-4E2C-B006-70A6814A660B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70" creationId="{541A4739-2A9D-41A3-8021-CDE41E5AD3F7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71" creationId="{C20A5D35-E045-4819-9EFD-42F0C8AB601B}"/>
            </ac:spMkLst>
          </pc:spChg>
          <pc:spChg chg="add del mod">
            <ac:chgData name="Nikolaj Godsk Vestergaard" userId="13f6e931-e8bb-4f58-9241-2f10614c3355" providerId="ADAL" clId="{E4806A0B-DC8E-4AB6-B884-FF8A33E1EF07}" dt="2022-11-28T13:09:26.477" v="1540"/>
            <ac:spMkLst>
              <pc:docMk/>
              <pc:sldMasterMk cId="180999990" sldId="2147483648"/>
              <pc:sldLayoutMk cId="4004401256" sldId="2147483692"/>
              <ac:spMk id="72" creationId="{D1253EB6-BC3E-4C60-94B1-B2C63E07498F}"/>
            </ac:spMkLst>
          </pc:spChg>
          <pc:spChg chg="add del mod modVis">
            <ac:chgData name="Nikolaj Godsk Vestergaard" userId="13f6e931-e8bb-4f58-9241-2f10614c3355" providerId="ADAL" clId="{E4806A0B-DC8E-4AB6-B884-FF8A33E1EF07}" dt="2022-11-28T13:15:49.698" v="1989"/>
            <ac:spMkLst>
              <pc:docMk/>
              <pc:sldMasterMk cId="180999990" sldId="2147483648"/>
              <pc:sldLayoutMk cId="4004401256" sldId="2147483692"/>
              <ac:spMk id="73" creationId="{E99A1250-CFFD-4369-9F8B-C45511318914}"/>
            </ac:spMkLst>
          </pc:spChg>
          <pc:spChg chg="add mod">
            <ac:chgData name="Nikolaj Godsk Vestergaard" userId="13f6e931-e8bb-4f58-9241-2f10614c3355" providerId="ADAL" clId="{E4806A0B-DC8E-4AB6-B884-FF8A33E1EF07}" dt="2022-12-02T08:48:24.124" v="11054" actId="207"/>
            <ac:spMkLst>
              <pc:docMk/>
              <pc:sldMasterMk cId="180999990" sldId="2147483648"/>
              <pc:sldLayoutMk cId="4004401256" sldId="2147483692"/>
              <ac:spMk id="75" creationId="{D3B8EA68-780D-408D-A1B0-D4E553F60DC6}"/>
            </ac:spMkLst>
          </pc:spChg>
          <pc:spChg chg="add del mod modVis">
            <ac:chgData name="Nikolaj Godsk Vestergaard" userId="13f6e931-e8bb-4f58-9241-2f10614c3355" providerId="ADAL" clId="{E4806A0B-DC8E-4AB6-B884-FF8A33E1EF07}" dt="2022-11-28T13:16:29.294" v="2053"/>
            <ac:spMkLst>
              <pc:docMk/>
              <pc:sldMasterMk cId="180999990" sldId="2147483648"/>
              <pc:sldLayoutMk cId="4004401256" sldId="2147483692"/>
              <ac:spMk id="76" creationId="{2385E3E3-1F80-463F-90F2-667B8DB45E40}"/>
            </ac:spMkLst>
          </pc:spChg>
          <pc:spChg chg="add del mod modVis">
            <ac:chgData name="Nikolaj Godsk Vestergaard" userId="13f6e931-e8bb-4f58-9241-2f10614c3355" providerId="ADAL" clId="{E4806A0B-DC8E-4AB6-B884-FF8A33E1EF07}" dt="2022-11-28T13:16:32.314" v="2097"/>
            <ac:spMkLst>
              <pc:docMk/>
              <pc:sldMasterMk cId="180999990" sldId="2147483648"/>
              <pc:sldLayoutMk cId="4004401256" sldId="2147483692"/>
              <ac:spMk id="77" creationId="{E724032E-FD33-4D05-B47D-53A5EF0C86F5}"/>
            </ac:spMkLst>
          </pc:spChg>
          <pc:spChg chg="add del mod modVis">
            <ac:chgData name="Nikolaj Godsk Vestergaard" userId="13f6e931-e8bb-4f58-9241-2f10614c3355" providerId="ADAL" clId="{E4806A0B-DC8E-4AB6-B884-FF8A33E1EF07}" dt="2022-11-28T13:16:35.490" v="2141"/>
            <ac:spMkLst>
              <pc:docMk/>
              <pc:sldMasterMk cId="180999990" sldId="2147483648"/>
              <pc:sldLayoutMk cId="4004401256" sldId="2147483692"/>
              <ac:spMk id="78" creationId="{6F6C423E-47C5-4360-B40A-68F7DCAECBF8}"/>
            </ac:spMkLst>
          </pc:spChg>
          <pc:spChg chg="add del mod modVis">
            <ac:chgData name="Nikolaj Godsk Vestergaard" userId="13f6e931-e8bb-4f58-9241-2f10614c3355" providerId="ADAL" clId="{E4806A0B-DC8E-4AB6-B884-FF8A33E1EF07}" dt="2022-11-28T13:16:37.570" v="2185"/>
            <ac:spMkLst>
              <pc:docMk/>
              <pc:sldMasterMk cId="180999990" sldId="2147483648"/>
              <pc:sldLayoutMk cId="4004401256" sldId="2147483692"/>
              <ac:spMk id="79" creationId="{01843492-C5FA-4E54-A729-E62EF50E52C6}"/>
            </ac:spMkLst>
          </pc:spChg>
          <pc:grpChg chg="add del mod">
            <ac:chgData name="Nikolaj Godsk Vestergaard" userId="13f6e931-e8bb-4f58-9241-2f10614c3355" providerId="ADAL" clId="{E4806A0B-DC8E-4AB6-B884-FF8A33E1EF07}" dt="2022-11-28T13:09:26.477" v="1540"/>
            <ac:grpSpMkLst>
              <pc:docMk/>
              <pc:sldMasterMk cId="180999990" sldId="2147483648"/>
              <pc:sldLayoutMk cId="4004401256" sldId="2147483692"/>
              <ac:grpSpMk id="31" creationId="{2DE10A71-E018-4825-85EE-C123E69F0B02}"/>
            </ac:grpSpMkLst>
          </pc:grpChg>
          <pc:grpChg chg="add del mod">
            <ac:chgData name="Nikolaj Godsk Vestergaard" userId="13f6e931-e8bb-4f58-9241-2f10614c3355" providerId="ADAL" clId="{E4806A0B-DC8E-4AB6-B884-FF8A33E1EF07}" dt="2022-11-28T13:09:26.477" v="1540"/>
            <ac:grpSpMkLst>
              <pc:docMk/>
              <pc:sldMasterMk cId="180999990" sldId="2147483648"/>
              <pc:sldLayoutMk cId="4004401256" sldId="2147483692"/>
              <ac:grpSpMk id="36" creationId="{E0568776-FE3D-4DBF-991A-18A77EE4AC87}"/>
            </ac:grpSpMkLst>
          </pc:grpChg>
          <pc:grpChg chg="add del mod">
            <ac:chgData name="Nikolaj Godsk Vestergaard" userId="13f6e931-e8bb-4f58-9241-2f10614c3355" providerId="ADAL" clId="{E4806A0B-DC8E-4AB6-B884-FF8A33E1EF07}" dt="2022-11-28T13:09:26.477" v="1540"/>
            <ac:grpSpMkLst>
              <pc:docMk/>
              <pc:sldMasterMk cId="180999990" sldId="2147483648"/>
              <pc:sldLayoutMk cId="4004401256" sldId="2147483692"/>
              <ac:grpSpMk id="60" creationId="{10D85FE4-91D9-41FA-A3C7-DCC98C587332}"/>
            </ac:grpSpMkLst>
          </pc:grpChg>
          <pc:grpChg chg="add del mod">
            <ac:chgData name="Nikolaj Godsk Vestergaard" userId="13f6e931-e8bb-4f58-9241-2f10614c3355" providerId="ADAL" clId="{E4806A0B-DC8E-4AB6-B884-FF8A33E1EF07}" dt="2022-11-28T13:09:26.477" v="1540"/>
            <ac:grpSpMkLst>
              <pc:docMk/>
              <pc:sldMasterMk cId="180999990" sldId="2147483648"/>
              <pc:sldLayoutMk cId="4004401256" sldId="2147483692"/>
              <ac:grpSpMk id="65" creationId="{9AEA2E35-4699-4A27-B04A-614E89DCB71C}"/>
            </ac:grpSpMkLst>
          </pc:grpChg>
          <pc:graphicFrameChg chg="add mod ord modVis replST">
            <ac:chgData name="Nikolaj Godsk Vestergaard" userId="13f6e931-e8bb-4f58-9241-2f10614c3355" providerId="ADAL" clId="{E4806A0B-DC8E-4AB6-B884-FF8A33E1EF07}" dt="2022-11-28T13:16:37.573" v="2187"/>
            <ac:graphicFrameMkLst>
              <pc:docMk/>
              <pc:sldMasterMk cId="180999990" sldId="2147483648"/>
              <pc:sldLayoutMk cId="4004401256" sldId="2147483692"/>
              <ac:graphicFrameMk id="74" creationId="{84782DE8-9767-4702-8C7F-EAE3A0FA6E3B}"/>
            </ac:graphicFrameMkLst>
          </pc:graphicFrameChg>
          <pc:picChg chg="add mod ord">
            <ac:chgData name="Nikolaj Godsk Vestergaard" userId="13f6e931-e8bb-4f58-9241-2f10614c3355" providerId="ADAL" clId="{E4806A0B-DC8E-4AB6-B884-FF8A33E1EF07}" dt="2022-11-28T13:15:49.694" v="1974"/>
            <ac:picMkLst>
              <pc:docMk/>
              <pc:sldMasterMk cId="180999990" sldId="2147483648"/>
              <pc:sldLayoutMk cId="4004401256" sldId="2147483692"/>
              <ac:picMk id="8" creationId="{B4DA3B0F-03CD-4108-8860-23727812948A}"/>
            </ac:picMkLst>
          </pc:picChg>
        </pc:sldLayoutChg>
        <pc:sldLayoutChg chg="setBg">
          <pc:chgData name="Nikolaj Godsk Vestergaard" userId="13f6e931-e8bb-4f58-9241-2f10614c3355" providerId="ADAL" clId="{E4806A0B-DC8E-4AB6-B884-FF8A33E1EF07}" dt="2022-11-28T12:34:13.439" v="36"/>
          <pc:sldLayoutMkLst>
            <pc:docMk/>
            <pc:sldMasterMk cId="180999990" sldId="2147483648"/>
            <pc:sldLayoutMk cId="709031245" sldId="2147483693"/>
          </pc:sldLayoutMkLst>
        </pc:sldLayoutChg>
        <pc:sldLayoutChg chg="addSp delSp modSp mod setBg">
          <pc:chgData name="Nikolaj Godsk Vestergaard" userId="13f6e931-e8bb-4f58-9241-2f10614c3355" providerId="ADAL" clId="{E4806A0B-DC8E-4AB6-B884-FF8A33E1EF07}" dt="2022-11-28T13:11:29.445" v="1557" actId="1076"/>
          <pc:sldLayoutMkLst>
            <pc:docMk/>
            <pc:sldMasterMk cId="180999990" sldId="2147483648"/>
            <pc:sldLayoutMk cId="223604310" sldId="2147483694"/>
          </pc:sldLayoutMkLst>
          <pc:spChg chg="del">
            <ac:chgData name="Nikolaj Godsk Vestergaard" userId="13f6e931-e8bb-4f58-9241-2f10614c3355" providerId="ADAL" clId="{E4806A0B-DC8E-4AB6-B884-FF8A33E1EF07}" dt="2022-11-28T13:10:39.517" v="1547" actId="478"/>
            <ac:spMkLst>
              <pc:docMk/>
              <pc:sldMasterMk cId="180999990" sldId="2147483648"/>
              <pc:sldLayoutMk cId="223604310" sldId="2147483694"/>
              <ac:spMk id="8" creationId="{85D6EC3A-345A-46A8-866F-80BE98B51EA1}"/>
            </ac:spMkLst>
          </pc:spChg>
          <pc:spChg chg="del mod">
            <ac:chgData name="Nikolaj Godsk Vestergaard" userId="13f6e931-e8bb-4f58-9241-2f10614c3355" providerId="ADAL" clId="{E4806A0B-DC8E-4AB6-B884-FF8A33E1EF07}" dt="2022-11-28T13:11:15.875" v="1554" actId="478"/>
            <ac:spMkLst>
              <pc:docMk/>
              <pc:sldMasterMk cId="180999990" sldId="2147483648"/>
              <pc:sldLayoutMk cId="223604310" sldId="2147483694"/>
              <ac:spMk id="10" creationId="{A870D1C3-7E2E-4C71-B669-3496D73E1AB6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18" creationId="{9560D005-42F1-4338-B0A7-019A505317B4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20" creationId="{F1985F7F-0CD7-4E5B-B177-05BFF6116C13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21" creationId="{72897235-3719-4DD4-823D-8C397B5C0EAE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22" creationId="{5A3FACA7-85C1-4399-A3E0-CB15AC77FC10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23" creationId="{642AD79A-DD76-4AD3-81C6-4ACA9BE0101A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24" creationId="{81ECFDDF-9A1E-4C71-9C9D-5E09A2D9C4E2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25" creationId="{A307D40B-7242-44D4-B591-17FD3BF09EB6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28" creationId="{88E0BC4D-444B-4D02-A994-34ED22CEAF8E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29" creationId="{795A7F5F-5BB4-4E59-8D97-0332F453E9D8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30" creationId="{C5E1B8C9-851C-4F75-B9DD-82A1506E00E8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31" creationId="{4D10690C-C3D5-466C-AD32-8BB998CFB067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32" creationId="{772FC28F-55E1-4A85-85CE-186685CBF53B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33" creationId="{708C5B91-1264-4D6C-A190-BC6FAC6C274A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34" creationId="{EB842972-F3A9-4119-BEBC-00CE4D3660D6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35" creationId="{E0E7B5CB-3D65-4882-B5EF-91D6FB545DD2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37" creationId="{BCC50E44-D05B-4D2B-BFC7-9BFD74379BFC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38" creationId="{59BF1B50-3F01-40E4-9920-78A3641A19BF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41" creationId="{E59F448A-21CE-4C24-B920-61BB83D212B2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42" creationId="{527558DB-1967-464C-A148-6CC493D60684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44" creationId="{FF13580C-CB14-4338-9AB3-16D33D789C93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45" creationId="{E5A5B5C8-FD14-4385-AE28-FC4CE101CBF1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48" creationId="{A3AA01DC-6A07-4C85-B5EF-4D5A93B2A10D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49" creationId="{388C9D55-90F3-4356-87AA-968D9E2FEAF3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50" creationId="{F3A5549A-876E-45E2-A621-E4C04BEA4816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51" creationId="{E19FCB57-4C77-4452-9EDE-9CF05C41F758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54" creationId="{744A2DE7-10E1-4F99-B048-70EE169979E7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55" creationId="{2AF5F280-BD3E-405D-BEF9-7EC951D2C3B2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56" creationId="{CD802E64-9278-42FB-B79A-4AC869E37036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57" creationId="{5F0111DC-8D76-4C1A-8432-67D8400F8F34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58" creationId="{04D85F76-A436-4F44-A271-5812B6E37004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59" creationId="{1BD1C5A8-F98B-423D-96AC-88AEC1AE8FAD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60" creationId="{D358510C-7FE3-4EC0-A6FC-0C87AEC9D1BC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63" creationId="{FA513803-C6DB-4A96-B1CD-9E139ADB0FB6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65" creationId="{3C5A8E4E-2D95-42E0-BFF6-55CD715703A5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66" creationId="{7401099E-BCAB-4984-9156-073D0B5C8ADF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67" creationId="{F99A971C-E4E0-4CA7-8E34-DA50FE569F9B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68" creationId="{C5971175-E8D4-45D8-BFD0-4CA9D07EEE87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69" creationId="{B923C977-ADAA-4F71-9F28-0DB582894E5B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0" creationId="{A15BC7F6-A2A2-4D19-AC66-B91FA8853697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1" creationId="{9FEC534F-B9AF-47D0-9970-81E5E96067BD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2" creationId="{45BFEA4F-7187-48C0-BE71-F050BBD1D2AC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3" creationId="{5E5C0466-3ECB-4D2F-A47F-B12B99490945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4" creationId="{D5B2D0E3-2414-483A-A92C-B41C7C2F4383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5" creationId="{4B02C55D-41F4-4253-8C65-32414270B842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6" creationId="{9BEFDE11-15FD-4E8D-A436-F119FB103822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7" creationId="{FDA24A41-B4F9-4E3A-997E-85B5DAEB1210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8" creationId="{C7DF3842-B862-4240-8CA8-E8140697D3DC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79" creationId="{320ACF7E-2D7B-4CBE-B2F6-5E5661CAFDC7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0" creationId="{73DCC9B3-C9C8-4AA7-A179-BC5D1EFCFE34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1" creationId="{126F0858-6408-4050-BBCE-F70FADA594F6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2" creationId="{17A26FFC-8348-4ABC-A812-F6E26FDB1B85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3" creationId="{5BD01DDA-6970-4AD9-88E1-5EC430ADC778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4" creationId="{B789A9D7-7032-492B-8E88-FAAFF213085F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5" creationId="{04D6CFDC-9538-4D9F-8FF0-4602FECC44E8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6" creationId="{46328B47-DA59-4652-A7F5-124DD21137EF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7" creationId="{9199EEDB-BB7B-4A6E-ADD8-4E3E159896F8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8" creationId="{9DAA066F-D056-423F-BF3E-D6A24D45AEE9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89" creationId="{3D9CCD77-55C1-476F-8683-56ED66C7A90A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0" creationId="{00037E76-654A-469D-A0B6-022FCDB570C5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1" creationId="{3D9B4B76-5127-4D96-8478-952301488486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2" creationId="{DB21A7C0-E34D-4908-8E9B-C1BA461C3D8C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3" creationId="{BCE5B0F7-5FDC-4B9D-8BBB-EEDEFB1C0A37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4" creationId="{E60B4D83-EADD-40A5-8739-074D34190748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5" creationId="{3FF74D61-8F2C-415F-870A-3E26DFE35B47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6" creationId="{0E52EBA3-E209-4845-A921-54D168D9F53B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7" creationId="{83C02F3D-0741-41F5-9477-B7E0E381D908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8" creationId="{079699AB-E13E-4643-A888-2FB682F50DDC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99" creationId="{2E521742-9B6F-4627-8EC5-60F64ACFAF44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100" creationId="{5CAA66CA-0C74-4E12-A951-E58F094E3B5A}"/>
            </ac:spMkLst>
          </pc:spChg>
          <pc:spChg chg="mod">
            <ac:chgData name="Nikolaj Godsk Vestergaard" userId="13f6e931-e8bb-4f58-9241-2f10614c3355" providerId="ADAL" clId="{E4806A0B-DC8E-4AB6-B884-FF8A33E1EF07}" dt="2022-11-28T13:10:55.784" v="1550"/>
            <ac:spMkLst>
              <pc:docMk/>
              <pc:sldMasterMk cId="180999990" sldId="2147483648"/>
              <pc:sldLayoutMk cId="223604310" sldId="2147483694"/>
              <ac:spMk id="101" creationId="{4F9740FA-1D78-4B0B-8ED1-34B3D3955579}"/>
            </ac:spMkLst>
          </pc:spChg>
          <pc:grpChg chg="add mod">
            <ac:chgData name="Nikolaj Godsk Vestergaard" userId="13f6e931-e8bb-4f58-9241-2f10614c3355" providerId="ADAL" clId="{E4806A0B-DC8E-4AB6-B884-FF8A33E1EF07}" dt="2022-11-28T13:11:29.445" v="1557" actId="1076"/>
            <ac:grpSpMkLst>
              <pc:docMk/>
              <pc:sldMasterMk cId="180999990" sldId="2147483648"/>
              <pc:sldLayoutMk cId="223604310" sldId="2147483694"/>
              <ac:grpSpMk id="9" creationId="{CF860034-7B08-4F3D-B762-9A31C79575E9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14" creationId="{374DAF26-CC1A-4B23-B786-9BEE004A4999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17" creationId="{880F6B94-3351-4359-AA78-95E4BA51ABB9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19" creationId="{E5CD0861-C851-415E-9618-0358C8F35B16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26" creationId="{5604326C-FEC7-4B4A-B74C-3C1729D48495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27" creationId="{7B3E780A-FE52-4930-9014-FFEF28ABA4B9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36" creationId="{6E8FA8A2-6748-4033-9D1E-7C0954E44E32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39" creationId="{ECF2D44A-FB25-43C4-AFB2-097784CDC432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40" creationId="{4AF7C0F7-47FA-4AEE-B784-77502FF351F3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43" creationId="{6696EF14-D5CC-40FA-AFFE-9EE05B54F2CD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46" creationId="{EF0497D5-034D-4BED-B2FD-96D861FDF618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47" creationId="{659C0682-6BC4-4294-943E-0123E3492480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52" creationId="{991E8543-6457-41EF-A093-9737A2F9EE38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53" creationId="{C2A2A45D-1013-46CC-9BE8-C87DA338C1B2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61" creationId="{9062A484-71B7-4182-B701-AF300989DB6F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62" creationId="{4B42BFA4-94A2-47FB-884C-087EEABE659B}"/>
            </ac:grpSpMkLst>
          </pc:grpChg>
          <pc:grpChg chg="mod">
            <ac:chgData name="Nikolaj Godsk Vestergaard" userId="13f6e931-e8bb-4f58-9241-2f10614c3355" providerId="ADAL" clId="{E4806A0B-DC8E-4AB6-B884-FF8A33E1EF07}" dt="2022-11-28T13:10:55.784" v="1550"/>
            <ac:grpSpMkLst>
              <pc:docMk/>
              <pc:sldMasterMk cId="180999990" sldId="2147483648"/>
              <pc:sldLayoutMk cId="223604310" sldId="2147483694"/>
              <ac:grpSpMk id="64" creationId="{B80C4209-0690-4AAC-BF88-3AB881D5F86A}"/>
            </ac:grpSpMkLst>
          </pc:grpChg>
        </pc:sldLayoutChg>
        <pc:sldLayoutChg chg="setBg">
          <pc:chgData name="Nikolaj Godsk Vestergaard" userId="13f6e931-e8bb-4f58-9241-2f10614c3355" providerId="ADAL" clId="{E4806A0B-DC8E-4AB6-B884-FF8A33E1EF07}" dt="2022-11-28T12:34:13.439" v="36"/>
          <pc:sldLayoutMkLst>
            <pc:docMk/>
            <pc:sldMasterMk cId="180999990" sldId="2147483648"/>
            <pc:sldLayoutMk cId="3797425276" sldId="2147483697"/>
          </pc:sldLayoutMkLst>
        </pc:sldLayoutChg>
        <pc:sldLayoutChg chg="setBg">
          <pc:chgData name="Nikolaj Godsk Vestergaard" userId="13f6e931-e8bb-4f58-9241-2f10614c3355" providerId="ADAL" clId="{E4806A0B-DC8E-4AB6-B884-FF8A33E1EF07}" dt="2022-11-28T12:34:13.439" v="36"/>
          <pc:sldLayoutMkLst>
            <pc:docMk/>
            <pc:sldMasterMk cId="180999990" sldId="2147483648"/>
            <pc:sldLayoutMk cId="3980217615" sldId="2147483698"/>
          </pc:sldLayoutMkLst>
        </pc:sldLayoutChg>
        <pc:sldLayoutChg chg="setBg">
          <pc:chgData name="Nikolaj Godsk Vestergaard" userId="13f6e931-e8bb-4f58-9241-2f10614c3355" providerId="ADAL" clId="{E4806A0B-DC8E-4AB6-B884-FF8A33E1EF07}" dt="2022-11-28T12:34:13.439" v="36"/>
          <pc:sldLayoutMkLst>
            <pc:docMk/>
            <pc:sldMasterMk cId="180999990" sldId="2147483648"/>
            <pc:sldLayoutMk cId="2236477381" sldId="2147483699"/>
          </pc:sldLayoutMkLst>
        </pc:sldLayoutChg>
        <pc:sldLayoutChg chg="setBg">
          <pc:chgData name="Nikolaj Godsk Vestergaard" userId="13f6e931-e8bb-4f58-9241-2f10614c3355" providerId="ADAL" clId="{E4806A0B-DC8E-4AB6-B884-FF8A33E1EF07}" dt="2022-11-28T12:34:13.439" v="36"/>
          <pc:sldLayoutMkLst>
            <pc:docMk/>
            <pc:sldMasterMk cId="180999990" sldId="2147483648"/>
            <pc:sldLayoutMk cId="4184137119" sldId="2147483700"/>
          </pc:sldLayoutMkLst>
        </pc:sldLayoutChg>
        <pc:sldLayoutChg chg="setBg">
          <pc:chgData name="Nikolaj Godsk Vestergaard" userId="13f6e931-e8bb-4f58-9241-2f10614c3355" providerId="ADAL" clId="{E4806A0B-DC8E-4AB6-B884-FF8A33E1EF07}" dt="2022-11-28T12:34:13.439" v="36"/>
          <pc:sldLayoutMkLst>
            <pc:docMk/>
            <pc:sldMasterMk cId="180999990" sldId="2147483648"/>
            <pc:sldLayoutMk cId="952240583" sldId="2147483701"/>
          </pc:sldLayoutMkLst>
        </pc:sldLayoutChg>
        <pc:sldLayoutChg chg="setBg">
          <pc:chgData name="Nikolaj Godsk Vestergaard" userId="13f6e931-e8bb-4f58-9241-2f10614c3355" providerId="ADAL" clId="{E4806A0B-DC8E-4AB6-B884-FF8A33E1EF07}" dt="2022-11-28T12:34:13.439" v="36"/>
          <pc:sldLayoutMkLst>
            <pc:docMk/>
            <pc:sldMasterMk cId="180999990" sldId="2147483648"/>
            <pc:sldLayoutMk cId="2129834854" sldId="2147483703"/>
          </pc:sldLayoutMkLst>
        </pc:sldLayoutChg>
      </pc:sldMasterChg>
      <pc:sldMasterChg chg="addSp delSp modSp mod">
        <pc:chgData name="Nikolaj Godsk Vestergaard" userId="13f6e931-e8bb-4f58-9241-2f10614c3355" providerId="ADAL" clId="{E4806A0B-DC8E-4AB6-B884-FF8A33E1EF07}" dt="2022-12-02T11:18:38.678" v="12529"/>
        <pc:sldMasterMkLst>
          <pc:docMk/>
          <pc:sldMasterMk cId="243885082" sldId="2147483704"/>
        </pc:sldMasterMkLst>
        <pc:spChg chg="add del mod modVis">
          <ac:chgData name="Nikolaj Godsk Vestergaard" userId="13f6e931-e8bb-4f58-9241-2f10614c3355" providerId="ADAL" clId="{E4806A0B-DC8E-4AB6-B884-FF8A33E1EF07}" dt="2022-12-02T11:18:38.650" v="12513"/>
          <ac:spMkLst>
            <pc:docMk/>
            <pc:sldMasterMk cId="243885082" sldId="2147483704"/>
            <ac:spMk id="5" creationId="{C9CE22C2-8298-4A75-B78C-046E3B0A1311}"/>
          </ac:spMkLst>
        </pc:spChg>
        <pc:spChg chg="mod">
          <ac:chgData name="Nikolaj Godsk Vestergaard" userId="13f6e931-e8bb-4f58-9241-2f10614c3355" providerId="ADAL" clId="{E4806A0B-DC8E-4AB6-B884-FF8A33E1EF07}" dt="2022-12-02T11:18:38.591" v="12443" actId="948"/>
          <ac:spMkLst>
            <pc:docMk/>
            <pc:sldMasterMk cId="243885082" sldId="2147483704"/>
            <ac:spMk id="7" creationId="{C9392247-CE23-49BB-A39E-64C7575BE478}"/>
          </ac:spMkLst>
        </pc:spChg>
        <pc:graphicFrameChg chg="add mod ord modVis replST">
          <ac:chgData name="Nikolaj Godsk Vestergaard" userId="13f6e931-e8bb-4f58-9241-2f10614c3355" providerId="ADAL" clId="{E4806A0B-DC8E-4AB6-B884-FF8A33E1EF07}" dt="2022-12-02T11:18:38.678" v="12529"/>
          <ac:graphicFrameMkLst>
            <pc:docMk/>
            <pc:sldMasterMk cId="243885082" sldId="2147483704"/>
            <ac:graphicFrameMk id="6" creationId="{F9AE5F9C-F329-47C6-8F94-5BCE2A7C40CE}"/>
          </ac:graphicFrameMkLst>
        </pc:graphicFrameChg>
      </pc:sldMasterChg>
      <pc:sldMasterChg chg="del delSldLayout modSldLayout">
        <pc:chgData name="Nikolaj Godsk Vestergaard" userId="13f6e931-e8bb-4f58-9241-2f10614c3355" providerId="ADAL" clId="{E4806A0B-DC8E-4AB6-B884-FF8A33E1EF07}" dt="2022-11-28T13:11:51.394" v="1558" actId="700"/>
        <pc:sldMasterMkLst>
          <pc:docMk/>
          <pc:sldMasterMk cId="3795438760" sldId="2147483704"/>
        </pc:sldMasterMkLst>
        <pc:sldLayoutChg chg="del setBg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646169062" sldId="2147483705"/>
          </pc:sldLayoutMkLst>
        </pc:sldLayoutChg>
        <pc:sldLayoutChg chg="del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899986054" sldId="2147483706"/>
          </pc:sldLayoutMkLst>
        </pc:sldLayoutChg>
        <pc:sldLayoutChg chg="del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3345687580" sldId="2147483707"/>
          </pc:sldLayoutMkLst>
        </pc:sldLayoutChg>
        <pc:sldLayoutChg chg="del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2913895605" sldId="2147483708"/>
          </pc:sldLayoutMkLst>
        </pc:sldLayoutChg>
        <pc:sldLayoutChg chg="del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2187445986" sldId="2147483709"/>
          </pc:sldLayoutMkLst>
        </pc:sldLayoutChg>
        <pc:sldLayoutChg chg="del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2508254629" sldId="2147483710"/>
          </pc:sldLayoutMkLst>
        </pc:sldLayoutChg>
        <pc:sldLayoutChg chg="del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2808039608" sldId="2147483711"/>
          </pc:sldLayoutMkLst>
        </pc:sldLayoutChg>
        <pc:sldLayoutChg chg="del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2750247212" sldId="2147483712"/>
          </pc:sldLayoutMkLst>
        </pc:sldLayoutChg>
        <pc:sldLayoutChg chg="del setBg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539294184" sldId="2147483713"/>
          </pc:sldLayoutMkLst>
        </pc:sldLayoutChg>
        <pc:sldLayoutChg chg="del">
          <pc:chgData name="Nikolaj Godsk Vestergaard" userId="13f6e931-e8bb-4f58-9241-2f10614c3355" providerId="ADAL" clId="{E4806A0B-DC8E-4AB6-B884-FF8A33E1EF07}" dt="2022-11-28T13:11:51.394" v="1558" actId="700"/>
          <pc:sldLayoutMkLst>
            <pc:docMk/>
            <pc:sldMasterMk cId="3795438760" sldId="2147483704"/>
            <pc:sldLayoutMk cId="1107041033" sldId="2147483714"/>
          </pc:sldLayoutMkLst>
        </pc:sldLayoutChg>
      </pc:sldMasterChg>
      <pc:sldMasterChg chg="modSp mod">
        <pc:chgData name="Nikolaj Godsk Vestergaard" userId="13f6e931-e8bb-4f58-9241-2f10614c3355" providerId="ADAL" clId="{E4806A0B-DC8E-4AB6-B884-FF8A33E1EF07}" dt="2022-11-28T13:07:00.081" v="1522"/>
        <pc:sldMasterMkLst>
          <pc:docMk/>
          <pc:sldMasterMk cId="299853992" sldId="2147483715"/>
        </pc:sldMasterMkLst>
        <pc:graphicFrameChg chg="mod">
          <ac:chgData name="Nikolaj Godsk Vestergaard" userId="13f6e931-e8bb-4f58-9241-2f10614c3355" providerId="ADAL" clId="{E4806A0B-DC8E-4AB6-B884-FF8A33E1EF07}" dt="2022-11-28T13:07:00.081" v="1522"/>
          <ac:graphicFrameMkLst>
            <pc:docMk/>
            <pc:sldMasterMk cId="299853992" sldId="2147483715"/>
            <ac:graphicFrameMk id="2" creationId="{98392B5D-DCB2-4F11-A083-43E6ACD8FDF1}"/>
          </ac:graphicFrameMkLst>
        </pc:graphicFrameChg>
      </pc:sldMasterChg>
      <pc:sldMasterChg chg="del delSldLayout modSldLayout">
        <pc:chgData name="Nikolaj Godsk Vestergaard" userId="13f6e931-e8bb-4f58-9241-2f10614c3355" providerId="ADAL" clId="{E4806A0B-DC8E-4AB6-B884-FF8A33E1EF07}" dt="2022-11-28T12:40:57.537" v="256" actId="47"/>
        <pc:sldMasterMkLst>
          <pc:docMk/>
          <pc:sldMasterMk cId="3542121852" sldId="2147483715"/>
        </pc:sldMasterMkLst>
        <pc:sldLayoutChg chg="del setBg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2455800304" sldId="2147483716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3220489949" sldId="2147483717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2623192524" sldId="2147483718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4041198557" sldId="2147483719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956979451" sldId="2147483720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3132490697" sldId="2147483721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291327004" sldId="2147483722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1003911482" sldId="2147483723"/>
          </pc:sldLayoutMkLst>
        </pc:sldLayoutChg>
        <pc:sldLayoutChg chg="del setBg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95022568" sldId="2147483724"/>
          </pc:sldLayoutMkLst>
        </pc:sldLayoutChg>
        <pc:sldLayoutChg chg="modSp del mod">
          <pc:chgData name="Nikolaj Godsk Vestergaard" userId="13f6e931-e8bb-4f58-9241-2f10614c3355" providerId="ADAL" clId="{E4806A0B-DC8E-4AB6-B884-FF8A33E1EF07}" dt="2022-11-28T12:40:57.537" v="256" actId="47"/>
          <pc:sldLayoutMkLst>
            <pc:docMk/>
            <pc:sldMasterMk cId="3542121852" sldId="2147483715"/>
            <pc:sldLayoutMk cId="4106249105" sldId="2147483725"/>
          </pc:sldLayoutMkLst>
          <pc:grpChg chg="mod">
            <ac:chgData name="Nikolaj Godsk Vestergaard" userId="13f6e931-e8bb-4f58-9241-2f10614c3355" providerId="ADAL" clId="{E4806A0B-DC8E-4AB6-B884-FF8A33E1EF07}" dt="2022-11-28T12:32:29.923" v="4" actId="1076"/>
            <ac:grpSpMkLst>
              <pc:docMk/>
              <pc:sldMasterMk cId="3542121852" sldId="2147483715"/>
              <pc:sldLayoutMk cId="4106249105" sldId="2147483725"/>
              <ac:grpSpMk id="437" creationId="{00000000-0000-0000-0000-000000000000}"/>
            </ac:grpSpMkLst>
          </pc:grpChg>
        </pc:sldLayoutChg>
      </pc:sldMasterChg>
      <pc:sldMasterChg chg="addSp modSp del mod delSldLayout modSldLayout">
        <pc:chgData name="Nikolaj Godsk Vestergaard" userId="13f6e931-e8bb-4f58-9241-2f10614c3355" providerId="ADAL" clId="{E4806A0B-DC8E-4AB6-B884-FF8A33E1EF07}" dt="2022-11-28T12:37:35.416" v="138" actId="47"/>
        <pc:sldMasterMkLst>
          <pc:docMk/>
          <pc:sldMasterMk cId="2161769514" sldId="2147483726"/>
        </pc:sldMasterMkLst>
        <pc:graphicFrameChg chg="add mod ord modVis replST">
          <ac:chgData name="Nikolaj Godsk Vestergaard" userId="13f6e931-e8bb-4f58-9241-2f10614c3355" providerId="ADAL" clId="{E4806A0B-DC8E-4AB6-B884-FF8A33E1EF07}" dt="2022-11-28T12:36:59.560" v="118"/>
          <ac:graphicFrameMkLst>
            <pc:docMk/>
            <pc:sldMasterMk cId="2161769514" sldId="2147483726"/>
            <ac:graphicFrameMk id="2" creationId="{8976C3F5-05EC-483A-B7F2-813653775E51}"/>
          </ac:graphicFrameMkLst>
        </pc:graphicFrameChg>
        <pc:sldLayoutChg chg="del setBg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3863507562" sldId="2147483727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2624491625" sldId="2147483728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1048339462" sldId="2147483729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2131216679" sldId="2147483730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1177118532" sldId="2147483731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4146007963" sldId="2147483732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4115584243" sldId="2147483733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3449736195" sldId="2147483734"/>
          </pc:sldLayoutMkLst>
        </pc:sldLayoutChg>
        <pc:sldLayoutChg chg="del setBg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129983944" sldId="2147483735"/>
          </pc:sldLayoutMkLst>
        </pc:sldLayoutChg>
        <pc:sldLayoutChg chg="del">
          <pc:chgData name="Nikolaj Godsk Vestergaard" userId="13f6e931-e8bb-4f58-9241-2f10614c3355" providerId="ADAL" clId="{E4806A0B-DC8E-4AB6-B884-FF8A33E1EF07}" dt="2022-11-28T12:37:35.416" v="138" actId="47"/>
          <pc:sldLayoutMkLst>
            <pc:docMk/>
            <pc:sldMasterMk cId="2161769514" sldId="2147483726"/>
            <pc:sldLayoutMk cId="1149080952" sldId="2147483736"/>
          </pc:sldLayoutMkLst>
        </pc:sldLayoutChg>
      </pc:sldMasterChg>
    </pc:docChg>
  </pc:docChgLst>
  <pc:docChgLst>
    <pc:chgData name="Katrine Rusmann" userId="144feddb-6ec2-452e-829f-d510fc989638" providerId="ADAL" clId="{D04DDB5F-35D1-4B9F-9B91-4781DF64DB16}"/>
    <pc:docChg chg="undo custSel modSld">
      <pc:chgData name="Katrine Rusmann" userId="144feddb-6ec2-452e-829f-d510fc989638" providerId="ADAL" clId="{D04DDB5F-35D1-4B9F-9B91-4781DF64DB16}" dt="2023-01-26T11:37:42.052" v="239" actId="20577"/>
      <pc:docMkLst>
        <pc:docMk/>
      </pc:docMkLst>
      <pc:sldChg chg="modSp mod">
        <pc:chgData name="Katrine Rusmann" userId="144feddb-6ec2-452e-829f-d510fc989638" providerId="ADAL" clId="{D04DDB5F-35D1-4B9F-9B91-4781DF64DB16}" dt="2023-01-26T11:37:42.052" v="239" actId="20577"/>
        <pc:sldMkLst>
          <pc:docMk/>
          <pc:sldMk cId="3669439568" sldId="259"/>
        </pc:sldMkLst>
        <pc:spChg chg="mod">
          <ac:chgData name="Katrine Rusmann" userId="144feddb-6ec2-452e-829f-d510fc989638" providerId="ADAL" clId="{D04DDB5F-35D1-4B9F-9B91-4781DF64DB16}" dt="2023-01-26T11:37:42.052" v="239" actId="20577"/>
          <ac:spMkLst>
            <pc:docMk/>
            <pc:sldMk cId="3669439568" sldId="259"/>
            <ac:spMk id="27" creationId="{6A9ABC2C-E245-4EB4-809E-CEEE46ABED15}"/>
          </ac:spMkLst>
        </pc:spChg>
      </pc:sldChg>
    </pc:docChg>
  </pc:docChgLst>
  <pc:docChgLst>
    <pc:chgData name="Hanne Marie Holst Harboe" userId="S::hmhh@ramboll.com::3744b3b0-e9bd-4e9c-bac2-809ff365716f" providerId="AD" clId="Web-{BE386D6B-EFDA-70E8-341B-B9B5F6D47E46}"/>
    <pc:docChg chg="modSld">
      <pc:chgData name="Hanne Marie Holst Harboe" userId="S::hmhh@ramboll.com::3744b3b0-e9bd-4e9c-bac2-809ff365716f" providerId="AD" clId="Web-{BE386D6B-EFDA-70E8-341B-B9B5F6D47E46}" dt="2022-12-05T15:27:37.913" v="5" actId="20577"/>
      <pc:docMkLst>
        <pc:docMk/>
      </pc:docMkLst>
      <pc:sldChg chg="modSp">
        <pc:chgData name="Hanne Marie Holst Harboe" userId="S::hmhh@ramboll.com::3744b3b0-e9bd-4e9c-bac2-809ff365716f" providerId="AD" clId="Web-{BE386D6B-EFDA-70E8-341B-B9B5F6D47E46}" dt="2022-12-05T15:19:00.830" v="1" actId="20577"/>
        <pc:sldMkLst>
          <pc:docMk/>
          <pc:sldMk cId="3669439568" sldId="259"/>
        </pc:sldMkLst>
        <pc:spChg chg="mod">
          <ac:chgData name="Hanne Marie Holst Harboe" userId="S::hmhh@ramboll.com::3744b3b0-e9bd-4e9c-bac2-809ff365716f" providerId="AD" clId="Web-{BE386D6B-EFDA-70E8-341B-B9B5F6D47E46}" dt="2022-12-05T15:19:00.830" v="1" actId="20577"/>
          <ac:spMkLst>
            <pc:docMk/>
            <pc:sldMk cId="3669439568" sldId="259"/>
            <ac:spMk id="25" creationId="{60190C2E-F617-4BE5-A4F4-D58416039EA4}"/>
          </ac:spMkLst>
        </pc:spChg>
      </pc:sldChg>
      <pc:sldChg chg="modSp">
        <pc:chgData name="Hanne Marie Holst Harboe" userId="S::hmhh@ramboll.com::3744b3b0-e9bd-4e9c-bac2-809ff365716f" providerId="AD" clId="Web-{BE386D6B-EFDA-70E8-341B-B9B5F6D47E46}" dt="2022-12-05T15:19:15.346" v="2" actId="14100"/>
        <pc:sldMkLst>
          <pc:docMk/>
          <pc:sldMk cId="2818176505" sldId="332"/>
        </pc:sldMkLst>
        <pc:spChg chg="mod">
          <ac:chgData name="Hanne Marie Holst Harboe" userId="S::hmhh@ramboll.com::3744b3b0-e9bd-4e9c-bac2-809ff365716f" providerId="AD" clId="Web-{BE386D6B-EFDA-70E8-341B-B9B5F6D47E46}" dt="2022-12-05T15:19:15.346" v="2" actId="14100"/>
          <ac:spMkLst>
            <pc:docMk/>
            <pc:sldMk cId="2818176505" sldId="332"/>
            <ac:spMk id="81" creationId="{F0769BA3-66CD-4FC1-9AA0-CF03C4D0115B}"/>
          </ac:spMkLst>
        </pc:spChg>
      </pc:sldChg>
      <pc:sldChg chg="modSp">
        <pc:chgData name="Hanne Marie Holst Harboe" userId="S::hmhh@ramboll.com::3744b3b0-e9bd-4e9c-bac2-809ff365716f" providerId="AD" clId="Web-{BE386D6B-EFDA-70E8-341B-B9B5F6D47E46}" dt="2022-12-05T15:27:37.913" v="5" actId="20577"/>
        <pc:sldMkLst>
          <pc:docMk/>
          <pc:sldMk cId="3328935215" sldId="356"/>
        </pc:sldMkLst>
        <pc:spChg chg="mod">
          <ac:chgData name="Hanne Marie Holst Harboe" userId="S::hmhh@ramboll.com::3744b3b0-e9bd-4e9c-bac2-809ff365716f" providerId="AD" clId="Web-{BE386D6B-EFDA-70E8-341B-B9B5F6D47E46}" dt="2022-12-05T15:27:37.913" v="5" actId="20577"/>
          <ac:spMkLst>
            <pc:docMk/>
            <pc:sldMk cId="3328935215" sldId="356"/>
            <ac:spMk id="4" creationId="{5AED0789-4D1B-4A34-BBD0-9E505DCD61A8}"/>
          </ac:spMkLst>
        </pc:spChg>
      </pc:sldChg>
    </pc:docChg>
  </pc:docChgLst>
  <pc:docChgLst>
    <pc:chgData name="Mia Rytter Lund" userId="fd5a37df-57b5-4ab7-b42f-f051b0300ae8" providerId="ADAL" clId="{ED476330-2767-4560-BB40-AACDC7D43230}"/>
    <pc:docChg chg="undo custSel addSld delSld modSld sldOrd">
      <pc:chgData name="Mia Rytter Lund" userId="fd5a37df-57b5-4ab7-b42f-f051b0300ae8" providerId="ADAL" clId="{ED476330-2767-4560-BB40-AACDC7D43230}" dt="2022-12-02T22:07:23.143" v="2392" actId="20577"/>
      <pc:docMkLst>
        <pc:docMk/>
      </pc:docMkLst>
      <pc:sldChg chg="modSp mod">
        <pc:chgData name="Mia Rytter Lund" userId="fd5a37df-57b5-4ab7-b42f-f051b0300ae8" providerId="ADAL" clId="{ED476330-2767-4560-BB40-AACDC7D43230}" dt="2022-11-28T19:46:19.670" v="17" actId="20577"/>
        <pc:sldMkLst>
          <pc:docMk/>
          <pc:sldMk cId="0" sldId="256"/>
        </pc:sldMkLst>
        <pc:spChg chg="mod">
          <ac:chgData name="Mia Rytter Lund" userId="fd5a37df-57b5-4ab7-b42f-f051b0300ae8" providerId="ADAL" clId="{ED476330-2767-4560-BB40-AACDC7D43230}" dt="2022-11-28T19:46:19.670" v="17" actId="20577"/>
          <ac:spMkLst>
            <pc:docMk/>
            <pc:sldMk cId="0" sldId="256"/>
            <ac:spMk id="694" creationId="{00000000-0000-0000-0000-000000000000}"/>
          </ac:spMkLst>
        </pc:spChg>
      </pc:sldChg>
      <pc:sldChg chg="modSp mod">
        <pc:chgData name="Mia Rytter Lund" userId="fd5a37df-57b5-4ab7-b42f-f051b0300ae8" providerId="ADAL" clId="{ED476330-2767-4560-BB40-AACDC7D43230}" dt="2022-12-02T22:00:36.755" v="2159" actId="1076"/>
        <pc:sldMkLst>
          <pc:docMk/>
          <pc:sldMk cId="3669439568" sldId="259"/>
        </pc:sldMkLst>
        <pc:spChg chg="mod">
          <ac:chgData name="Mia Rytter Lund" userId="fd5a37df-57b5-4ab7-b42f-f051b0300ae8" providerId="ADAL" clId="{ED476330-2767-4560-BB40-AACDC7D43230}" dt="2022-12-02T22:00:36.755" v="2159" actId="1076"/>
          <ac:spMkLst>
            <pc:docMk/>
            <pc:sldMk cId="3669439568" sldId="259"/>
            <ac:spMk id="23" creationId="{E3753B1C-EBC0-449B-A8B6-B534CCA157D2}"/>
          </ac:spMkLst>
        </pc:spChg>
      </pc:sldChg>
      <pc:sldChg chg="modSp mod addCm">
        <pc:chgData name="Mia Rytter Lund" userId="fd5a37df-57b5-4ab7-b42f-f051b0300ae8" providerId="ADAL" clId="{ED476330-2767-4560-BB40-AACDC7D43230}" dt="2022-12-02T21:20:13.612" v="1308" actId="20577"/>
        <pc:sldMkLst>
          <pc:docMk/>
          <pc:sldMk cId="3124793191" sldId="260"/>
        </pc:sldMkLst>
        <pc:spChg chg="mod">
          <ac:chgData name="Mia Rytter Lund" userId="fd5a37df-57b5-4ab7-b42f-f051b0300ae8" providerId="ADAL" clId="{ED476330-2767-4560-BB40-AACDC7D43230}" dt="2022-12-02T21:20:00" v="1304" actId="12"/>
          <ac:spMkLst>
            <pc:docMk/>
            <pc:sldMk cId="3124793191" sldId="260"/>
            <ac:spMk id="3" creationId="{ECA3CD0C-71D1-440B-AD13-9AB9D8EB8AF9}"/>
          </ac:spMkLst>
        </pc:spChg>
        <pc:spChg chg="mod">
          <ac:chgData name="Mia Rytter Lund" userId="fd5a37df-57b5-4ab7-b42f-f051b0300ae8" providerId="ADAL" clId="{ED476330-2767-4560-BB40-AACDC7D43230}" dt="2022-12-02T21:20:13.612" v="1308" actId="20577"/>
          <ac:spMkLst>
            <pc:docMk/>
            <pc:sldMk cId="3124793191" sldId="260"/>
            <ac:spMk id="12" creationId="{FB3CD0CC-71D0-4A1F-8201-11AB9CBD902A}"/>
          </ac:spMkLst>
        </pc:spChg>
      </pc:sldChg>
      <pc:sldChg chg="modSp mod addCm modCm">
        <pc:chgData name="Mia Rytter Lund" userId="fd5a37df-57b5-4ab7-b42f-f051b0300ae8" providerId="ADAL" clId="{ED476330-2767-4560-BB40-AACDC7D43230}" dt="2022-12-02T21:21:07.595" v="1313" actId="1076"/>
        <pc:sldMkLst>
          <pc:docMk/>
          <pc:sldMk cId="2252367502" sldId="261"/>
        </pc:sldMkLst>
        <pc:spChg chg="mod">
          <ac:chgData name="Mia Rytter Lund" userId="fd5a37df-57b5-4ab7-b42f-f051b0300ae8" providerId="ADAL" clId="{ED476330-2767-4560-BB40-AACDC7D43230}" dt="2022-12-02T21:21:07.595" v="1313" actId="1076"/>
          <ac:spMkLst>
            <pc:docMk/>
            <pc:sldMk cId="2252367502" sldId="261"/>
            <ac:spMk id="92" creationId="{D815FDFC-BAAF-487D-9920-F395620678C7}"/>
          </ac:spMkLst>
        </pc:spChg>
      </pc:sldChg>
      <pc:sldChg chg="modSp mod addCm modCm">
        <pc:chgData name="Mia Rytter Lund" userId="fd5a37df-57b5-4ab7-b42f-f051b0300ae8" providerId="ADAL" clId="{ED476330-2767-4560-BB40-AACDC7D43230}" dt="2022-12-02T21:23:41" v="1365" actId="20577"/>
        <pc:sldMkLst>
          <pc:docMk/>
          <pc:sldMk cId="4205915561" sldId="262"/>
        </pc:sldMkLst>
        <pc:spChg chg="mod">
          <ac:chgData name="Mia Rytter Lund" userId="fd5a37df-57b5-4ab7-b42f-f051b0300ae8" providerId="ADAL" clId="{ED476330-2767-4560-BB40-AACDC7D43230}" dt="2022-12-02T21:23:41" v="1365" actId="20577"/>
          <ac:spMkLst>
            <pc:docMk/>
            <pc:sldMk cId="4205915561" sldId="262"/>
            <ac:spMk id="7" creationId="{27C30AB3-064D-441B-A9D9-D1F3413F87C2}"/>
          </ac:spMkLst>
        </pc:spChg>
        <pc:spChg chg="mod">
          <ac:chgData name="Mia Rytter Lund" userId="fd5a37df-57b5-4ab7-b42f-f051b0300ae8" providerId="ADAL" clId="{ED476330-2767-4560-BB40-AACDC7D43230}" dt="2022-12-02T21:22:48.489" v="1332" actId="14100"/>
          <ac:spMkLst>
            <pc:docMk/>
            <pc:sldMk cId="4205915561" sldId="262"/>
            <ac:spMk id="22" creationId="{A8916DC6-5398-4A09-AF36-6DA76F62CE3F}"/>
          </ac:spMkLst>
        </pc:spChg>
        <pc:spChg chg="mod">
          <ac:chgData name="Mia Rytter Lund" userId="fd5a37df-57b5-4ab7-b42f-f051b0300ae8" providerId="ADAL" clId="{ED476330-2767-4560-BB40-AACDC7D43230}" dt="2022-12-02T21:23:14.795" v="1338" actId="14100"/>
          <ac:spMkLst>
            <pc:docMk/>
            <pc:sldMk cId="4205915561" sldId="262"/>
            <ac:spMk id="25" creationId="{EDA2C9DA-AA0E-4900-AD2F-E52580846E8D}"/>
          </ac:spMkLst>
        </pc:spChg>
        <pc:spChg chg="mod">
          <ac:chgData name="Mia Rytter Lund" userId="fd5a37df-57b5-4ab7-b42f-f051b0300ae8" providerId="ADAL" clId="{ED476330-2767-4560-BB40-AACDC7D43230}" dt="2022-12-02T21:23:10.460" v="1337" actId="14100"/>
          <ac:spMkLst>
            <pc:docMk/>
            <pc:sldMk cId="4205915561" sldId="262"/>
            <ac:spMk id="28" creationId="{C9C8853F-9B19-4599-9846-37DE71762DBA}"/>
          </ac:spMkLst>
        </pc:spChg>
        <pc:spChg chg="mod">
          <ac:chgData name="Mia Rytter Lund" userId="fd5a37df-57b5-4ab7-b42f-f051b0300ae8" providerId="ADAL" clId="{ED476330-2767-4560-BB40-AACDC7D43230}" dt="2022-12-02T21:22:56.998" v="1334" actId="14100"/>
          <ac:spMkLst>
            <pc:docMk/>
            <pc:sldMk cId="4205915561" sldId="262"/>
            <ac:spMk id="30" creationId="{BC46319C-8AE6-4A31-95E2-BC1DDD2382F5}"/>
          </ac:spMkLst>
        </pc:spChg>
      </pc:sldChg>
      <pc:sldChg chg="modSp mod addCm">
        <pc:chgData name="Mia Rytter Lund" userId="fd5a37df-57b5-4ab7-b42f-f051b0300ae8" providerId="ADAL" clId="{ED476330-2767-4560-BB40-AACDC7D43230}" dt="2022-12-02T21:31:01.527" v="1641" actId="20577"/>
        <pc:sldMkLst>
          <pc:docMk/>
          <pc:sldMk cId="3151590070" sldId="268"/>
        </pc:sldMkLst>
        <pc:spChg chg="mod">
          <ac:chgData name="Mia Rytter Lund" userId="fd5a37df-57b5-4ab7-b42f-f051b0300ae8" providerId="ADAL" clId="{ED476330-2767-4560-BB40-AACDC7D43230}" dt="2022-12-02T21:31:01.527" v="1641" actId="20577"/>
          <ac:spMkLst>
            <pc:docMk/>
            <pc:sldMk cId="3151590070" sldId="268"/>
            <ac:spMk id="23" creationId="{021D5157-0B16-4ACC-A984-7AE560034E0D}"/>
          </ac:spMkLst>
        </pc:spChg>
        <pc:spChg chg="mod">
          <ac:chgData name="Mia Rytter Lund" userId="fd5a37df-57b5-4ab7-b42f-f051b0300ae8" providerId="ADAL" clId="{ED476330-2767-4560-BB40-AACDC7D43230}" dt="2022-12-02T21:30:47.978" v="1639" actId="1076"/>
          <ac:spMkLst>
            <pc:docMk/>
            <pc:sldMk cId="3151590070" sldId="268"/>
            <ac:spMk id="28" creationId="{7017F8D6-C2A5-462A-B7A7-032E3840D9C9}"/>
          </ac:spMkLst>
        </pc:spChg>
        <pc:spChg chg="mod">
          <ac:chgData name="Mia Rytter Lund" userId="fd5a37df-57b5-4ab7-b42f-f051b0300ae8" providerId="ADAL" clId="{ED476330-2767-4560-BB40-AACDC7D43230}" dt="2022-12-02T21:30:47.978" v="1639" actId="1076"/>
          <ac:spMkLst>
            <pc:docMk/>
            <pc:sldMk cId="3151590070" sldId="268"/>
            <ac:spMk id="29" creationId="{84BC7683-CA51-4905-AFC9-3D9783F66060}"/>
          </ac:spMkLst>
        </pc:spChg>
        <pc:spChg chg="mod">
          <ac:chgData name="Mia Rytter Lund" userId="fd5a37df-57b5-4ab7-b42f-f051b0300ae8" providerId="ADAL" clId="{ED476330-2767-4560-BB40-AACDC7D43230}" dt="2022-12-02T21:30:47.978" v="1639" actId="1076"/>
          <ac:spMkLst>
            <pc:docMk/>
            <pc:sldMk cId="3151590070" sldId="268"/>
            <ac:spMk id="32" creationId="{2318A6E4-30EE-4013-856B-218DFDC5F53F}"/>
          </ac:spMkLst>
        </pc:spChg>
        <pc:spChg chg="mod">
          <ac:chgData name="Mia Rytter Lund" userId="fd5a37df-57b5-4ab7-b42f-f051b0300ae8" providerId="ADAL" clId="{ED476330-2767-4560-BB40-AACDC7D43230}" dt="2022-12-02T21:30:47.978" v="1639" actId="1076"/>
          <ac:spMkLst>
            <pc:docMk/>
            <pc:sldMk cId="3151590070" sldId="268"/>
            <ac:spMk id="34" creationId="{56F3EAEC-F9D6-4DE0-8787-97F7ACA96730}"/>
          </ac:spMkLst>
        </pc:spChg>
      </pc:sldChg>
      <pc:sldChg chg="addSp modSp mod modCm">
        <pc:chgData name="Mia Rytter Lund" userId="fd5a37df-57b5-4ab7-b42f-f051b0300ae8" providerId="ADAL" clId="{ED476330-2767-4560-BB40-AACDC7D43230}" dt="2022-12-02T21:50:44.699" v="1923" actId="20577"/>
        <pc:sldMkLst>
          <pc:docMk/>
          <pc:sldMk cId="2932001311" sldId="273"/>
        </pc:sldMkLst>
        <pc:spChg chg="mod">
          <ac:chgData name="Mia Rytter Lund" userId="fd5a37df-57b5-4ab7-b42f-f051b0300ae8" providerId="ADAL" clId="{ED476330-2767-4560-BB40-AACDC7D43230}" dt="2022-12-02T21:43:09.662" v="1749" actId="20577"/>
          <ac:spMkLst>
            <pc:docMk/>
            <pc:sldMk cId="2932001311" sldId="273"/>
            <ac:spMk id="3" creationId="{2822D710-83C3-41B6-BCD3-E40E2A00814C}"/>
          </ac:spMkLst>
        </pc:spChg>
        <pc:spChg chg="add mod">
          <ac:chgData name="Mia Rytter Lund" userId="fd5a37df-57b5-4ab7-b42f-f051b0300ae8" providerId="ADAL" clId="{ED476330-2767-4560-BB40-AACDC7D43230}" dt="2022-12-02T21:43:43.164" v="1755" actId="14100"/>
          <ac:spMkLst>
            <pc:docMk/>
            <pc:sldMk cId="2932001311" sldId="273"/>
            <ac:spMk id="7" creationId="{97DB3602-6B2B-40EF-9FBC-F4EBDD5DB7CE}"/>
          </ac:spMkLst>
        </pc:spChg>
        <pc:spChg chg="mod">
          <ac:chgData name="Mia Rytter Lund" userId="fd5a37df-57b5-4ab7-b42f-f051b0300ae8" providerId="ADAL" clId="{ED476330-2767-4560-BB40-AACDC7D43230}" dt="2022-12-02T21:50:44.699" v="1923" actId="20577"/>
          <ac:spMkLst>
            <pc:docMk/>
            <pc:sldMk cId="2932001311" sldId="273"/>
            <ac:spMk id="8" creationId="{4EB62837-F3AF-49A4-A96D-0C6AFE314DC7}"/>
          </ac:spMkLst>
        </pc:spChg>
      </pc:sldChg>
      <pc:sldChg chg="delSp modSp mod ord delCm modCm">
        <pc:chgData name="Mia Rytter Lund" userId="fd5a37df-57b5-4ab7-b42f-f051b0300ae8" providerId="ADAL" clId="{ED476330-2767-4560-BB40-AACDC7D43230}" dt="2022-12-02T21:19:13.823" v="1289" actId="20577"/>
        <pc:sldMkLst>
          <pc:docMk/>
          <pc:sldMk cId="2818176505" sldId="332"/>
        </pc:sldMkLst>
        <pc:spChg chg="mod">
          <ac:chgData name="Mia Rytter Lund" userId="fd5a37df-57b5-4ab7-b42f-f051b0300ae8" providerId="ADAL" clId="{ED476330-2767-4560-BB40-AACDC7D43230}" dt="2022-12-02T21:18:47.436" v="1268" actId="1076"/>
          <ac:spMkLst>
            <pc:docMk/>
            <pc:sldMk cId="2818176505" sldId="332"/>
            <ac:spMk id="42" creationId="{6FC8D232-7EFB-47BE-9AE1-D266FD7725F0}"/>
          </ac:spMkLst>
        </pc:spChg>
        <pc:spChg chg="mod">
          <ac:chgData name="Mia Rytter Lund" userId="fd5a37df-57b5-4ab7-b42f-f051b0300ae8" providerId="ADAL" clId="{ED476330-2767-4560-BB40-AACDC7D43230}" dt="2022-12-02T21:18:47.436" v="1268" actId="1076"/>
          <ac:spMkLst>
            <pc:docMk/>
            <pc:sldMk cId="2818176505" sldId="332"/>
            <ac:spMk id="43" creationId="{5EBB8361-371A-4E35-B569-7E6C11CA483A}"/>
          </ac:spMkLst>
        </pc:spChg>
        <pc:spChg chg="mod">
          <ac:chgData name="Mia Rytter Lund" userId="fd5a37df-57b5-4ab7-b42f-f051b0300ae8" providerId="ADAL" clId="{ED476330-2767-4560-BB40-AACDC7D43230}" dt="2022-12-02T21:18:47.436" v="1268" actId="1076"/>
          <ac:spMkLst>
            <pc:docMk/>
            <pc:sldMk cId="2818176505" sldId="332"/>
            <ac:spMk id="44" creationId="{F15A940C-88AE-4D92-8730-B7E13B27B57B}"/>
          </ac:spMkLst>
        </pc:spChg>
        <pc:spChg chg="mod">
          <ac:chgData name="Mia Rytter Lund" userId="fd5a37df-57b5-4ab7-b42f-f051b0300ae8" providerId="ADAL" clId="{ED476330-2767-4560-BB40-AACDC7D43230}" dt="2022-12-02T21:18:47.436" v="1268" actId="1076"/>
          <ac:spMkLst>
            <pc:docMk/>
            <pc:sldMk cId="2818176505" sldId="332"/>
            <ac:spMk id="45" creationId="{E5BCBACD-978C-4938-BB72-DC19BF4B878E}"/>
          </ac:spMkLst>
        </pc:spChg>
        <pc:spChg chg="mod">
          <ac:chgData name="Mia Rytter Lund" userId="fd5a37df-57b5-4ab7-b42f-f051b0300ae8" providerId="ADAL" clId="{ED476330-2767-4560-BB40-AACDC7D43230}" dt="2022-12-02T21:19:02.828" v="1281" actId="20577"/>
          <ac:spMkLst>
            <pc:docMk/>
            <pc:sldMk cId="2818176505" sldId="332"/>
            <ac:spMk id="81" creationId="{F0769BA3-66CD-4FC1-9AA0-CF03C4D0115B}"/>
          </ac:spMkLst>
        </pc:spChg>
        <pc:spChg chg="del mod">
          <ac:chgData name="Mia Rytter Lund" userId="fd5a37df-57b5-4ab7-b42f-f051b0300ae8" providerId="ADAL" clId="{ED476330-2767-4560-BB40-AACDC7D43230}" dt="2022-12-02T21:18:15.799" v="1263" actId="478"/>
          <ac:spMkLst>
            <pc:docMk/>
            <pc:sldMk cId="2818176505" sldId="332"/>
            <ac:spMk id="82" creationId="{0ECF3D48-5D1C-411A-98C1-80FB4A4AA4F4}"/>
          </ac:spMkLst>
        </pc:spChg>
        <pc:spChg chg="mod">
          <ac:chgData name="Mia Rytter Lund" userId="fd5a37df-57b5-4ab7-b42f-f051b0300ae8" providerId="ADAL" clId="{ED476330-2767-4560-BB40-AACDC7D43230}" dt="2022-12-02T21:19:13.823" v="1289" actId="20577"/>
          <ac:spMkLst>
            <pc:docMk/>
            <pc:sldMk cId="2818176505" sldId="332"/>
            <ac:spMk id="108" creationId="{F7505CCF-6B2D-4791-8B8E-A8068ECE6AE7}"/>
          </ac:spMkLst>
        </pc:spChg>
      </pc:sldChg>
      <pc:sldChg chg="modSp mod">
        <pc:chgData name="Mia Rytter Lund" userId="fd5a37df-57b5-4ab7-b42f-f051b0300ae8" providerId="ADAL" clId="{ED476330-2767-4560-BB40-AACDC7D43230}" dt="2022-12-02T21:19:27.416" v="1303" actId="20577"/>
        <pc:sldMkLst>
          <pc:docMk/>
          <pc:sldMk cId="4046010928" sldId="333"/>
        </pc:sldMkLst>
        <pc:spChg chg="mod">
          <ac:chgData name="Mia Rytter Lund" userId="fd5a37df-57b5-4ab7-b42f-f051b0300ae8" providerId="ADAL" clId="{ED476330-2767-4560-BB40-AACDC7D43230}" dt="2022-12-02T21:19:27.416" v="1303" actId="20577"/>
          <ac:spMkLst>
            <pc:docMk/>
            <pc:sldMk cId="4046010928" sldId="333"/>
            <ac:spMk id="147" creationId="{6B5C2729-BF50-4685-B447-F0A6FC19218F}"/>
          </ac:spMkLst>
        </pc:spChg>
      </pc:sldChg>
      <pc:sldChg chg="addSp modSp mod addCm">
        <pc:chgData name="Mia Rytter Lund" userId="fd5a37df-57b5-4ab7-b42f-f051b0300ae8" providerId="ADAL" clId="{ED476330-2767-4560-BB40-AACDC7D43230}" dt="2022-12-02T21:26:32.790" v="1408" actId="12"/>
        <pc:sldMkLst>
          <pc:docMk/>
          <pc:sldMk cId="755171214" sldId="335"/>
        </pc:sldMkLst>
        <pc:spChg chg="add mod ord">
          <ac:chgData name="Mia Rytter Lund" userId="fd5a37df-57b5-4ab7-b42f-f051b0300ae8" providerId="ADAL" clId="{ED476330-2767-4560-BB40-AACDC7D43230}" dt="2022-12-02T21:26:17.302" v="1407" actId="207"/>
          <ac:spMkLst>
            <pc:docMk/>
            <pc:sldMk cId="755171214" sldId="335"/>
            <ac:spMk id="3" creationId="{6791291C-E68E-4CCB-AB46-CF0349F25CB9}"/>
          </ac:spMkLst>
        </pc:spChg>
        <pc:spChg chg="mod">
          <ac:chgData name="Mia Rytter Lund" userId="fd5a37df-57b5-4ab7-b42f-f051b0300ae8" providerId="ADAL" clId="{ED476330-2767-4560-BB40-AACDC7D43230}" dt="2022-12-02T21:25:39.208" v="1404" actId="14100"/>
          <ac:spMkLst>
            <pc:docMk/>
            <pc:sldMk cId="755171214" sldId="335"/>
            <ac:spMk id="11" creationId="{F2237923-C517-4E64-BA44-64D3957B8269}"/>
          </ac:spMkLst>
        </pc:spChg>
        <pc:spChg chg="add mod">
          <ac:chgData name="Mia Rytter Lund" userId="fd5a37df-57b5-4ab7-b42f-f051b0300ae8" providerId="ADAL" clId="{ED476330-2767-4560-BB40-AACDC7D43230}" dt="2022-12-02T21:26:32.790" v="1408" actId="12"/>
          <ac:spMkLst>
            <pc:docMk/>
            <pc:sldMk cId="755171214" sldId="335"/>
            <ac:spMk id="14" creationId="{95780D8D-2F9B-4B3E-B741-DC8FA70B8464}"/>
          </ac:spMkLst>
        </pc:spChg>
      </pc:sldChg>
      <pc:sldChg chg="modSp mod addCm modCm modNotesTx">
        <pc:chgData name="Mia Rytter Lund" userId="fd5a37df-57b5-4ab7-b42f-f051b0300ae8" providerId="ADAL" clId="{ED476330-2767-4560-BB40-AACDC7D43230}" dt="2022-12-02T21:28:40.789" v="1594" actId="20577"/>
        <pc:sldMkLst>
          <pc:docMk/>
          <pc:sldMk cId="3230653498" sldId="336"/>
        </pc:sldMkLst>
        <pc:spChg chg="mod">
          <ac:chgData name="Mia Rytter Lund" userId="fd5a37df-57b5-4ab7-b42f-f051b0300ae8" providerId="ADAL" clId="{ED476330-2767-4560-BB40-AACDC7D43230}" dt="2022-12-02T21:27:04.214" v="1419" actId="20577"/>
          <ac:spMkLst>
            <pc:docMk/>
            <pc:sldMk cId="3230653498" sldId="336"/>
            <ac:spMk id="11" creationId="{F2237923-C517-4E64-BA44-64D3957B8269}"/>
          </ac:spMkLst>
        </pc:spChg>
      </pc:sldChg>
      <pc:sldChg chg="modSp mod addCm">
        <pc:chgData name="Mia Rytter Lund" userId="fd5a37df-57b5-4ab7-b42f-f051b0300ae8" providerId="ADAL" clId="{ED476330-2767-4560-BB40-AACDC7D43230}" dt="2022-12-02T22:06:38.414" v="2367" actId="404"/>
        <pc:sldMkLst>
          <pc:docMk/>
          <pc:sldMk cId="2798339461" sldId="337"/>
        </pc:sldMkLst>
        <pc:spChg chg="mod">
          <ac:chgData name="Mia Rytter Lund" userId="fd5a37df-57b5-4ab7-b42f-f051b0300ae8" providerId="ADAL" clId="{ED476330-2767-4560-BB40-AACDC7D43230}" dt="2022-12-02T22:06:38.414" v="2367" actId="404"/>
          <ac:spMkLst>
            <pc:docMk/>
            <pc:sldMk cId="2798339461" sldId="337"/>
            <ac:spMk id="11" creationId="{F2237923-C517-4E64-BA44-64D3957B8269}"/>
          </ac:spMkLst>
        </pc:spChg>
        <pc:grpChg chg="mod">
          <ac:chgData name="Mia Rytter Lund" userId="fd5a37df-57b5-4ab7-b42f-f051b0300ae8" providerId="ADAL" clId="{ED476330-2767-4560-BB40-AACDC7D43230}" dt="2022-12-02T21:29:17.486" v="1599" actId="1076"/>
          <ac:grpSpMkLst>
            <pc:docMk/>
            <pc:sldMk cId="2798339461" sldId="337"/>
            <ac:grpSpMk id="2" creationId="{669A9F94-8DBE-48B9-A965-C031974DFF86}"/>
          </ac:grpSpMkLst>
        </pc:grpChg>
      </pc:sldChg>
      <pc:sldChg chg="modSp mod addCm">
        <pc:chgData name="Mia Rytter Lund" userId="fd5a37df-57b5-4ab7-b42f-f051b0300ae8" providerId="ADAL" clId="{ED476330-2767-4560-BB40-AACDC7D43230}" dt="2022-12-02T21:30:03.174" v="1629" actId="1076"/>
        <pc:sldMkLst>
          <pc:docMk/>
          <pc:sldMk cId="4052520069" sldId="338"/>
        </pc:sldMkLst>
        <pc:spChg chg="mod">
          <ac:chgData name="Mia Rytter Lund" userId="fd5a37df-57b5-4ab7-b42f-f051b0300ae8" providerId="ADAL" clId="{ED476330-2767-4560-BB40-AACDC7D43230}" dt="2022-12-02T21:29:58.460" v="1628" actId="12"/>
          <ac:spMkLst>
            <pc:docMk/>
            <pc:sldMk cId="4052520069" sldId="338"/>
            <ac:spMk id="11" creationId="{F2237923-C517-4E64-BA44-64D3957B8269}"/>
          </ac:spMkLst>
        </pc:spChg>
        <pc:spChg chg="mod">
          <ac:chgData name="Mia Rytter Lund" userId="fd5a37df-57b5-4ab7-b42f-f051b0300ae8" providerId="ADAL" clId="{ED476330-2767-4560-BB40-AACDC7D43230}" dt="2022-11-29T22:10:55.021" v="74" actId="20577"/>
          <ac:spMkLst>
            <pc:docMk/>
            <pc:sldMk cId="4052520069" sldId="338"/>
            <ac:spMk id="30" creationId="{BC46319C-8AE6-4A31-95E2-BC1DDD2382F5}"/>
          </ac:spMkLst>
        </pc:spChg>
        <pc:grpChg chg="mod">
          <ac:chgData name="Mia Rytter Lund" userId="fd5a37df-57b5-4ab7-b42f-f051b0300ae8" providerId="ADAL" clId="{ED476330-2767-4560-BB40-AACDC7D43230}" dt="2022-12-02T21:30:03.174" v="1629" actId="1076"/>
          <ac:grpSpMkLst>
            <pc:docMk/>
            <pc:sldMk cId="4052520069" sldId="338"/>
            <ac:grpSpMk id="16" creationId="{1AB7DB3F-A651-4DD5-9260-820AF450BC16}"/>
          </ac:grpSpMkLst>
        </pc:grpChg>
      </pc:sldChg>
      <pc:sldChg chg="modSp mod addCm delCm">
        <pc:chgData name="Mia Rytter Lund" userId="fd5a37df-57b5-4ab7-b42f-f051b0300ae8" providerId="ADAL" clId="{ED476330-2767-4560-BB40-AACDC7D43230}" dt="2022-12-02T21:30:17.191" v="1633" actId="403"/>
        <pc:sldMkLst>
          <pc:docMk/>
          <pc:sldMk cId="3775362778" sldId="339"/>
        </pc:sldMkLst>
        <pc:spChg chg="mod">
          <ac:chgData name="Mia Rytter Lund" userId="fd5a37df-57b5-4ab7-b42f-f051b0300ae8" providerId="ADAL" clId="{ED476330-2767-4560-BB40-AACDC7D43230}" dt="2022-12-02T21:30:17.191" v="1633" actId="403"/>
          <ac:spMkLst>
            <pc:docMk/>
            <pc:sldMk cId="3775362778" sldId="339"/>
            <ac:spMk id="55" creationId="{988902AF-3CA4-44AD-99B9-355D54816833}"/>
          </ac:spMkLst>
        </pc:spChg>
      </pc:sldChg>
      <pc:sldChg chg="modSp mod">
        <pc:chgData name="Mia Rytter Lund" userId="fd5a37df-57b5-4ab7-b42f-f051b0300ae8" providerId="ADAL" clId="{ED476330-2767-4560-BB40-AACDC7D43230}" dt="2022-12-02T21:30:34.337" v="1638" actId="1076"/>
        <pc:sldMkLst>
          <pc:docMk/>
          <pc:sldMk cId="4013160971" sldId="340"/>
        </pc:sldMkLst>
        <pc:spChg chg="mod">
          <ac:chgData name="Mia Rytter Lund" userId="fd5a37df-57b5-4ab7-b42f-f051b0300ae8" providerId="ADAL" clId="{ED476330-2767-4560-BB40-AACDC7D43230}" dt="2022-12-02T21:30:34.337" v="1638" actId="1076"/>
          <ac:spMkLst>
            <pc:docMk/>
            <pc:sldMk cId="4013160971" sldId="340"/>
            <ac:spMk id="46" creationId="{D0751A4F-F766-4129-B4B5-924261025D39}"/>
          </ac:spMkLst>
        </pc:spChg>
      </pc:sldChg>
      <pc:sldChg chg="addSp delSp modSp mod">
        <pc:chgData name="Mia Rytter Lund" userId="fd5a37df-57b5-4ab7-b42f-f051b0300ae8" providerId="ADAL" clId="{ED476330-2767-4560-BB40-AACDC7D43230}" dt="2022-12-02T21:38:41.387" v="1671" actId="688"/>
        <pc:sldMkLst>
          <pc:docMk/>
          <pc:sldMk cId="2712194404" sldId="341"/>
        </pc:sldMkLst>
        <pc:spChg chg="mod">
          <ac:chgData name="Mia Rytter Lund" userId="fd5a37df-57b5-4ab7-b42f-f051b0300ae8" providerId="ADAL" clId="{ED476330-2767-4560-BB40-AACDC7D43230}" dt="2022-12-02T21:36:54.117" v="1647"/>
          <ac:spMkLst>
            <pc:docMk/>
            <pc:sldMk cId="2712194404" sldId="341"/>
            <ac:spMk id="12" creationId="{EDE4B5E4-72CB-492C-B5F7-6225C62EF4A6}"/>
          </ac:spMkLst>
        </pc:spChg>
        <pc:spChg chg="mod">
          <ac:chgData name="Mia Rytter Lund" userId="fd5a37df-57b5-4ab7-b42f-f051b0300ae8" providerId="ADAL" clId="{ED476330-2767-4560-BB40-AACDC7D43230}" dt="2022-12-02T21:36:54.117" v="1647"/>
          <ac:spMkLst>
            <pc:docMk/>
            <pc:sldMk cId="2712194404" sldId="341"/>
            <ac:spMk id="13" creationId="{DB143A17-CEFC-426D-985E-2A1E9508F596}"/>
          </ac:spMkLst>
        </pc:spChg>
        <pc:spChg chg="mod">
          <ac:chgData name="Mia Rytter Lund" userId="fd5a37df-57b5-4ab7-b42f-f051b0300ae8" providerId="ADAL" clId="{ED476330-2767-4560-BB40-AACDC7D43230}" dt="2022-12-02T21:37:40.811" v="1657"/>
          <ac:spMkLst>
            <pc:docMk/>
            <pc:sldMk cId="2712194404" sldId="341"/>
            <ac:spMk id="15" creationId="{5BB63BBA-4A21-4C17-9423-BA39C24D1501}"/>
          </ac:spMkLst>
        </pc:spChg>
        <pc:spChg chg="mod">
          <ac:chgData name="Mia Rytter Lund" userId="fd5a37df-57b5-4ab7-b42f-f051b0300ae8" providerId="ADAL" clId="{ED476330-2767-4560-BB40-AACDC7D43230}" dt="2022-12-02T21:37:40.811" v="1657"/>
          <ac:spMkLst>
            <pc:docMk/>
            <pc:sldMk cId="2712194404" sldId="341"/>
            <ac:spMk id="16" creationId="{B216F2D8-3C4D-4C8C-8CB8-56E4DF638DD2}"/>
          </ac:spMkLst>
        </pc:spChg>
        <pc:spChg chg="mod">
          <ac:chgData name="Mia Rytter Lund" userId="fd5a37df-57b5-4ab7-b42f-f051b0300ae8" providerId="ADAL" clId="{ED476330-2767-4560-BB40-AACDC7D43230}" dt="2022-12-02T21:38:10.750" v="1662" actId="1076"/>
          <ac:spMkLst>
            <pc:docMk/>
            <pc:sldMk cId="2712194404" sldId="341"/>
            <ac:spMk id="17" creationId="{77DA3BC5-65CB-487C-9B74-FC34B7959C1F}"/>
          </ac:spMkLst>
        </pc:spChg>
        <pc:spChg chg="mod">
          <ac:chgData name="Mia Rytter Lund" userId="fd5a37df-57b5-4ab7-b42f-f051b0300ae8" providerId="ADAL" clId="{ED476330-2767-4560-BB40-AACDC7D43230}" dt="2022-12-02T21:37:24.917" v="1652" actId="1076"/>
          <ac:spMkLst>
            <pc:docMk/>
            <pc:sldMk cId="2712194404" sldId="341"/>
            <ac:spMk id="18" creationId="{524B3632-4EEA-4583-9E10-5261379CADDF}"/>
          </ac:spMkLst>
        </pc:spChg>
        <pc:spChg chg="mod">
          <ac:chgData name="Mia Rytter Lund" userId="fd5a37df-57b5-4ab7-b42f-f051b0300ae8" providerId="ADAL" clId="{ED476330-2767-4560-BB40-AACDC7D43230}" dt="2022-12-02T21:38:28.553" v="1665" actId="1076"/>
          <ac:spMkLst>
            <pc:docMk/>
            <pc:sldMk cId="2712194404" sldId="341"/>
            <ac:spMk id="19" creationId="{F168D4F1-7BDD-4B3E-B7FA-3566C44FE1C1}"/>
          </ac:spMkLst>
        </pc:spChg>
        <pc:spChg chg="mod">
          <ac:chgData name="Mia Rytter Lund" userId="fd5a37df-57b5-4ab7-b42f-f051b0300ae8" providerId="ADAL" clId="{ED476330-2767-4560-BB40-AACDC7D43230}" dt="2022-12-02T21:38:10.750" v="1662" actId="1076"/>
          <ac:spMkLst>
            <pc:docMk/>
            <pc:sldMk cId="2712194404" sldId="341"/>
            <ac:spMk id="20" creationId="{80B090C5-3F20-4A18-A744-62FD80CD662F}"/>
          </ac:spMkLst>
        </pc:spChg>
        <pc:spChg chg="mod">
          <ac:chgData name="Mia Rytter Lund" userId="fd5a37df-57b5-4ab7-b42f-f051b0300ae8" providerId="ADAL" clId="{ED476330-2767-4560-BB40-AACDC7D43230}" dt="2022-12-02T21:37:24.917" v="1652" actId="1076"/>
          <ac:spMkLst>
            <pc:docMk/>
            <pc:sldMk cId="2712194404" sldId="341"/>
            <ac:spMk id="21" creationId="{2898FA5D-AF34-45A9-96AE-D3BA782383F1}"/>
          </ac:spMkLst>
        </pc:spChg>
        <pc:spChg chg="mod">
          <ac:chgData name="Mia Rytter Lund" userId="fd5a37df-57b5-4ab7-b42f-f051b0300ae8" providerId="ADAL" clId="{ED476330-2767-4560-BB40-AACDC7D43230}" dt="2022-12-02T21:38:28.553" v="1665" actId="1076"/>
          <ac:spMkLst>
            <pc:docMk/>
            <pc:sldMk cId="2712194404" sldId="341"/>
            <ac:spMk id="22" creationId="{8951AA3C-5B32-4341-A2A3-E20C947EDBB0}"/>
          </ac:spMkLst>
        </pc:spChg>
        <pc:spChg chg="mod">
          <ac:chgData name="Mia Rytter Lund" userId="fd5a37df-57b5-4ab7-b42f-f051b0300ae8" providerId="ADAL" clId="{ED476330-2767-4560-BB40-AACDC7D43230}" dt="2022-12-02T21:38:32.055" v="1667"/>
          <ac:spMkLst>
            <pc:docMk/>
            <pc:sldMk cId="2712194404" sldId="341"/>
            <ac:spMk id="24" creationId="{DB36F681-42EB-4B8B-99F1-3F7DCEB46530}"/>
          </ac:spMkLst>
        </pc:spChg>
        <pc:spChg chg="mod">
          <ac:chgData name="Mia Rytter Lund" userId="fd5a37df-57b5-4ab7-b42f-f051b0300ae8" providerId="ADAL" clId="{ED476330-2767-4560-BB40-AACDC7D43230}" dt="2022-12-02T21:38:32.055" v="1667"/>
          <ac:spMkLst>
            <pc:docMk/>
            <pc:sldMk cId="2712194404" sldId="341"/>
            <ac:spMk id="25" creationId="{461C5845-96DC-4D75-AC6C-18B9FA4C959B}"/>
          </ac:spMkLst>
        </pc:spChg>
        <pc:grpChg chg="add mod">
          <ac:chgData name="Mia Rytter Lund" userId="fd5a37df-57b5-4ab7-b42f-f051b0300ae8" providerId="ADAL" clId="{ED476330-2767-4560-BB40-AACDC7D43230}" dt="2022-12-02T21:38:17.457" v="1664" actId="1076"/>
          <ac:grpSpMkLst>
            <pc:docMk/>
            <pc:sldMk cId="2712194404" sldId="341"/>
            <ac:grpSpMk id="11" creationId="{A07DDB08-15BA-42B1-BF31-D041A84E4DDB}"/>
          </ac:grpSpMkLst>
        </pc:grpChg>
        <pc:grpChg chg="add del mod">
          <ac:chgData name="Mia Rytter Lund" userId="fd5a37df-57b5-4ab7-b42f-f051b0300ae8" providerId="ADAL" clId="{ED476330-2767-4560-BB40-AACDC7D43230}" dt="2022-12-02T21:38:30.309" v="1666" actId="478"/>
          <ac:grpSpMkLst>
            <pc:docMk/>
            <pc:sldMk cId="2712194404" sldId="341"/>
            <ac:grpSpMk id="14" creationId="{553E106B-F8BC-48F0-94B8-EB53ED5777A0}"/>
          </ac:grpSpMkLst>
        </pc:grpChg>
        <pc:grpChg chg="add mod">
          <ac:chgData name="Mia Rytter Lund" userId="fd5a37df-57b5-4ab7-b42f-f051b0300ae8" providerId="ADAL" clId="{ED476330-2767-4560-BB40-AACDC7D43230}" dt="2022-12-02T21:38:41.387" v="1671" actId="688"/>
          <ac:grpSpMkLst>
            <pc:docMk/>
            <pc:sldMk cId="2712194404" sldId="341"/>
            <ac:grpSpMk id="23" creationId="{9D3950A7-1854-427E-B082-6BF12666316B}"/>
          </ac:grpSpMkLst>
        </pc:grpChg>
      </pc:sldChg>
      <pc:sldChg chg="modSp mod addCm modCm">
        <pc:chgData name="Mia Rytter Lund" userId="fd5a37df-57b5-4ab7-b42f-f051b0300ae8" providerId="ADAL" clId="{ED476330-2767-4560-BB40-AACDC7D43230}" dt="2022-12-02T21:40:01.850" v="1674" actId="2056"/>
        <pc:sldMkLst>
          <pc:docMk/>
          <pc:sldMk cId="747696551" sldId="342"/>
        </pc:sldMkLst>
        <pc:spChg chg="mod">
          <ac:chgData name="Mia Rytter Lund" userId="fd5a37df-57b5-4ab7-b42f-f051b0300ae8" providerId="ADAL" clId="{ED476330-2767-4560-BB40-AACDC7D43230}" dt="2022-12-02T21:39:03.644" v="1672" actId="1076"/>
          <ac:spMkLst>
            <pc:docMk/>
            <pc:sldMk cId="747696551" sldId="342"/>
            <ac:spMk id="23" creationId="{BD23F174-89C8-43A6-BBD7-8DD6BB7C4C9B}"/>
          </ac:spMkLst>
        </pc:spChg>
        <pc:spChg chg="mod">
          <ac:chgData name="Mia Rytter Lund" userId="fd5a37df-57b5-4ab7-b42f-f051b0300ae8" providerId="ADAL" clId="{ED476330-2767-4560-BB40-AACDC7D43230}" dt="2022-12-02T21:39:03.644" v="1672" actId="1076"/>
          <ac:spMkLst>
            <pc:docMk/>
            <pc:sldMk cId="747696551" sldId="342"/>
            <ac:spMk id="24" creationId="{99726E8E-CC99-4E77-BA0D-B325A2C69C8A}"/>
          </ac:spMkLst>
        </pc:spChg>
        <pc:spChg chg="mod">
          <ac:chgData name="Mia Rytter Lund" userId="fd5a37df-57b5-4ab7-b42f-f051b0300ae8" providerId="ADAL" clId="{ED476330-2767-4560-BB40-AACDC7D43230}" dt="2022-12-02T21:39:03.644" v="1672" actId="1076"/>
          <ac:spMkLst>
            <pc:docMk/>
            <pc:sldMk cId="747696551" sldId="342"/>
            <ac:spMk id="25" creationId="{7F3DF317-2861-4031-B146-5C62A4B551AE}"/>
          </ac:spMkLst>
        </pc:spChg>
        <pc:spChg chg="mod">
          <ac:chgData name="Mia Rytter Lund" userId="fd5a37df-57b5-4ab7-b42f-f051b0300ae8" providerId="ADAL" clId="{ED476330-2767-4560-BB40-AACDC7D43230}" dt="2022-12-02T21:39:03.644" v="1672" actId="1076"/>
          <ac:spMkLst>
            <pc:docMk/>
            <pc:sldMk cId="747696551" sldId="342"/>
            <ac:spMk id="26" creationId="{D17E992C-3C97-4439-BC51-9BD274B7B388}"/>
          </ac:spMkLst>
        </pc:spChg>
      </pc:sldChg>
      <pc:sldChg chg="modSp mod">
        <pc:chgData name="Mia Rytter Lund" userId="fd5a37df-57b5-4ab7-b42f-f051b0300ae8" providerId="ADAL" clId="{ED476330-2767-4560-BB40-AACDC7D43230}" dt="2022-12-02T21:40:22.724" v="1678" actId="1076"/>
        <pc:sldMkLst>
          <pc:docMk/>
          <pc:sldMk cId="377149076" sldId="343"/>
        </pc:sldMkLst>
        <pc:spChg chg="mod">
          <ac:chgData name="Mia Rytter Lund" userId="fd5a37df-57b5-4ab7-b42f-f051b0300ae8" providerId="ADAL" clId="{ED476330-2767-4560-BB40-AACDC7D43230}" dt="2022-12-02T21:40:22.724" v="1678" actId="1076"/>
          <ac:spMkLst>
            <pc:docMk/>
            <pc:sldMk cId="377149076" sldId="343"/>
            <ac:spMk id="45" creationId="{CD474468-583E-4B6A-AEE4-CB3D8785F289}"/>
          </ac:spMkLst>
        </pc:spChg>
      </pc:sldChg>
      <pc:sldChg chg="modSp mod">
        <pc:chgData name="Mia Rytter Lund" userId="fd5a37df-57b5-4ab7-b42f-f051b0300ae8" providerId="ADAL" clId="{ED476330-2767-4560-BB40-AACDC7D43230}" dt="2022-12-02T21:47:29.800" v="1789" actId="403"/>
        <pc:sldMkLst>
          <pc:docMk/>
          <pc:sldMk cId="1970458706" sldId="344"/>
        </pc:sldMkLst>
        <pc:spChg chg="mod">
          <ac:chgData name="Mia Rytter Lund" userId="fd5a37df-57b5-4ab7-b42f-f051b0300ae8" providerId="ADAL" clId="{ED476330-2767-4560-BB40-AACDC7D43230}" dt="2022-12-02T21:47:29.800" v="1789" actId="403"/>
          <ac:spMkLst>
            <pc:docMk/>
            <pc:sldMk cId="1970458706" sldId="344"/>
            <ac:spMk id="47" creationId="{8577B4D3-CCFA-4631-A760-9570D83A2D86}"/>
          </ac:spMkLst>
        </pc:spChg>
      </pc:sldChg>
      <pc:sldChg chg="modSp mod">
        <pc:chgData name="Mia Rytter Lund" userId="fd5a37df-57b5-4ab7-b42f-f051b0300ae8" providerId="ADAL" clId="{ED476330-2767-4560-BB40-AACDC7D43230}" dt="2022-12-02T21:47:43.629" v="1794" actId="1076"/>
        <pc:sldMkLst>
          <pc:docMk/>
          <pc:sldMk cId="790945661" sldId="345"/>
        </pc:sldMkLst>
        <pc:spChg chg="mod">
          <ac:chgData name="Mia Rytter Lund" userId="fd5a37df-57b5-4ab7-b42f-f051b0300ae8" providerId="ADAL" clId="{ED476330-2767-4560-BB40-AACDC7D43230}" dt="2022-12-02T21:47:43.629" v="1794" actId="1076"/>
          <ac:spMkLst>
            <pc:docMk/>
            <pc:sldMk cId="790945661" sldId="345"/>
            <ac:spMk id="49" creationId="{48C1957D-2D0C-40DF-A213-D89F1AD88AD7}"/>
          </ac:spMkLst>
        </pc:spChg>
      </pc:sldChg>
      <pc:sldChg chg="modSp mod">
        <pc:chgData name="Mia Rytter Lund" userId="fd5a37df-57b5-4ab7-b42f-f051b0300ae8" providerId="ADAL" clId="{ED476330-2767-4560-BB40-AACDC7D43230}" dt="2022-12-02T21:53:45.793" v="2009" actId="14100"/>
        <pc:sldMkLst>
          <pc:docMk/>
          <pc:sldMk cId="1584598773" sldId="346"/>
        </pc:sldMkLst>
        <pc:spChg chg="mod">
          <ac:chgData name="Mia Rytter Lund" userId="fd5a37df-57b5-4ab7-b42f-f051b0300ae8" providerId="ADAL" clId="{ED476330-2767-4560-BB40-AACDC7D43230}" dt="2022-12-02T21:53:45.793" v="2009" actId="14100"/>
          <ac:spMkLst>
            <pc:docMk/>
            <pc:sldMk cId="1584598773" sldId="346"/>
            <ac:spMk id="51" creationId="{1BEE1D6F-2825-4648-9DC4-A3927685048D}"/>
          </ac:spMkLst>
        </pc:spChg>
      </pc:sldChg>
      <pc:sldChg chg="modSp mod addCm">
        <pc:chgData name="Mia Rytter Lund" userId="fd5a37df-57b5-4ab7-b42f-f051b0300ae8" providerId="ADAL" clId="{ED476330-2767-4560-BB40-AACDC7D43230}" dt="2022-12-02T21:45:15.928" v="1773" actId="14100"/>
        <pc:sldMkLst>
          <pc:docMk/>
          <pc:sldMk cId="2085250317" sldId="347"/>
        </pc:sldMkLst>
        <pc:spChg chg="mod">
          <ac:chgData name="Mia Rytter Lund" userId="fd5a37df-57b5-4ab7-b42f-f051b0300ae8" providerId="ADAL" clId="{ED476330-2767-4560-BB40-AACDC7D43230}" dt="2022-12-02T21:44:04.061" v="1765" actId="20577"/>
          <ac:spMkLst>
            <pc:docMk/>
            <pc:sldMk cId="2085250317" sldId="347"/>
            <ac:spMk id="7" creationId="{27C30AB3-064D-441B-A9D9-D1F3413F87C2}"/>
          </ac:spMkLst>
        </pc:spChg>
        <pc:spChg chg="mod">
          <ac:chgData name="Mia Rytter Lund" userId="fd5a37df-57b5-4ab7-b42f-f051b0300ae8" providerId="ADAL" clId="{ED476330-2767-4560-BB40-AACDC7D43230}" dt="2022-12-02T21:45:03.376" v="1771" actId="14100"/>
          <ac:spMkLst>
            <pc:docMk/>
            <pc:sldMk cId="2085250317" sldId="347"/>
            <ac:spMk id="10" creationId="{FE4F67D4-34BD-4D42-8101-64E942117DFA}"/>
          </ac:spMkLst>
        </pc:spChg>
        <pc:spChg chg="mod">
          <ac:chgData name="Mia Rytter Lund" userId="fd5a37df-57b5-4ab7-b42f-f051b0300ae8" providerId="ADAL" clId="{ED476330-2767-4560-BB40-AACDC7D43230}" dt="2022-12-02T21:44:50.287" v="1769" actId="14100"/>
          <ac:spMkLst>
            <pc:docMk/>
            <pc:sldMk cId="2085250317" sldId="347"/>
            <ac:spMk id="22" creationId="{A8916DC6-5398-4A09-AF36-6DA76F62CE3F}"/>
          </ac:spMkLst>
        </pc:spChg>
        <pc:spChg chg="mod">
          <ac:chgData name="Mia Rytter Lund" userId="fd5a37df-57b5-4ab7-b42f-f051b0300ae8" providerId="ADAL" clId="{ED476330-2767-4560-BB40-AACDC7D43230}" dt="2022-12-02T21:45:11.332" v="1772" actId="14100"/>
          <ac:spMkLst>
            <pc:docMk/>
            <pc:sldMk cId="2085250317" sldId="347"/>
            <ac:spMk id="25" creationId="{EDA2C9DA-AA0E-4900-AD2F-E52580846E8D}"/>
          </ac:spMkLst>
        </pc:spChg>
        <pc:spChg chg="mod">
          <ac:chgData name="Mia Rytter Lund" userId="fd5a37df-57b5-4ab7-b42f-f051b0300ae8" providerId="ADAL" clId="{ED476330-2767-4560-BB40-AACDC7D43230}" dt="2022-12-02T21:45:15.928" v="1773" actId="14100"/>
          <ac:spMkLst>
            <pc:docMk/>
            <pc:sldMk cId="2085250317" sldId="347"/>
            <ac:spMk id="28" creationId="{C9C8853F-9B19-4599-9846-37DE71762DBA}"/>
          </ac:spMkLst>
        </pc:spChg>
        <pc:spChg chg="mod">
          <ac:chgData name="Mia Rytter Lund" userId="fd5a37df-57b5-4ab7-b42f-f051b0300ae8" providerId="ADAL" clId="{ED476330-2767-4560-BB40-AACDC7D43230}" dt="2022-12-02T21:44:55.023" v="1770" actId="14100"/>
          <ac:spMkLst>
            <pc:docMk/>
            <pc:sldMk cId="2085250317" sldId="347"/>
            <ac:spMk id="30" creationId="{BC46319C-8AE6-4A31-95E2-BC1DDD2382F5}"/>
          </ac:spMkLst>
        </pc:spChg>
        <pc:spChg chg="mod">
          <ac:chgData name="Mia Rytter Lund" userId="fd5a37df-57b5-4ab7-b42f-f051b0300ae8" providerId="ADAL" clId="{ED476330-2767-4560-BB40-AACDC7D43230}" dt="2022-12-02T21:44:26.585" v="1766" actId="255"/>
          <ac:spMkLst>
            <pc:docMk/>
            <pc:sldMk cId="2085250317" sldId="347"/>
            <ac:spMk id="34" creationId="{2DF2090F-B6D0-440A-B4EE-EA7B3F59241C}"/>
          </ac:spMkLst>
        </pc:spChg>
      </pc:sldChg>
      <pc:sldChg chg="addSp modSp mod addCm delCm modCm">
        <pc:chgData name="Mia Rytter Lund" userId="fd5a37df-57b5-4ab7-b42f-f051b0300ae8" providerId="ADAL" clId="{ED476330-2767-4560-BB40-AACDC7D43230}" dt="2022-12-02T22:06:59.356" v="2368"/>
        <pc:sldMkLst>
          <pc:docMk/>
          <pc:sldMk cId="3860365020" sldId="348"/>
        </pc:sldMkLst>
        <pc:spChg chg="add mod ord">
          <ac:chgData name="Mia Rytter Lund" userId="fd5a37df-57b5-4ab7-b42f-f051b0300ae8" providerId="ADAL" clId="{ED476330-2767-4560-BB40-AACDC7D43230}" dt="2022-12-02T21:46:53.299" v="1785" actId="1035"/>
          <ac:spMkLst>
            <pc:docMk/>
            <pc:sldMk cId="3860365020" sldId="348"/>
            <ac:spMk id="10" creationId="{6F7EFC4D-87EC-41CE-A770-E988F8FCEC66}"/>
          </ac:spMkLst>
        </pc:spChg>
        <pc:spChg chg="mod">
          <ac:chgData name="Mia Rytter Lund" userId="fd5a37df-57b5-4ab7-b42f-f051b0300ae8" providerId="ADAL" clId="{ED476330-2767-4560-BB40-AACDC7D43230}" dt="2022-12-02T21:46:11.561" v="1776" actId="14100"/>
          <ac:spMkLst>
            <pc:docMk/>
            <pc:sldMk cId="3860365020" sldId="348"/>
            <ac:spMk id="11" creationId="{F2237923-C517-4E64-BA44-64D3957B8269}"/>
          </ac:spMkLst>
        </pc:spChg>
      </pc:sldChg>
      <pc:sldChg chg="addSp delSp modSp mod modCm">
        <pc:chgData name="Mia Rytter Lund" userId="fd5a37df-57b5-4ab7-b42f-f051b0300ae8" providerId="ADAL" clId="{ED476330-2767-4560-BB40-AACDC7D43230}" dt="2022-12-02T21:53:29.581" v="2005" actId="20577"/>
        <pc:sldMkLst>
          <pc:docMk/>
          <pc:sldMk cId="4265384927" sldId="350"/>
        </pc:sldMkLst>
        <pc:spChg chg="mod">
          <ac:chgData name="Mia Rytter Lund" userId="fd5a37df-57b5-4ab7-b42f-f051b0300ae8" providerId="ADAL" clId="{ED476330-2767-4560-BB40-AACDC7D43230}" dt="2022-11-29T22:26:53.346" v="915" actId="20577"/>
          <ac:spMkLst>
            <pc:docMk/>
            <pc:sldMk cId="4265384927" sldId="350"/>
            <ac:spMk id="11" creationId="{F2237923-C517-4E64-BA44-64D3957B8269}"/>
          </ac:spMkLst>
        </pc:spChg>
        <pc:spChg chg="mod">
          <ac:chgData name="Mia Rytter Lund" userId="fd5a37df-57b5-4ab7-b42f-f051b0300ae8" providerId="ADAL" clId="{ED476330-2767-4560-BB40-AACDC7D43230}" dt="2022-12-02T21:53:29.581" v="2005" actId="20577"/>
          <ac:spMkLst>
            <pc:docMk/>
            <pc:sldMk cId="4265384927" sldId="350"/>
            <ac:spMk id="18" creationId="{B3616200-E5B3-48A1-AC7B-FA5D164E0798}"/>
          </ac:spMkLst>
        </pc:spChg>
        <pc:spChg chg="add del mod">
          <ac:chgData name="Mia Rytter Lund" userId="fd5a37df-57b5-4ab7-b42f-f051b0300ae8" providerId="ADAL" clId="{ED476330-2767-4560-BB40-AACDC7D43230}" dt="2022-12-02T21:50:24.705" v="1917" actId="21"/>
          <ac:spMkLst>
            <pc:docMk/>
            <pc:sldMk cId="4265384927" sldId="350"/>
            <ac:spMk id="20" creationId="{305029BC-3491-46CC-8467-F450CA95B123}"/>
          </ac:spMkLst>
        </pc:spChg>
      </pc:sldChg>
      <pc:sldChg chg="modSp mod">
        <pc:chgData name="Mia Rytter Lund" userId="fd5a37df-57b5-4ab7-b42f-f051b0300ae8" providerId="ADAL" clId="{ED476330-2767-4560-BB40-AACDC7D43230}" dt="2022-12-02T21:49:50.901" v="1916" actId="20577"/>
        <pc:sldMkLst>
          <pc:docMk/>
          <pc:sldMk cId="2886145505" sldId="351"/>
        </pc:sldMkLst>
        <pc:spChg chg="mod">
          <ac:chgData name="Mia Rytter Lund" userId="fd5a37df-57b5-4ab7-b42f-f051b0300ae8" providerId="ADAL" clId="{ED476330-2767-4560-BB40-AACDC7D43230}" dt="2022-12-02T21:49:50.901" v="1916" actId="20577"/>
          <ac:spMkLst>
            <pc:docMk/>
            <pc:sldMk cId="2886145505" sldId="351"/>
            <ac:spMk id="11" creationId="{F2237923-C517-4E64-BA44-64D3957B8269}"/>
          </ac:spMkLst>
        </pc:spChg>
      </pc:sldChg>
      <pc:sldChg chg="addSp modSp new mod">
        <pc:chgData name="Mia Rytter Lund" userId="fd5a37df-57b5-4ab7-b42f-f051b0300ae8" providerId="ADAL" clId="{ED476330-2767-4560-BB40-AACDC7D43230}" dt="2022-11-29T22:15:49.552" v="84" actId="1076"/>
        <pc:sldMkLst>
          <pc:docMk/>
          <pc:sldMk cId="2823617944" sldId="352"/>
        </pc:sldMkLst>
        <pc:picChg chg="add mod">
          <ac:chgData name="Mia Rytter Lund" userId="fd5a37df-57b5-4ab7-b42f-f051b0300ae8" providerId="ADAL" clId="{ED476330-2767-4560-BB40-AACDC7D43230}" dt="2022-11-29T22:15:49.552" v="84" actId="1076"/>
          <ac:picMkLst>
            <pc:docMk/>
            <pc:sldMk cId="2823617944" sldId="352"/>
            <ac:picMk id="4" creationId="{267741D1-CAB0-4C7C-98A7-40BCF6810905}"/>
          </ac:picMkLst>
        </pc:picChg>
      </pc:sldChg>
      <pc:sldChg chg="new del">
        <pc:chgData name="Mia Rytter Lund" userId="fd5a37df-57b5-4ab7-b42f-f051b0300ae8" providerId="ADAL" clId="{ED476330-2767-4560-BB40-AACDC7D43230}" dt="2022-11-29T22:28:08.297" v="921" actId="47"/>
        <pc:sldMkLst>
          <pc:docMk/>
          <pc:sldMk cId="821138613" sldId="353"/>
        </pc:sldMkLst>
      </pc:sldChg>
      <pc:sldChg chg="new del">
        <pc:chgData name="Mia Rytter Lund" userId="fd5a37df-57b5-4ab7-b42f-f051b0300ae8" providerId="ADAL" clId="{ED476330-2767-4560-BB40-AACDC7D43230}" dt="2022-11-29T22:28:00.192" v="919" actId="47"/>
        <pc:sldMkLst>
          <pc:docMk/>
          <pc:sldMk cId="2223085451" sldId="353"/>
        </pc:sldMkLst>
      </pc:sldChg>
      <pc:sldChg chg="delSp modSp add mod">
        <pc:chgData name="Mia Rytter Lund" userId="fd5a37df-57b5-4ab7-b42f-f051b0300ae8" providerId="ADAL" clId="{ED476330-2767-4560-BB40-AACDC7D43230}" dt="2022-12-02T22:07:23.143" v="2392" actId="20577"/>
        <pc:sldMkLst>
          <pc:docMk/>
          <pc:sldMk cId="2460403538" sldId="353"/>
        </pc:sldMkLst>
        <pc:spChg chg="mod">
          <ac:chgData name="Mia Rytter Lund" userId="fd5a37df-57b5-4ab7-b42f-f051b0300ae8" providerId="ADAL" clId="{ED476330-2767-4560-BB40-AACDC7D43230}" dt="2022-12-02T21:56:47.968" v="2146" actId="1036"/>
          <ac:spMkLst>
            <pc:docMk/>
            <pc:sldMk cId="2460403538" sldId="353"/>
            <ac:spMk id="6" creationId="{0AABCFDE-D7EA-49B3-9D3D-D807DDA47D5D}"/>
          </ac:spMkLst>
        </pc:spChg>
        <pc:spChg chg="mod">
          <ac:chgData name="Mia Rytter Lund" userId="fd5a37df-57b5-4ab7-b42f-f051b0300ae8" providerId="ADAL" clId="{ED476330-2767-4560-BB40-AACDC7D43230}" dt="2022-11-29T22:28:26.167" v="940" actId="20577"/>
          <ac:spMkLst>
            <pc:docMk/>
            <pc:sldMk cId="2460403538" sldId="353"/>
            <ac:spMk id="7" creationId="{27C30AB3-064D-441B-A9D9-D1F3413F87C2}"/>
          </ac:spMkLst>
        </pc:spChg>
        <pc:spChg chg="mod">
          <ac:chgData name="Mia Rytter Lund" userId="fd5a37df-57b5-4ab7-b42f-f051b0300ae8" providerId="ADAL" clId="{ED476330-2767-4560-BB40-AACDC7D43230}" dt="2022-12-02T21:56:47.968" v="2146" actId="1036"/>
          <ac:spMkLst>
            <pc:docMk/>
            <pc:sldMk cId="2460403538" sldId="353"/>
            <ac:spMk id="8" creationId="{FF7A399C-0702-4332-B4F2-1BAAD28E60AB}"/>
          </ac:spMkLst>
        </pc:spChg>
        <pc:spChg chg="mod">
          <ac:chgData name="Mia Rytter Lund" userId="fd5a37df-57b5-4ab7-b42f-f051b0300ae8" providerId="ADAL" clId="{ED476330-2767-4560-BB40-AACDC7D43230}" dt="2022-12-02T21:56:47.968" v="2146" actId="1036"/>
          <ac:spMkLst>
            <pc:docMk/>
            <pc:sldMk cId="2460403538" sldId="353"/>
            <ac:spMk id="9" creationId="{7F44B5C7-CBD8-43A8-9C4E-212C8DF7CC89}"/>
          </ac:spMkLst>
        </pc:spChg>
        <pc:spChg chg="mod">
          <ac:chgData name="Mia Rytter Lund" userId="fd5a37df-57b5-4ab7-b42f-f051b0300ae8" providerId="ADAL" clId="{ED476330-2767-4560-BB40-AACDC7D43230}" dt="2022-12-02T21:56:47.968" v="2146" actId="1036"/>
          <ac:spMkLst>
            <pc:docMk/>
            <pc:sldMk cId="2460403538" sldId="353"/>
            <ac:spMk id="10" creationId="{19FB744E-8CCB-46B8-8B1D-7BD74BB6B10E}"/>
          </ac:spMkLst>
        </pc:spChg>
        <pc:spChg chg="del">
          <ac:chgData name="Mia Rytter Lund" userId="fd5a37df-57b5-4ab7-b42f-f051b0300ae8" providerId="ADAL" clId="{ED476330-2767-4560-BB40-AACDC7D43230}" dt="2022-11-29T22:28:13.667" v="923" actId="478"/>
          <ac:spMkLst>
            <pc:docMk/>
            <pc:sldMk cId="2460403538" sldId="353"/>
            <ac:spMk id="10" creationId="{21109319-0CC7-4DF1-84F6-3A269736EED2}"/>
          </ac:spMkLst>
        </pc:spChg>
        <pc:spChg chg="mod">
          <ac:chgData name="Mia Rytter Lund" userId="fd5a37df-57b5-4ab7-b42f-f051b0300ae8" providerId="ADAL" clId="{ED476330-2767-4560-BB40-AACDC7D43230}" dt="2022-11-29T22:30:07.705" v="1224" actId="20577"/>
          <ac:spMkLst>
            <pc:docMk/>
            <pc:sldMk cId="2460403538" sldId="353"/>
            <ac:spMk id="11" creationId="{F2237923-C517-4E64-BA44-64D3957B8269}"/>
          </ac:spMkLst>
        </pc:spChg>
        <pc:spChg chg="mod">
          <ac:chgData name="Mia Rytter Lund" userId="fd5a37df-57b5-4ab7-b42f-f051b0300ae8" providerId="ADAL" clId="{ED476330-2767-4560-BB40-AACDC7D43230}" dt="2022-12-02T21:56:47.968" v="2146" actId="1036"/>
          <ac:spMkLst>
            <pc:docMk/>
            <pc:sldMk cId="2460403538" sldId="353"/>
            <ac:spMk id="12" creationId="{35E881E3-870B-497A-8382-CBE0B9CB644A}"/>
          </ac:spMkLst>
        </pc:spChg>
        <pc:spChg chg="del">
          <ac:chgData name="Mia Rytter Lund" userId="fd5a37df-57b5-4ab7-b42f-f051b0300ae8" providerId="ADAL" clId="{ED476330-2767-4560-BB40-AACDC7D43230}" dt="2022-11-29T22:28:13.667" v="923" actId="478"/>
          <ac:spMkLst>
            <pc:docMk/>
            <pc:sldMk cId="2460403538" sldId="353"/>
            <ac:spMk id="12" creationId="{8F4B76D4-CD81-4686-BE24-11B085E78F71}"/>
          </ac:spMkLst>
        </pc:spChg>
        <pc:spChg chg="del mod">
          <ac:chgData name="Mia Rytter Lund" userId="fd5a37df-57b5-4ab7-b42f-f051b0300ae8" providerId="ADAL" clId="{ED476330-2767-4560-BB40-AACDC7D43230}" dt="2022-12-02T21:54:18.279" v="2016" actId="478"/>
          <ac:spMkLst>
            <pc:docMk/>
            <pc:sldMk cId="2460403538" sldId="353"/>
            <ac:spMk id="13" creationId="{A65E5C63-45A9-4013-AE20-74B61F2D80F2}"/>
          </ac:spMkLst>
        </pc:spChg>
        <pc:spChg chg="mod">
          <ac:chgData name="Mia Rytter Lund" userId="fd5a37df-57b5-4ab7-b42f-f051b0300ae8" providerId="ADAL" clId="{ED476330-2767-4560-BB40-AACDC7D43230}" dt="2022-12-02T21:56:47.968" v="2146" actId="1036"/>
          <ac:spMkLst>
            <pc:docMk/>
            <pc:sldMk cId="2460403538" sldId="353"/>
            <ac:spMk id="15" creationId="{D96F3E6F-9694-44D2-809D-51264EF85021}"/>
          </ac:spMkLst>
        </pc:spChg>
        <pc:spChg chg="mod">
          <ac:chgData name="Mia Rytter Lund" userId="fd5a37df-57b5-4ab7-b42f-f051b0300ae8" providerId="ADAL" clId="{ED476330-2767-4560-BB40-AACDC7D43230}" dt="2022-12-02T22:07:23.143" v="2392" actId="20577"/>
          <ac:spMkLst>
            <pc:docMk/>
            <pc:sldMk cId="2460403538" sldId="353"/>
            <ac:spMk id="17" creationId="{9B57ADD3-8930-49EB-9F2A-A2B54A138328}"/>
          </ac:spMkLst>
        </pc:spChg>
        <pc:spChg chg="mod">
          <ac:chgData name="Mia Rytter Lund" userId="fd5a37df-57b5-4ab7-b42f-f051b0300ae8" providerId="ADAL" clId="{ED476330-2767-4560-BB40-AACDC7D43230}" dt="2022-12-02T21:56:47.968" v="2146" actId="1036"/>
          <ac:spMkLst>
            <pc:docMk/>
            <pc:sldMk cId="2460403538" sldId="353"/>
            <ac:spMk id="19" creationId="{ECBB8316-FF4F-49E6-880A-15E1A5C70BA5}"/>
          </ac:spMkLst>
        </pc:spChg>
        <pc:spChg chg="del">
          <ac:chgData name="Mia Rytter Lund" userId="fd5a37df-57b5-4ab7-b42f-f051b0300ae8" providerId="ADAL" clId="{ED476330-2767-4560-BB40-AACDC7D43230}" dt="2022-11-29T22:28:13.667" v="923" actId="478"/>
          <ac:spMkLst>
            <pc:docMk/>
            <pc:sldMk cId="2460403538" sldId="353"/>
            <ac:spMk id="22" creationId="{A8916DC6-5398-4A09-AF36-6DA76F62CE3F}"/>
          </ac:spMkLst>
        </pc:spChg>
        <pc:spChg chg="del">
          <ac:chgData name="Mia Rytter Lund" userId="fd5a37df-57b5-4ab7-b42f-f051b0300ae8" providerId="ADAL" clId="{ED476330-2767-4560-BB40-AACDC7D43230}" dt="2022-11-29T22:28:13.667" v="923" actId="478"/>
          <ac:spMkLst>
            <pc:docMk/>
            <pc:sldMk cId="2460403538" sldId="353"/>
            <ac:spMk id="25" creationId="{EDA2C9DA-AA0E-4900-AD2F-E52580846E8D}"/>
          </ac:spMkLst>
        </pc:spChg>
        <pc:spChg chg="del">
          <ac:chgData name="Mia Rytter Lund" userId="fd5a37df-57b5-4ab7-b42f-f051b0300ae8" providerId="ADAL" clId="{ED476330-2767-4560-BB40-AACDC7D43230}" dt="2022-11-29T22:28:13.667" v="923" actId="478"/>
          <ac:spMkLst>
            <pc:docMk/>
            <pc:sldMk cId="2460403538" sldId="353"/>
            <ac:spMk id="30" creationId="{BC46319C-8AE6-4A31-95E2-BC1DDD2382F5}"/>
          </ac:spMkLst>
        </pc:spChg>
        <pc:cxnChg chg="mod">
          <ac:chgData name="Mia Rytter Lund" userId="fd5a37df-57b5-4ab7-b42f-f051b0300ae8" providerId="ADAL" clId="{ED476330-2767-4560-BB40-AACDC7D43230}" dt="2022-12-02T21:56:47.968" v="2146" actId="1036"/>
          <ac:cxnSpMkLst>
            <pc:docMk/>
            <pc:sldMk cId="2460403538" sldId="353"/>
            <ac:cxnSpMk id="14" creationId="{FABA3CC2-9C87-49C6-BE37-B30DC7783122}"/>
          </ac:cxnSpMkLst>
        </pc:cxnChg>
        <pc:cxnChg chg="mod">
          <ac:chgData name="Mia Rytter Lund" userId="fd5a37df-57b5-4ab7-b42f-f051b0300ae8" providerId="ADAL" clId="{ED476330-2767-4560-BB40-AACDC7D43230}" dt="2022-12-02T21:56:47.968" v="2146" actId="1036"/>
          <ac:cxnSpMkLst>
            <pc:docMk/>
            <pc:sldMk cId="2460403538" sldId="353"/>
            <ac:cxnSpMk id="16" creationId="{D44A69B8-A054-491F-97F5-B68ADAFE9C64}"/>
          </ac:cxnSpMkLst>
        </pc:cxnChg>
        <pc:cxnChg chg="mod">
          <ac:chgData name="Mia Rytter Lund" userId="fd5a37df-57b5-4ab7-b42f-f051b0300ae8" providerId="ADAL" clId="{ED476330-2767-4560-BB40-AACDC7D43230}" dt="2022-12-02T21:56:47.968" v="2146" actId="1036"/>
          <ac:cxnSpMkLst>
            <pc:docMk/>
            <pc:sldMk cId="2460403538" sldId="353"/>
            <ac:cxnSpMk id="18" creationId="{E1DE5B8B-E884-4971-A8DB-B5B49365A677}"/>
          </ac:cxnSpMkLst>
        </pc:cxnChg>
      </pc:sldChg>
      <pc:sldChg chg="addSp delSp modSp add mod modNotesTx">
        <pc:chgData name="Mia Rytter Lund" userId="fd5a37df-57b5-4ab7-b42f-f051b0300ae8" providerId="ADAL" clId="{ED476330-2767-4560-BB40-AACDC7D43230}" dt="2022-12-02T22:00:59.432" v="2162" actId="1076"/>
        <pc:sldMkLst>
          <pc:docMk/>
          <pc:sldMk cId="2438857049" sldId="355"/>
        </pc:sldMkLst>
        <pc:spChg chg="mod">
          <ac:chgData name="Mia Rytter Lund" userId="fd5a37df-57b5-4ab7-b42f-f051b0300ae8" providerId="ADAL" clId="{ED476330-2767-4560-BB40-AACDC7D43230}" dt="2022-12-02T21:41:01.614" v="1724" actId="20577"/>
          <ac:spMkLst>
            <pc:docMk/>
            <pc:sldMk cId="2438857049" sldId="355"/>
            <ac:spMk id="12" creationId="{DFA1BE92-67D4-494C-938C-5E07E6182366}"/>
          </ac:spMkLst>
        </pc:spChg>
        <pc:spChg chg="add mod">
          <ac:chgData name="Mia Rytter Lund" userId="fd5a37df-57b5-4ab7-b42f-f051b0300ae8" providerId="ADAL" clId="{ED476330-2767-4560-BB40-AACDC7D43230}" dt="2022-12-02T22:00:20.148" v="2158" actId="113"/>
          <ac:spMkLst>
            <pc:docMk/>
            <pc:sldMk cId="2438857049" sldId="355"/>
            <ac:spMk id="15" creationId="{86DDCBFD-BF9A-40A1-AB12-BDE863ADBC40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16" creationId="{5E7A8C6E-92BC-4B90-A609-44EA16A52778}"/>
          </ac:spMkLst>
        </pc:spChg>
        <pc:spChg chg="add mod">
          <ac:chgData name="Mia Rytter Lund" userId="fd5a37df-57b5-4ab7-b42f-f051b0300ae8" providerId="ADAL" clId="{ED476330-2767-4560-BB40-AACDC7D43230}" dt="2022-12-02T22:00:59.432" v="2162" actId="1076"/>
          <ac:spMkLst>
            <pc:docMk/>
            <pc:sldMk cId="2438857049" sldId="355"/>
            <ac:spMk id="17" creationId="{96C0564C-BFF1-4C83-A18F-7788E2D05FDF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23" creationId="{021D5157-0B16-4ACC-A984-7AE560034E0D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25" creationId="{A71354C7-045C-4334-83F7-43AF718CD017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26" creationId="{B8B20ACD-E362-48CB-A8A7-F434A64277F2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28" creationId="{7017F8D6-C2A5-462A-B7A7-032E3840D9C9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29" creationId="{84BC7683-CA51-4905-AFC9-3D9783F66060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30" creationId="{AA864FB1-8753-4D04-B1C5-CF90E41F28CC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31" creationId="{A6D23F46-33D7-47EE-A180-00F4C7DC1825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32" creationId="{2318A6E4-30EE-4013-856B-218DFDC5F53F}"/>
          </ac:spMkLst>
        </pc:spChg>
        <pc:spChg chg="del">
          <ac:chgData name="Mia Rytter Lund" userId="fd5a37df-57b5-4ab7-b42f-f051b0300ae8" providerId="ADAL" clId="{ED476330-2767-4560-BB40-AACDC7D43230}" dt="2022-12-02T21:40:50.702" v="1681" actId="478"/>
          <ac:spMkLst>
            <pc:docMk/>
            <pc:sldMk cId="2438857049" sldId="355"/>
            <ac:spMk id="34" creationId="{56F3EAEC-F9D6-4DE0-8787-97F7ACA96730}"/>
          </ac:spMkLst>
        </pc:spChg>
      </pc:sldChg>
      <pc:sldChg chg="addSp delSp modSp new mod">
        <pc:chgData name="Mia Rytter Lund" userId="fd5a37df-57b5-4ab7-b42f-f051b0300ae8" providerId="ADAL" clId="{ED476330-2767-4560-BB40-AACDC7D43230}" dt="2022-12-02T21:52:12.556" v="1936" actId="1076"/>
        <pc:sldMkLst>
          <pc:docMk/>
          <pc:sldMk cId="3328935215" sldId="356"/>
        </pc:sldMkLst>
        <pc:spChg chg="del mod">
          <ac:chgData name="Mia Rytter Lund" userId="fd5a37df-57b5-4ab7-b42f-f051b0300ae8" providerId="ADAL" clId="{ED476330-2767-4560-BB40-AACDC7D43230}" dt="2022-12-02T21:50:55.849" v="1925" actId="478"/>
          <ac:spMkLst>
            <pc:docMk/>
            <pc:sldMk cId="3328935215" sldId="356"/>
            <ac:spMk id="2" creationId="{A59F8311-9BB0-457B-AFAB-9BC75146E840}"/>
          </ac:spMkLst>
        </pc:spChg>
        <pc:spChg chg="del">
          <ac:chgData name="Mia Rytter Lund" userId="fd5a37df-57b5-4ab7-b42f-f051b0300ae8" providerId="ADAL" clId="{ED476330-2767-4560-BB40-AACDC7D43230}" dt="2022-12-02T21:51:02.360" v="1927" actId="478"/>
          <ac:spMkLst>
            <pc:docMk/>
            <pc:sldMk cId="3328935215" sldId="356"/>
            <ac:spMk id="3" creationId="{DBA9A72A-4FC0-4C2C-A7E5-2F3BCA3456AF}"/>
          </ac:spMkLst>
        </pc:spChg>
        <pc:spChg chg="add mod">
          <ac:chgData name="Mia Rytter Lund" userId="fd5a37df-57b5-4ab7-b42f-f051b0300ae8" providerId="ADAL" clId="{ED476330-2767-4560-BB40-AACDC7D43230}" dt="2022-12-02T21:51:40.777" v="1933" actId="20577"/>
          <ac:spMkLst>
            <pc:docMk/>
            <pc:sldMk cId="3328935215" sldId="356"/>
            <ac:spMk id="4" creationId="{5AED0789-4D1B-4A34-BBD0-9E505DCD61A8}"/>
          </ac:spMkLst>
        </pc:spChg>
        <pc:spChg chg="add del mod">
          <ac:chgData name="Mia Rytter Lund" userId="fd5a37df-57b5-4ab7-b42f-f051b0300ae8" providerId="ADAL" clId="{ED476330-2767-4560-BB40-AACDC7D43230}" dt="2022-12-02T21:51:07.879" v="1928" actId="478"/>
          <ac:spMkLst>
            <pc:docMk/>
            <pc:sldMk cId="3328935215" sldId="356"/>
            <ac:spMk id="6" creationId="{A3C013A4-398D-43EC-825A-E19B2E83E7E2}"/>
          </ac:spMkLst>
        </pc:spChg>
        <pc:spChg chg="add mod">
          <ac:chgData name="Mia Rytter Lund" userId="fd5a37df-57b5-4ab7-b42f-f051b0300ae8" providerId="ADAL" clId="{ED476330-2767-4560-BB40-AACDC7D43230}" dt="2022-12-02T21:50:56.483" v="1926"/>
          <ac:spMkLst>
            <pc:docMk/>
            <pc:sldMk cId="3328935215" sldId="356"/>
            <ac:spMk id="7" creationId="{0C8FE229-5ACC-42B4-A177-A4C37201013A}"/>
          </ac:spMkLst>
        </pc:spChg>
        <pc:spChg chg="add mod">
          <ac:chgData name="Mia Rytter Lund" userId="fd5a37df-57b5-4ab7-b42f-f051b0300ae8" providerId="ADAL" clId="{ED476330-2767-4560-BB40-AACDC7D43230}" dt="2022-12-02T21:52:12.556" v="1936" actId="1076"/>
          <ac:spMkLst>
            <pc:docMk/>
            <pc:sldMk cId="3328935215" sldId="356"/>
            <ac:spMk id="8" creationId="{8B5552ED-D49D-4A4B-99A6-75967CB42D59}"/>
          </ac:spMkLst>
        </pc:spChg>
      </pc:sldChg>
      <pc:sldChg chg="addSp delSp modSp add mod setBg modNotesTx">
        <pc:chgData name="Mia Rytter Lund" userId="fd5a37df-57b5-4ab7-b42f-f051b0300ae8" providerId="ADAL" clId="{ED476330-2767-4560-BB40-AACDC7D43230}" dt="2022-12-02T22:06:05.138" v="2365" actId="113"/>
        <pc:sldMkLst>
          <pc:docMk/>
          <pc:sldMk cId="1933092816" sldId="357"/>
        </pc:sldMkLst>
        <pc:spChg chg="add del mod">
          <ac:chgData name="Mia Rytter Lund" userId="fd5a37df-57b5-4ab7-b42f-f051b0300ae8" providerId="ADAL" clId="{ED476330-2767-4560-BB40-AACDC7D43230}" dt="2022-12-02T22:04:04.263" v="2189" actId="478"/>
          <ac:spMkLst>
            <pc:docMk/>
            <pc:sldMk cId="1933092816" sldId="357"/>
            <ac:spMk id="11" creationId="{534C3B8C-AF8E-4C3B-BE65-1B0059CE0C07}"/>
          </ac:spMkLst>
        </pc:spChg>
        <pc:spChg chg="add mod">
          <ac:chgData name="Mia Rytter Lund" userId="fd5a37df-57b5-4ab7-b42f-f051b0300ae8" providerId="ADAL" clId="{ED476330-2767-4560-BB40-AACDC7D43230}" dt="2022-12-02T22:04:14.820" v="2190" actId="1076"/>
          <ac:spMkLst>
            <pc:docMk/>
            <pc:sldMk cId="1933092816" sldId="357"/>
            <ac:spMk id="12" creationId="{61A8952F-3B2A-4A83-BE3C-931ABAAE4409}"/>
          </ac:spMkLst>
        </pc:spChg>
        <pc:spChg chg="mod">
          <ac:chgData name="Mia Rytter Lund" userId="fd5a37df-57b5-4ab7-b42f-f051b0300ae8" providerId="ADAL" clId="{ED476330-2767-4560-BB40-AACDC7D43230}" dt="2022-12-02T22:04:14.820" v="2190" actId="1076"/>
          <ac:spMkLst>
            <pc:docMk/>
            <pc:sldMk cId="1933092816" sldId="357"/>
            <ac:spMk id="41" creationId="{7DD1BEFE-FF04-46C0-8C82-875A228C70F3}"/>
          </ac:spMkLst>
        </pc:spChg>
        <pc:spChg chg="del">
          <ac:chgData name="Mia Rytter Lund" userId="fd5a37df-57b5-4ab7-b42f-f051b0300ae8" providerId="ADAL" clId="{ED476330-2767-4560-BB40-AACDC7D43230}" dt="2022-12-02T22:01:37.356" v="2164" actId="478"/>
          <ac:spMkLst>
            <pc:docMk/>
            <pc:sldMk cId="1933092816" sldId="357"/>
            <ac:spMk id="42" creationId="{6FC8D232-7EFB-47BE-9AE1-D266FD7725F0}"/>
          </ac:spMkLst>
        </pc:spChg>
        <pc:spChg chg="del">
          <ac:chgData name="Mia Rytter Lund" userId="fd5a37df-57b5-4ab7-b42f-f051b0300ae8" providerId="ADAL" clId="{ED476330-2767-4560-BB40-AACDC7D43230}" dt="2022-12-02T22:01:37.356" v="2164" actId="478"/>
          <ac:spMkLst>
            <pc:docMk/>
            <pc:sldMk cId="1933092816" sldId="357"/>
            <ac:spMk id="43" creationId="{5EBB8361-371A-4E35-B569-7E6C11CA483A}"/>
          </ac:spMkLst>
        </pc:spChg>
        <pc:spChg chg="del">
          <ac:chgData name="Mia Rytter Lund" userId="fd5a37df-57b5-4ab7-b42f-f051b0300ae8" providerId="ADAL" clId="{ED476330-2767-4560-BB40-AACDC7D43230}" dt="2022-12-02T22:01:37.356" v="2164" actId="478"/>
          <ac:spMkLst>
            <pc:docMk/>
            <pc:sldMk cId="1933092816" sldId="357"/>
            <ac:spMk id="44" creationId="{F15A940C-88AE-4D92-8730-B7E13B27B57B}"/>
          </ac:spMkLst>
        </pc:spChg>
        <pc:spChg chg="del">
          <ac:chgData name="Mia Rytter Lund" userId="fd5a37df-57b5-4ab7-b42f-f051b0300ae8" providerId="ADAL" clId="{ED476330-2767-4560-BB40-AACDC7D43230}" dt="2022-12-02T22:01:37.356" v="2164" actId="478"/>
          <ac:spMkLst>
            <pc:docMk/>
            <pc:sldMk cId="1933092816" sldId="357"/>
            <ac:spMk id="45" creationId="{E5BCBACD-978C-4938-BB72-DC19BF4B878E}"/>
          </ac:spMkLst>
        </pc:spChg>
        <pc:spChg chg="del">
          <ac:chgData name="Mia Rytter Lund" userId="fd5a37df-57b5-4ab7-b42f-f051b0300ae8" providerId="ADAL" clId="{ED476330-2767-4560-BB40-AACDC7D43230}" dt="2022-12-02T22:01:37.356" v="2164" actId="478"/>
          <ac:spMkLst>
            <pc:docMk/>
            <pc:sldMk cId="1933092816" sldId="357"/>
            <ac:spMk id="81" creationId="{F0769BA3-66CD-4FC1-9AA0-CF03C4D0115B}"/>
          </ac:spMkLst>
        </pc:spChg>
        <pc:spChg chg="mod">
          <ac:chgData name="Mia Rytter Lund" userId="fd5a37df-57b5-4ab7-b42f-f051b0300ae8" providerId="ADAL" clId="{ED476330-2767-4560-BB40-AACDC7D43230}" dt="2022-12-02T22:03:58.763" v="2188" actId="1076"/>
          <ac:spMkLst>
            <pc:docMk/>
            <pc:sldMk cId="1933092816" sldId="357"/>
            <ac:spMk id="108" creationId="{F7505CCF-6B2D-4791-8B8E-A8068ECE6AE7}"/>
          </ac:spMkLst>
        </pc:spChg>
        <pc:picChg chg="add mod">
          <ac:chgData name="Mia Rytter Lund" userId="fd5a37df-57b5-4ab7-b42f-f051b0300ae8" providerId="ADAL" clId="{ED476330-2767-4560-BB40-AACDC7D43230}" dt="2022-12-02T22:04:14.820" v="2190" actId="1076"/>
          <ac:picMkLst>
            <pc:docMk/>
            <pc:sldMk cId="1933092816" sldId="357"/>
            <ac:picMk id="13" creationId="{CDA701EF-C59D-40CE-9746-031925698A25}"/>
          </ac:picMkLst>
        </pc:picChg>
        <pc:picChg chg="add mod">
          <ac:chgData name="Mia Rytter Lund" userId="fd5a37df-57b5-4ab7-b42f-f051b0300ae8" providerId="ADAL" clId="{ED476330-2767-4560-BB40-AACDC7D43230}" dt="2022-12-02T22:04:14.820" v="2190" actId="1076"/>
          <ac:picMkLst>
            <pc:docMk/>
            <pc:sldMk cId="1933092816" sldId="357"/>
            <ac:picMk id="14" creationId="{FCDA4B9B-73B2-40E3-8530-4F868BDC4A9E}"/>
          </ac:picMkLst>
        </pc:picChg>
        <pc:picChg chg="add mod">
          <ac:chgData name="Mia Rytter Lund" userId="fd5a37df-57b5-4ab7-b42f-f051b0300ae8" providerId="ADAL" clId="{ED476330-2767-4560-BB40-AACDC7D43230}" dt="2022-12-02T22:04:14.820" v="2190" actId="1076"/>
          <ac:picMkLst>
            <pc:docMk/>
            <pc:sldMk cId="1933092816" sldId="357"/>
            <ac:picMk id="15" creationId="{8C067C1F-A8D2-47F8-A296-828BCF699C85}"/>
          </ac:picMkLst>
        </pc:picChg>
        <pc:picChg chg="add mod">
          <ac:chgData name="Mia Rytter Lund" userId="fd5a37df-57b5-4ab7-b42f-f051b0300ae8" providerId="ADAL" clId="{ED476330-2767-4560-BB40-AACDC7D43230}" dt="2022-12-02T22:04:14.820" v="2190" actId="1076"/>
          <ac:picMkLst>
            <pc:docMk/>
            <pc:sldMk cId="1933092816" sldId="357"/>
            <ac:picMk id="16" creationId="{D57E559D-20CE-4625-B6C2-4031CECC1008}"/>
          </ac:picMkLst>
        </pc:picChg>
        <pc:picChg chg="add mod">
          <ac:chgData name="Mia Rytter Lund" userId="fd5a37df-57b5-4ab7-b42f-f051b0300ae8" providerId="ADAL" clId="{ED476330-2767-4560-BB40-AACDC7D43230}" dt="2022-12-02T22:04:14.820" v="2190" actId="1076"/>
          <ac:picMkLst>
            <pc:docMk/>
            <pc:sldMk cId="1933092816" sldId="357"/>
            <ac:picMk id="17" creationId="{849CA645-0B27-4BA2-A4F3-6730C9D19527}"/>
          </ac:picMkLst>
        </pc:picChg>
      </pc:sldChg>
    </pc:docChg>
  </pc:docChgLst>
  <pc:docChgLst>
    <pc:chgData name="Nikolaj Godsk Vestergaard" userId="13f6e931-e8bb-4f58-9241-2f10614c3355" providerId="ADAL" clId="{26E3B360-BE45-4C46-AA2F-A6EE35AB50A4}"/>
    <pc:docChg chg="undo redo custSel addSld delSld modSld sldOrd replTag">
      <pc:chgData name="Nikolaj Godsk Vestergaard" userId="13f6e931-e8bb-4f58-9241-2f10614c3355" providerId="ADAL" clId="{26E3B360-BE45-4C46-AA2F-A6EE35AB50A4}" dt="2023-04-13T14:26:59.357" v="4860"/>
      <pc:docMkLst>
        <pc:docMk/>
      </pc:docMkLst>
      <pc:sldChg chg="addSp delSp modSp del mod">
        <pc:chgData name="Nikolaj Godsk Vestergaard" userId="13f6e931-e8bb-4f58-9241-2f10614c3355" providerId="ADAL" clId="{26E3B360-BE45-4C46-AA2F-A6EE35AB50A4}" dt="2023-03-23T19:09:24.240" v="2315" actId="47"/>
        <pc:sldMkLst>
          <pc:docMk/>
          <pc:sldMk cId="0" sldId="256"/>
        </pc:sldMkLst>
        <pc:spChg chg="add mod">
          <ac:chgData name="Nikolaj Godsk Vestergaard" userId="13f6e931-e8bb-4f58-9241-2f10614c3355" providerId="ADAL" clId="{26E3B360-BE45-4C46-AA2F-A6EE35AB50A4}" dt="2023-03-23T16:41:26.757" v="16" actId="478"/>
          <ac:spMkLst>
            <pc:docMk/>
            <pc:sldMk cId="0" sldId="256"/>
            <ac:spMk id="4" creationId="{D24A754A-50D5-3F73-5518-5FB73633F30A}"/>
          </ac:spMkLst>
        </pc:spChg>
        <pc:spChg chg="del">
          <ac:chgData name="Nikolaj Godsk Vestergaard" userId="13f6e931-e8bb-4f58-9241-2f10614c3355" providerId="ADAL" clId="{26E3B360-BE45-4C46-AA2F-A6EE35AB50A4}" dt="2023-03-23T16:41:26.757" v="16" actId="478"/>
          <ac:spMkLst>
            <pc:docMk/>
            <pc:sldMk cId="0" sldId="256"/>
            <ac:spMk id="5" creationId="{6700E6DD-2609-4241-8E3B-D501AA8DCC47}"/>
          </ac:spMkLst>
        </pc:spChg>
        <pc:spChg chg="del">
          <ac:chgData name="Nikolaj Godsk Vestergaard" userId="13f6e931-e8bb-4f58-9241-2f10614c3355" providerId="ADAL" clId="{26E3B360-BE45-4C46-AA2F-A6EE35AB50A4}" dt="2023-03-23T16:41:26.757" v="16" actId="478"/>
          <ac:spMkLst>
            <pc:docMk/>
            <pc:sldMk cId="0" sldId="256"/>
            <ac:spMk id="694" creationId="{00000000-0000-0000-0000-000000000000}"/>
          </ac:spMkLst>
        </pc:spChg>
        <pc:graphicFrameChg chg="mod">
          <ac:chgData name="Nikolaj Godsk Vestergaard" userId="13f6e931-e8bb-4f58-9241-2f10614c3355" providerId="ADAL" clId="{26E3B360-BE45-4C46-AA2F-A6EE35AB50A4}" dt="2023-03-23T16:41:27.271" v="20"/>
          <ac:graphicFrameMkLst>
            <pc:docMk/>
            <pc:sldMk cId="0" sldId="256"/>
            <ac:graphicFrameMk id="2" creationId="{CB41E3BF-4194-4AEC-AE0B-9FE634FD6E9D}"/>
          </ac:graphicFrameMkLst>
        </pc:graphicFrameChg>
      </pc:sldChg>
      <pc:sldChg chg="modSp add mod ord modTransition modShow">
        <pc:chgData name="Nikolaj Godsk Vestergaard" userId="13f6e931-e8bb-4f58-9241-2f10614c3355" providerId="ADAL" clId="{26E3B360-BE45-4C46-AA2F-A6EE35AB50A4}" dt="2023-04-13T14:17:47.175" v="4680"/>
        <pc:sldMkLst>
          <pc:docMk/>
          <pc:sldMk cId="523858196" sldId="257"/>
        </pc:sldMkLst>
        <pc:spChg chg="mod">
          <ac:chgData name="Nikolaj Godsk Vestergaard" userId="13f6e931-e8bb-4f58-9241-2f10614c3355" providerId="ADAL" clId="{26E3B360-BE45-4C46-AA2F-A6EE35AB50A4}" dt="2023-03-23T16:46:56.179" v="94" actId="207"/>
          <ac:spMkLst>
            <pc:docMk/>
            <pc:sldMk cId="523858196" sldId="257"/>
            <ac:spMk id="2" creationId="{095CDFB4-C6B1-F4A6-1225-D9C841C8D24B}"/>
          </ac:spMkLst>
        </pc:spChg>
        <pc:spChg chg="mod">
          <ac:chgData name="Nikolaj Godsk Vestergaard" userId="13f6e931-e8bb-4f58-9241-2f10614c3355" providerId="ADAL" clId="{26E3B360-BE45-4C46-AA2F-A6EE35AB50A4}" dt="2023-03-23T16:49:25.773" v="112" actId="404"/>
          <ac:spMkLst>
            <pc:docMk/>
            <pc:sldMk cId="523858196" sldId="257"/>
            <ac:spMk id="9" creationId="{D1237289-81E7-A6F0-F31E-D988C5943818}"/>
          </ac:spMkLst>
        </pc:spChg>
      </pc:sldChg>
      <pc:sldChg chg="del">
        <pc:chgData name="Nikolaj Godsk Vestergaard" userId="13f6e931-e8bb-4f58-9241-2f10614c3355" providerId="ADAL" clId="{26E3B360-BE45-4C46-AA2F-A6EE35AB50A4}" dt="2023-03-23T16:41:21.196" v="15" actId="47"/>
        <pc:sldMkLst>
          <pc:docMk/>
          <pc:sldMk cId="3669439568" sldId="259"/>
        </pc:sldMkLst>
      </pc:sldChg>
      <pc:sldChg chg="del">
        <pc:chgData name="Nikolaj Godsk Vestergaard" userId="13f6e931-e8bb-4f58-9241-2f10614c3355" providerId="ADAL" clId="{26E3B360-BE45-4C46-AA2F-A6EE35AB50A4}" dt="2023-03-23T16:41:15.777" v="9" actId="47"/>
        <pc:sldMkLst>
          <pc:docMk/>
          <pc:sldMk cId="2252367502" sldId="261"/>
        </pc:sldMkLst>
      </pc:sldChg>
      <pc:sldChg chg="del">
        <pc:chgData name="Nikolaj Godsk Vestergaard" userId="13f6e931-e8bb-4f58-9241-2f10614c3355" providerId="ADAL" clId="{26E3B360-BE45-4C46-AA2F-A6EE35AB50A4}" dt="2023-03-23T16:41:16.734" v="10" actId="47"/>
        <pc:sldMkLst>
          <pc:docMk/>
          <pc:sldMk cId="4205915561" sldId="262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3151590070" sldId="268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2932001311" sldId="273"/>
        </pc:sldMkLst>
      </pc:sldChg>
      <pc:sldChg chg="addSp delSp modSp mod setBg modClrScheme addCm modCm chgLayout">
        <pc:chgData name="Nikolaj Godsk Vestergaard" userId="13f6e931-e8bb-4f58-9241-2f10614c3355" providerId="ADAL" clId="{26E3B360-BE45-4C46-AA2F-A6EE35AB50A4}" dt="2023-04-13T14:26:59.357" v="4860"/>
        <pc:sldMkLst>
          <pc:docMk/>
          <pc:sldMk cId="664770772" sldId="282"/>
        </pc:sldMkLst>
        <pc:spChg chg="add del mod ord">
          <ac:chgData name="Nikolaj Godsk Vestergaard" userId="13f6e931-e8bb-4f58-9241-2f10614c3355" providerId="ADAL" clId="{26E3B360-BE45-4C46-AA2F-A6EE35AB50A4}" dt="2023-04-13T14:15:47.506" v="4627" actId="700"/>
          <ac:spMkLst>
            <pc:docMk/>
            <pc:sldMk cId="664770772" sldId="282"/>
            <ac:spMk id="2" creationId="{C4A1A9D9-6981-2430-A88C-2CC4B6F79B96}"/>
          </ac:spMkLst>
        </pc:spChg>
        <pc:spChg chg="add del mod ord">
          <ac:chgData name="Nikolaj Godsk Vestergaard" userId="13f6e931-e8bb-4f58-9241-2f10614c3355" providerId="ADAL" clId="{26E3B360-BE45-4C46-AA2F-A6EE35AB50A4}" dt="2023-04-13T14:16:01.990" v="4648" actId="700"/>
          <ac:spMkLst>
            <pc:docMk/>
            <pc:sldMk cId="664770772" sldId="282"/>
            <ac:spMk id="4" creationId="{54A85DAC-44F6-1FB5-BDDF-0139EBDCA8DF}"/>
          </ac:spMkLst>
        </pc:spChg>
        <pc:spChg chg="add del mod ord">
          <ac:chgData name="Nikolaj Godsk Vestergaard" userId="13f6e931-e8bb-4f58-9241-2f10614c3355" providerId="ADAL" clId="{26E3B360-BE45-4C46-AA2F-A6EE35AB50A4}" dt="2023-04-13T14:16:01.990" v="4648" actId="700"/>
          <ac:spMkLst>
            <pc:docMk/>
            <pc:sldMk cId="664770772" sldId="282"/>
            <ac:spMk id="6" creationId="{CF3ADD28-56E7-2639-F862-68DD3C8373ED}"/>
          </ac:spMkLst>
        </pc:spChg>
        <pc:spChg chg="add del mod ord">
          <ac:chgData name="Nikolaj Godsk Vestergaard" userId="13f6e931-e8bb-4f58-9241-2f10614c3355" providerId="ADAL" clId="{26E3B360-BE45-4C46-AA2F-A6EE35AB50A4}" dt="2023-04-13T14:16:55.080" v="4673" actId="700"/>
          <ac:spMkLst>
            <pc:docMk/>
            <pc:sldMk cId="664770772" sldId="282"/>
            <ac:spMk id="8" creationId="{B7F3C780-240E-7423-F813-BD6BBFE2D159}"/>
          </ac:spMkLst>
        </pc:spChg>
        <pc:spChg chg="mod">
          <ac:chgData name="Nikolaj Godsk Vestergaard" userId="13f6e931-e8bb-4f58-9241-2f10614c3355" providerId="ADAL" clId="{26E3B360-BE45-4C46-AA2F-A6EE35AB50A4}" dt="2023-04-13T14:23:03.089" v="4832" actId="1076"/>
          <ac:spMkLst>
            <pc:docMk/>
            <pc:sldMk cId="664770772" sldId="282"/>
            <ac:spMk id="11" creationId="{D936D440-4ACC-0318-B585-F8763CA6A315}"/>
          </ac:spMkLst>
        </pc:spChg>
        <pc:spChg chg="add mod">
          <ac:chgData name="Nikolaj Godsk Vestergaard" userId="13f6e931-e8bb-4f58-9241-2f10614c3355" providerId="ADAL" clId="{26E3B360-BE45-4C46-AA2F-A6EE35AB50A4}" dt="2023-04-13T14:23:43.323" v="4857" actId="20577"/>
          <ac:spMkLst>
            <pc:docMk/>
            <pc:sldMk cId="664770772" sldId="282"/>
            <ac:spMk id="13" creationId="{C8A5AC54-D0B6-F412-E3BC-1419EB83BBC4}"/>
          </ac:spMkLst>
        </pc:spChg>
        <pc:spChg chg="mod">
          <ac:chgData name="Nikolaj Godsk Vestergaard" userId="13f6e931-e8bb-4f58-9241-2f10614c3355" providerId="ADAL" clId="{26E3B360-BE45-4C46-AA2F-A6EE35AB50A4}" dt="2023-04-13T14:18:21.409" v="4683" actId="1076"/>
          <ac:spMkLst>
            <pc:docMk/>
            <pc:sldMk cId="664770772" sldId="282"/>
            <ac:spMk id="80" creationId="{0C8546AB-E152-4035-8674-FEE4057126B4}"/>
          </ac:spMkLst>
        </pc:spChg>
        <pc:spChg chg="mod">
          <ac:chgData name="Nikolaj Godsk Vestergaard" userId="13f6e931-e8bb-4f58-9241-2f10614c3355" providerId="ADAL" clId="{26E3B360-BE45-4C46-AA2F-A6EE35AB50A4}" dt="2023-04-13T14:19:51.025" v="4694" actId="14100"/>
          <ac:spMkLst>
            <pc:docMk/>
            <pc:sldMk cId="664770772" sldId="282"/>
            <ac:spMk id="198" creationId="{BAC975C9-9791-4552-8DB7-4C15EF2F10A2}"/>
          </ac:spMkLst>
        </pc:spChg>
        <pc:spChg chg="mod">
          <ac:chgData name="Nikolaj Godsk Vestergaard" userId="13f6e931-e8bb-4f58-9241-2f10614c3355" providerId="ADAL" clId="{26E3B360-BE45-4C46-AA2F-A6EE35AB50A4}" dt="2023-04-13T14:19:29.707" v="4690" actId="14100"/>
          <ac:spMkLst>
            <pc:docMk/>
            <pc:sldMk cId="664770772" sldId="282"/>
            <ac:spMk id="205" creationId="{44F6CD6E-5F40-45AB-929A-DBCC531073F9}"/>
          </ac:spMkLst>
        </pc:spChg>
        <pc:graphicFrameChg chg="add mod ord modVis replST">
          <ac:chgData name="Nikolaj Godsk Vestergaard" userId="13f6e931-e8bb-4f58-9241-2f10614c3355" providerId="ADAL" clId="{26E3B360-BE45-4C46-AA2F-A6EE35AB50A4}" dt="2023-04-13T14:16:55.615" v="4677"/>
          <ac:graphicFrameMkLst>
            <pc:docMk/>
            <pc:sldMk cId="664770772" sldId="282"/>
            <ac:graphicFrameMk id="3" creationId="{C28270E0-0E8C-6999-38B3-2828BBCB093E}"/>
          </ac:graphicFrameMkLst>
        </pc:graphicFrameChg>
        <pc:picChg chg="mod">
          <ac:chgData name="Nikolaj Godsk Vestergaard" userId="13f6e931-e8bb-4f58-9241-2f10614c3355" providerId="ADAL" clId="{26E3B360-BE45-4C46-AA2F-A6EE35AB50A4}" dt="2023-04-13T14:18:27.117" v="4684" actId="1076"/>
          <ac:picMkLst>
            <pc:docMk/>
            <pc:sldMk cId="664770772" sldId="282"/>
            <ac:picMk id="16" creationId="{56580945-B891-4A52-825F-56EAD74C464A}"/>
          </ac:picMkLst>
        </pc:picChg>
        <pc:picChg chg="mod">
          <ac:chgData name="Nikolaj Godsk Vestergaard" userId="13f6e931-e8bb-4f58-9241-2f10614c3355" providerId="ADAL" clId="{26E3B360-BE45-4C46-AA2F-A6EE35AB50A4}" dt="2023-04-13T14:19:41.495" v="4692" actId="1076"/>
          <ac:picMkLst>
            <pc:docMk/>
            <pc:sldMk cId="664770772" sldId="282"/>
            <ac:picMk id="169" creationId="{EEC513F4-7424-4C8B-A956-015437FB2C38}"/>
          </ac:picMkLst>
        </pc:picChg>
      </pc:sldChg>
      <pc:sldChg chg="del">
        <pc:chgData name="Nikolaj Godsk Vestergaard" userId="13f6e931-e8bb-4f58-9241-2f10614c3355" providerId="ADAL" clId="{26E3B360-BE45-4C46-AA2F-A6EE35AB50A4}" dt="2023-03-23T16:41:19.743" v="14" actId="47"/>
        <pc:sldMkLst>
          <pc:docMk/>
          <pc:sldMk cId="2818176505" sldId="332"/>
        </pc:sldMkLst>
      </pc:sldChg>
      <pc:sldChg chg="del">
        <pc:chgData name="Nikolaj Godsk Vestergaard" userId="13f6e931-e8bb-4f58-9241-2f10614c3355" providerId="ADAL" clId="{26E3B360-BE45-4C46-AA2F-A6EE35AB50A4}" dt="2023-03-23T16:41:14.039" v="8" actId="47"/>
        <pc:sldMkLst>
          <pc:docMk/>
          <pc:sldMk cId="4046010928" sldId="333"/>
        </pc:sldMkLst>
      </pc:sldChg>
      <pc:sldChg chg="del">
        <pc:chgData name="Nikolaj Godsk Vestergaard" userId="13f6e931-e8bb-4f58-9241-2f10614c3355" providerId="ADAL" clId="{26E3B360-BE45-4C46-AA2F-A6EE35AB50A4}" dt="2023-03-23T16:41:17.280" v="11" actId="47"/>
        <pc:sldMkLst>
          <pc:docMk/>
          <pc:sldMk cId="755171214" sldId="335"/>
        </pc:sldMkLst>
      </pc:sldChg>
      <pc:sldChg chg="del">
        <pc:chgData name="Nikolaj Godsk Vestergaard" userId="13f6e931-e8bb-4f58-9241-2f10614c3355" providerId="ADAL" clId="{26E3B360-BE45-4C46-AA2F-A6EE35AB50A4}" dt="2023-03-23T16:41:17.999" v="12" actId="47"/>
        <pc:sldMkLst>
          <pc:docMk/>
          <pc:sldMk cId="3230653498" sldId="336"/>
        </pc:sldMkLst>
      </pc:sldChg>
      <pc:sldChg chg="del">
        <pc:chgData name="Nikolaj Godsk Vestergaard" userId="13f6e931-e8bb-4f58-9241-2f10614c3355" providerId="ADAL" clId="{26E3B360-BE45-4C46-AA2F-A6EE35AB50A4}" dt="2023-03-23T16:41:11.832" v="7" actId="47"/>
        <pc:sldMkLst>
          <pc:docMk/>
          <pc:sldMk cId="2798339461" sldId="337"/>
        </pc:sldMkLst>
      </pc:sldChg>
      <pc:sldChg chg="delSp del mod setBg">
        <pc:chgData name="Nikolaj Godsk Vestergaard" userId="13f6e931-e8bb-4f58-9241-2f10614c3355" providerId="ADAL" clId="{26E3B360-BE45-4C46-AA2F-A6EE35AB50A4}" dt="2023-03-23T19:09:24.240" v="2315" actId="47"/>
        <pc:sldMkLst>
          <pc:docMk/>
          <pc:sldMk cId="4052520069" sldId="338"/>
        </pc:sldMkLst>
        <pc:spChg chg="del">
          <ac:chgData name="Nikolaj Godsk Vestergaard" userId="13f6e931-e8bb-4f58-9241-2f10614c3355" providerId="ADAL" clId="{26E3B360-BE45-4C46-AA2F-A6EE35AB50A4}" dt="2023-03-23T16:41:09.878" v="6" actId="478"/>
          <ac:spMkLst>
            <pc:docMk/>
            <pc:sldMk cId="4052520069" sldId="338"/>
            <ac:spMk id="4" creationId="{B7FC3C18-0E4F-49B9-85D2-82FF8A035D13}"/>
          </ac:spMkLst>
        </pc:spChg>
        <pc:spChg chg="del">
          <ac:chgData name="Nikolaj Godsk Vestergaard" userId="13f6e931-e8bb-4f58-9241-2f10614c3355" providerId="ADAL" clId="{26E3B360-BE45-4C46-AA2F-A6EE35AB50A4}" dt="2023-03-23T16:41:09.878" v="6" actId="478"/>
          <ac:spMkLst>
            <pc:docMk/>
            <pc:sldMk cId="4052520069" sldId="338"/>
            <ac:spMk id="11" creationId="{F2237923-C517-4E64-BA44-64D3957B8269}"/>
          </ac:spMkLst>
        </pc:spChg>
        <pc:spChg chg="del">
          <ac:chgData name="Nikolaj Godsk Vestergaard" userId="13f6e931-e8bb-4f58-9241-2f10614c3355" providerId="ADAL" clId="{26E3B360-BE45-4C46-AA2F-A6EE35AB50A4}" dt="2023-03-23T16:41:09.878" v="6" actId="478"/>
          <ac:spMkLst>
            <pc:docMk/>
            <pc:sldMk cId="4052520069" sldId="338"/>
            <ac:spMk id="12" creationId="{22260257-E40E-419D-ACCC-390F6346492C}"/>
          </ac:spMkLst>
        </pc:spChg>
        <pc:spChg chg="del">
          <ac:chgData name="Nikolaj Godsk Vestergaard" userId="13f6e931-e8bb-4f58-9241-2f10614c3355" providerId="ADAL" clId="{26E3B360-BE45-4C46-AA2F-A6EE35AB50A4}" dt="2023-03-23T16:41:09.878" v="6" actId="478"/>
          <ac:spMkLst>
            <pc:docMk/>
            <pc:sldMk cId="4052520069" sldId="338"/>
            <ac:spMk id="13" creationId="{119B1449-E62A-4861-85AF-E5307FDD89DE}"/>
          </ac:spMkLst>
        </pc:spChg>
        <pc:spChg chg="del">
          <ac:chgData name="Nikolaj Godsk Vestergaard" userId="13f6e931-e8bb-4f58-9241-2f10614c3355" providerId="ADAL" clId="{26E3B360-BE45-4C46-AA2F-A6EE35AB50A4}" dt="2023-03-23T16:41:09.878" v="6" actId="478"/>
          <ac:spMkLst>
            <pc:docMk/>
            <pc:sldMk cId="4052520069" sldId="338"/>
            <ac:spMk id="14" creationId="{8EB6B20A-6C8A-4F4A-9B7E-79A6F4382549}"/>
          </ac:spMkLst>
        </pc:spChg>
        <pc:spChg chg="del">
          <ac:chgData name="Nikolaj Godsk Vestergaard" userId="13f6e931-e8bb-4f58-9241-2f10614c3355" providerId="ADAL" clId="{26E3B360-BE45-4C46-AA2F-A6EE35AB50A4}" dt="2023-03-23T16:41:09.878" v="6" actId="478"/>
          <ac:spMkLst>
            <pc:docMk/>
            <pc:sldMk cId="4052520069" sldId="338"/>
            <ac:spMk id="15" creationId="{FECDBCAD-331E-46AC-81C4-945BE3DED884}"/>
          </ac:spMkLst>
        </pc:spChg>
        <pc:grpChg chg="del">
          <ac:chgData name="Nikolaj Godsk Vestergaard" userId="13f6e931-e8bb-4f58-9241-2f10614c3355" providerId="ADAL" clId="{26E3B360-BE45-4C46-AA2F-A6EE35AB50A4}" dt="2023-03-23T16:41:09.878" v="6" actId="478"/>
          <ac:grpSpMkLst>
            <pc:docMk/>
            <pc:sldMk cId="4052520069" sldId="338"/>
            <ac:grpSpMk id="16" creationId="{1AB7DB3F-A651-4DD5-9260-820AF450BC16}"/>
          </ac:grpSpMkLst>
        </pc:grpChg>
      </pc:sldChg>
      <pc:sldChg chg="addSp delSp modSp del mod">
        <pc:chgData name="Nikolaj Godsk Vestergaard" userId="13f6e931-e8bb-4f58-9241-2f10614c3355" providerId="ADAL" clId="{26E3B360-BE45-4C46-AA2F-A6EE35AB50A4}" dt="2023-03-23T19:09:24.240" v="2315" actId="47"/>
        <pc:sldMkLst>
          <pc:docMk/>
          <pc:sldMk cId="3775362778" sldId="339"/>
        </pc:sldMkLst>
        <pc:spChg chg="del">
          <ac:chgData name="Nikolaj Godsk Vestergaard" userId="13f6e931-e8bb-4f58-9241-2f10614c3355" providerId="ADAL" clId="{26E3B360-BE45-4C46-AA2F-A6EE35AB50A4}" dt="2023-03-23T16:41:02.813" v="1" actId="478"/>
          <ac:spMkLst>
            <pc:docMk/>
            <pc:sldMk cId="3775362778" sldId="339"/>
            <ac:spMk id="2" creationId="{0F8BF24F-A2E6-4CF6-8D40-59F7B68CAF25}"/>
          </ac:spMkLst>
        </pc:spChg>
        <pc:spChg chg="add mod">
          <ac:chgData name="Nikolaj Godsk Vestergaard" userId="13f6e931-e8bb-4f58-9241-2f10614c3355" providerId="ADAL" clId="{26E3B360-BE45-4C46-AA2F-A6EE35AB50A4}" dt="2023-03-23T16:41:02.813" v="1" actId="478"/>
          <ac:spMkLst>
            <pc:docMk/>
            <pc:sldMk cId="3775362778" sldId="339"/>
            <ac:spMk id="4" creationId="{EABE2488-A484-E92B-5AA2-B4FF0065500F}"/>
          </ac:spMkLst>
        </pc:spChg>
        <pc:spChg chg="del">
          <ac:chgData name="Nikolaj Godsk Vestergaard" userId="13f6e931-e8bb-4f58-9241-2f10614c3355" providerId="ADAL" clId="{26E3B360-BE45-4C46-AA2F-A6EE35AB50A4}" dt="2023-03-23T16:41:02.813" v="1" actId="478"/>
          <ac:spMkLst>
            <pc:docMk/>
            <pc:sldMk cId="3775362778" sldId="339"/>
            <ac:spMk id="51" creationId="{7236F299-5A52-45A6-9F82-B19616CAEBB1}"/>
          </ac:spMkLst>
        </pc:spChg>
        <pc:grpChg chg="del">
          <ac:chgData name="Nikolaj Godsk Vestergaard" userId="13f6e931-e8bb-4f58-9241-2f10614c3355" providerId="ADAL" clId="{26E3B360-BE45-4C46-AA2F-A6EE35AB50A4}" dt="2023-03-23T16:41:02.813" v="1" actId="478"/>
          <ac:grpSpMkLst>
            <pc:docMk/>
            <pc:sldMk cId="3775362778" sldId="339"/>
            <ac:grpSpMk id="52" creationId="{A1034F4A-F126-4E3D-BBC0-D4D68E9FB138}"/>
          </ac:grpSpMkLst>
        </pc:grpChg>
        <pc:grpChg chg="del">
          <ac:chgData name="Nikolaj Godsk Vestergaard" userId="13f6e931-e8bb-4f58-9241-2f10614c3355" providerId="ADAL" clId="{26E3B360-BE45-4C46-AA2F-A6EE35AB50A4}" dt="2023-03-23T16:41:02.813" v="1" actId="478"/>
          <ac:grpSpMkLst>
            <pc:docMk/>
            <pc:sldMk cId="3775362778" sldId="339"/>
            <ac:grpSpMk id="65" creationId="{D8A6223D-6E50-4632-8E2C-5202A3466DDF}"/>
          </ac:grpSpMkLst>
        </pc:grpChg>
        <pc:grpChg chg="del">
          <ac:chgData name="Nikolaj Godsk Vestergaard" userId="13f6e931-e8bb-4f58-9241-2f10614c3355" providerId="ADAL" clId="{26E3B360-BE45-4C46-AA2F-A6EE35AB50A4}" dt="2023-03-23T16:41:02.813" v="1" actId="478"/>
          <ac:grpSpMkLst>
            <pc:docMk/>
            <pc:sldMk cId="3775362778" sldId="339"/>
            <ac:grpSpMk id="68" creationId="{3AAFDADA-98EE-43DA-BD6C-A8EDC0BB5731}"/>
          </ac:grpSpMkLst>
        </pc:grpChg>
        <pc:grpChg chg="del">
          <ac:chgData name="Nikolaj Godsk Vestergaard" userId="13f6e931-e8bb-4f58-9241-2f10614c3355" providerId="ADAL" clId="{26E3B360-BE45-4C46-AA2F-A6EE35AB50A4}" dt="2023-03-23T16:41:02.813" v="1" actId="478"/>
          <ac:grpSpMkLst>
            <pc:docMk/>
            <pc:sldMk cId="3775362778" sldId="339"/>
            <ac:grpSpMk id="71" creationId="{6C842F8B-F2D1-49EF-94AE-CAA0F4D5BEE4}"/>
          </ac:grpSpMkLst>
        </pc:grpChg>
        <pc:grpChg chg="del">
          <ac:chgData name="Nikolaj Godsk Vestergaard" userId="13f6e931-e8bb-4f58-9241-2f10614c3355" providerId="ADAL" clId="{26E3B360-BE45-4C46-AA2F-A6EE35AB50A4}" dt="2023-03-23T16:41:02.813" v="1" actId="478"/>
          <ac:grpSpMkLst>
            <pc:docMk/>
            <pc:sldMk cId="3775362778" sldId="339"/>
            <ac:grpSpMk id="74" creationId="{73E8A4A9-C61E-45E2-AF68-692206B857A7}"/>
          </ac:grpSpMkLst>
        </pc:grpChg>
        <pc:grpChg chg="del">
          <ac:chgData name="Nikolaj Godsk Vestergaard" userId="13f6e931-e8bb-4f58-9241-2f10614c3355" providerId="ADAL" clId="{26E3B360-BE45-4C46-AA2F-A6EE35AB50A4}" dt="2023-03-23T16:41:02.813" v="1" actId="478"/>
          <ac:grpSpMkLst>
            <pc:docMk/>
            <pc:sldMk cId="3775362778" sldId="339"/>
            <ac:grpSpMk id="77" creationId="{38256CDB-3BF9-4D9E-8958-1702ADBC15C7}"/>
          </ac:grpSpMkLst>
        </pc:grpChg>
        <pc:grpChg chg="del">
          <ac:chgData name="Nikolaj Godsk Vestergaard" userId="13f6e931-e8bb-4f58-9241-2f10614c3355" providerId="ADAL" clId="{26E3B360-BE45-4C46-AA2F-A6EE35AB50A4}" dt="2023-03-23T16:41:02.813" v="1" actId="478"/>
          <ac:grpSpMkLst>
            <pc:docMk/>
            <pc:sldMk cId="3775362778" sldId="339"/>
            <ac:grpSpMk id="84" creationId="{524B5000-53EF-4C3C-98B9-CDB9F84B2914}"/>
          </ac:grpSpMkLst>
        </pc:grpChg>
        <pc:grpChg chg="del">
          <ac:chgData name="Nikolaj Godsk Vestergaard" userId="13f6e931-e8bb-4f58-9241-2f10614c3355" providerId="ADAL" clId="{26E3B360-BE45-4C46-AA2F-A6EE35AB50A4}" dt="2023-03-23T16:41:02.813" v="1" actId="478"/>
          <ac:grpSpMkLst>
            <pc:docMk/>
            <pc:sldMk cId="3775362778" sldId="339"/>
            <ac:grpSpMk id="87" creationId="{3E144F58-4EDE-4AD0-9981-CC4DB98991E9}"/>
          </ac:grpSpMkLst>
        </pc:grpChg>
        <pc:grpChg chg="del">
          <ac:chgData name="Nikolaj Godsk Vestergaard" userId="13f6e931-e8bb-4f58-9241-2f10614c3355" providerId="ADAL" clId="{26E3B360-BE45-4C46-AA2F-A6EE35AB50A4}" dt="2023-03-23T16:41:02.813" v="1" actId="478"/>
          <ac:grpSpMkLst>
            <pc:docMk/>
            <pc:sldMk cId="3775362778" sldId="339"/>
            <ac:grpSpMk id="95" creationId="{70340D72-6B99-4AB1-85A9-613992AF7A26}"/>
          </ac:grpSpMkLst>
        </pc:grpChg>
        <pc:graphicFrameChg chg="mod">
          <ac:chgData name="Nikolaj Godsk Vestergaard" userId="13f6e931-e8bb-4f58-9241-2f10614c3355" providerId="ADAL" clId="{26E3B360-BE45-4C46-AA2F-A6EE35AB50A4}" dt="2023-03-23T16:41:03.340" v="5"/>
          <ac:graphicFrameMkLst>
            <pc:docMk/>
            <pc:sldMk cId="3775362778" sldId="339"/>
            <ac:graphicFrameMk id="6" creationId="{2CA615AF-F9B8-4523-BF47-85C929EE8B61}"/>
          </ac:graphicFrameMkLst>
        </pc:graphicFrameChg>
      </pc:sldChg>
      <pc:sldChg chg="addSp delSp modSp new add mod ord setBg delCm modCm">
        <pc:chgData name="Nikolaj Godsk Vestergaard" userId="13f6e931-e8bb-4f58-9241-2f10614c3355" providerId="ADAL" clId="{26E3B360-BE45-4C46-AA2F-A6EE35AB50A4}" dt="2023-04-13T14:15:22.455" v="4624"/>
        <pc:sldMkLst>
          <pc:docMk/>
          <pc:sldMk cId="3461901739" sldId="340"/>
        </pc:sldMkLst>
        <pc:spChg chg="mod ord">
          <ac:chgData name="Nikolaj Godsk Vestergaard" userId="13f6e931-e8bb-4f58-9241-2f10614c3355" providerId="ADAL" clId="{26E3B360-BE45-4C46-AA2F-A6EE35AB50A4}" dt="2023-04-13T12:45:35.765" v="2477"/>
          <ac:spMkLst>
            <pc:docMk/>
            <pc:sldMk cId="3461901739" sldId="340"/>
            <ac:spMk id="2" creationId="{FBF23CCB-993C-1E32-957D-D676870DD7F8}"/>
          </ac:spMkLst>
        </pc:spChg>
        <pc:spChg chg="add mod ord">
          <ac:chgData name="Nikolaj Godsk Vestergaard" userId="13f6e931-e8bb-4f58-9241-2f10614c3355" providerId="ADAL" clId="{26E3B360-BE45-4C46-AA2F-A6EE35AB50A4}" dt="2023-04-13T13:03:18.940" v="2823" actId="1076"/>
          <ac:spMkLst>
            <pc:docMk/>
            <pc:sldMk cId="3461901739" sldId="340"/>
            <ac:spMk id="3" creationId="{6E834057-EF3D-96DF-1174-15FA6F553EE2}"/>
          </ac:spMkLst>
        </pc:spChg>
        <pc:spChg chg="add mod ord">
          <ac:chgData name="Nikolaj Godsk Vestergaard" userId="13f6e931-e8bb-4f58-9241-2f10614c3355" providerId="ADAL" clId="{26E3B360-BE45-4C46-AA2F-A6EE35AB50A4}" dt="2023-03-23T18:51:10.192" v="2143"/>
          <ac:spMkLst>
            <pc:docMk/>
            <pc:sldMk cId="3461901739" sldId="340"/>
            <ac:spMk id="4" creationId="{61BC663F-6158-52D0-3CFD-89A817B4A564}"/>
          </ac:spMkLst>
        </pc:spChg>
        <pc:spChg chg="add mod ord">
          <ac:chgData name="Nikolaj Godsk Vestergaard" userId="13f6e931-e8bb-4f58-9241-2f10614c3355" providerId="ADAL" clId="{26E3B360-BE45-4C46-AA2F-A6EE35AB50A4}" dt="2023-04-13T14:10:40.956" v="4568" actId="14100"/>
          <ac:spMkLst>
            <pc:docMk/>
            <pc:sldMk cId="3461901739" sldId="340"/>
            <ac:spMk id="6" creationId="{C4EC46CE-3886-090C-4684-5B00306F583F}"/>
          </ac:spMkLst>
        </pc:spChg>
        <pc:spChg chg="add mod ord">
          <ac:chgData name="Nikolaj Godsk Vestergaard" userId="13f6e931-e8bb-4f58-9241-2f10614c3355" providerId="ADAL" clId="{26E3B360-BE45-4C46-AA2F-A6EE35AB50A4}" dt="2023-04-13T12:45:35.771" v="2489"/>
          <ac:spMkLst>
            <pc:docMk/>
            <pc:sldMk cId="3461901739" sldId="340"/>
            <ac:spMk id="7" creationId="{912B9C44-23D2-886D-DD1F-57F92F8599C5}"/>
          </ac:spMkLst>
        </pc:spChg>
        <pc:spChg chg="add del mod ord">
          <ac:chgData name="Nikolaj Godsk Vestergaard" userId="13f6e931-e8bb-4f58-9241-2f10614c3355" providerId="ADAL" clId="{26E3B360-BE45-4C46-AA2F-A6EE35AB50A4}" dt="2023-04-13T12:45:35.769" v="2483"/>
          <ac:spMkLst>
            <pc:docMk/>
            <pc:sldMk cId="3461901739" sldId="340"/>
            <ac:spMk id="8" creationId="{94A5A96B-276B-2B73-6E1F-764964CFDE7C}"/>
          </ac:spMkLst>
        </pc:spChg>
        <pc:spChg chg="add mod ord">
          <ac:chgData name="Nikolaj Godsk Vestergaard" userId="13f6e931-e8bb-4f58-9241-2f10614c3355" providerId="ADAL" clId="{26E3B360-BE45-4C46-AA2F-A6EE35AB50A4}" dt="2023-04-13T14:14:17.518" v="4622" actId="20577"/>
          <ac:spMkLst>
            <pc:docMk/>
            <pc:sldMk cId="3461901739" sldId="340"/>
            <ac:spMk id="9" creationId="{1A4E5ACC-87FE-C968-39BC-FF7815EE2273}"/>
          </ac:spMkLst>
        </pc:spChg>
        <pc:spChg chg="add del mod">
          <ac:chgData name="Nikolaj Godsk Vestergaard" userId="13f6e931-e8bb-4f58-9241-2f10614c3355" providerId="ADAL" clId="{26E3B360-BE45-4C46-AA2F-A6EE35AB50A4}" dt="2023-03-23T16:51:25.686" v="150"/>
          <ac:spMkLst>
            <pc:docMk/>
            <pc:sldMk cId="3461901739" sldId="340"/>
            <ac:spMk id="11" creationId="{193A95B5-B181-2279-A237-6DFE9028532D}"/>
          </ac:spMkLst>
        </pc:spChg>
        <pc:spChg chg="add mod ord">
          <ac:chgData name="Nikolaj Godsk Vestergaard" userId="13f6e931-e8bb-4f58-9241-2f10614c3355" providerId="ADAL" clId="{26E3B360-BE45-4C46-AA2F-A6EE35AB50A4}" dt="2023-04-13T12:45:35.772" v="2491"/>
          <ac:spMkLst>
            <pc:docMk/>
            <pc:sldMk cId="3461901739" sldId="340"/>
            <ac:spMk id="11" creationId="{55CE6EB4-5D15-C5D1-F1B6-C8ACA3BBA3E9}"/>
          </ac:spMkLst>
        </pc:spChg>
        <pc:spChg chg="mod ord">
          <ac:chgData name="Nikolaj Godsk Vestergaard" userId="13f6e931-e8bb-4f58-9241-2f10614c3355" providerId="ADAL" clId="{26E3B360-BE45-4C46-AA2F-A6EE35AB50A4}" dt="2023-04-13T13:03:01.556" v="2820" actId="14100"/>
          <ac:spMkLst>
            <pc:docMk/>
            <pc:sldMk cId="3461901739" sldId="340"/>
            <ac:spMk id="12" creationId="{1DC29576-9F86-AF99-2E14-0E7B1B023D86}"/>
          </ac:spMkLst>
        </pc:spChg>
        <pc:spChg chg="add del mod ord">
          <ac:chgData name="Nikolaj Godsk Vestergaard" userId="13f6e931-e8bb-4f58-9241-2f10614c3355" providerId="ADAL" clId="{26E3B360-BE45-4C46-AA2F-A6EE35AB50A4}" dt="2023-03-23T18:22:09.037" v="1618" actId="478"/>
          <ac:spMkLst>
            <pc:docMk/>
            <pc:sldMk cId="3461901739" sldId="340"/>
            <ac:spMk id="12" creationId="{816A7AA9-1001-D3D9-859A-D33DD86F3DA9}"/>
          </ac:spMkLst>
        </pc:spChg>
        <pc:spChg chg="add del mod ord">
          <ac:chgData name="Nikolaj Godsk Vestergaard" userId="13f6e931-e8bb-4f58-9241-2f10614c3355" providerId="ADAL" clId="{26E3B360-BE45-4C46-AA2F-A6EE35AB50A4}" dt="2023-03-23T18:22:09.815" v="1619" actId="478"/>
          <ac:spMkLst>
            <pc:docMk/>
            <pc:sldMk cId="3461901739" sldId="340"/>
            <ac:spMk id="13" creationId="{313ECA9F-549A-BC18-ACD4-08D0F809A0E5}"/>
          </ac:spMkLst>
        </pc:spChg>
        <pc:spChg chg="add mod ord">
          <ac:chgData name="Nikolaj Godsk Vestergaard" userId="13f6e931-e8bb-4f58-9241-2f10614c3355" providerId="ADAL" clId="{26E3B360-BE45-4C46-AA2F-A6EE35AB50A4}" dt="2023-04-13T12:50:15.235" v="2601" actId="6549"/>
          <ac:spMkLst>
            <pc:docMk/>
            <pc:sldMk cId="3461901739" sldId="340"/>
            <ac:spMk id="13" creationId="{8AA84EB9-C638-2980-3B1F-68E4F87D5495}"/>
          </ac:spMkLst>
        </pc:spChg>
        <pc:spChg chg="add mod ord">
          <ac:chgData name="Nikolaj Godsk Vestergaard" userId="13f6e931-e8bb-4f58-9241-2f10614c3355" providerId="ADAL" clId="{26E3B360-BE45-4C46-AA2F-A6EE35AB50A4}" dt="2023-04-13T14:10:45.118" v="4569" actId="14100"/>
          <ac:spMkLst>
            <pc:docMk/>
            <pc:sldMk cId="3461901739" sldId="340"/>
            <ac:spMk id="14" creationId="{360A9ADF-0E8F-44B0-AEAA-C3217F82A17D}"/>
          </ac:spMkLst>
        </pc:spChg>
        <pc:spChg chg="add mod ord">
          <ac:chgData name="Nikolaj Godsk Vestergaard" userId="13f6e931-e8bb-4f58-9241-2f10614c3355" providerId="ADAL" clId="{26E3B360-BE45-4C46-AA2F-A6EE35AB50A4}" dt="2023-04-13T14:11:26.210" v="4584" actId="20577"/>
          <ac:spMkLst>
            <pc:docMk/>
            <pc:sldMk cId="3461901739" sldId="340"/>
            <ac:spMk id="15" creationId="{15AE61C9-12CC-DF88-5C79-ABD5A71E76AA}"/>
          </ac:spMkLst>
        </pc:spChg>
        <pc:spChg chg="add del mod">
          <ac:chgData name="Nikolaj Godsk Vestergaard" userId="13f6e931-e8bb-4f58-9241-2f10614c3355" providerId="ADAL" clId="{26E3B360-BE45-4C46-AA2F-A6EE35AB50A4}" dt="2023-03-23T18:25:11.554" v="1703" actId="478"/>
          <ac:spMkLst>
            <pc:docMk/>
            <pc:sldMk cId="3461901739" sldId="340"/>
            <ac:spMk id="16" creationId="{ABACF3B3-5D52-4E59-E2A6-F19ABA6A634B}"/>
          </ac:spMkLst>
        </pc:spChg>
        <pc:spChg chg="add mod ord">
          <ac:chgData name="Nikolaj Godsk Vestergaard" userId="13f6e931-e8bb-4f58-9241-2f10614c3355" providerId="ADAL" clId="{26E3B360-BE45-4C46-AA2F-A6EE35AB50A4}" dt="2023-04-13T12:45:35.782" v="2527"/>
          <ac:spMkLst>
            <pc:docMk/>
            <pc:sldMk cId="3461901739" sldId="340"/>
            <ac:spMk id="16" creationId="{D7932C8B-52A0-D6A8-4A40-4A8402D00A3C}"/>
          </ac:spMkLst>
        </pc:spChg>
        <pc:spChg chg="add mod ord">
          <ac:chgData name="Nikolaj Godsk Vestergaard" userId="13f6e931-e8bb-4f58-9241-2f10614c3355" providerId="ADAL" clId="{26E3B360-BE45-4C46-AA2F-A6EE35AB50A4}" dt="2023-04-13T14:10:15.876" v="4563" actId="1076"/>
          <ac:spMkLst>
            <pc:docMk/>
            <pc:sldMk cId="3461901739" sldId="340"/>
            <ac:spMk id="17" creationId="{25C8A179-5DA7-057B-6D90-CD0340814F29}"/>
          </ac:spMkLst>
        </pc:spChg>
        <pc:spChg chg="add del mod">
          <ac:chgData name="Nikolaj Godsk Vestergaard" userId="13f6e931-e8bb-4f58-9241-2f10614c3355" providerId="ADAL" clId="{26E3B360-BE45-4C46-AA2F-A6EE35AB50A4}" dt="2023-03-23T18:26:56.898" v="1724" actId="478"/>
          <ac:spMkLst>
            <pc:docMk/>
            <pc:sldMk cId="3461901739" sldId="340"/>
            <ac:spMk id="17" creationId="{C16E6940-A12E-AA11-EB9E-7A2BFC93AD1C}"/>
          </ac:spMkLst>
        </pc:spChg>
        <pc:spChg chg="add mod ord">
          <ac:chgData name="Nikolaj Godsk Vestergaard" userId="13f6e931-e8bb-4f58-9241-2f10614c3355" providerId="ADAL" clId="{26E3B360-BE45-4C46-AA2F-A6EE35AB50A4}" dt="2023-04-13T14:10:02.416" v="4562" actId="1076"/>
          <ac:spMkLst>
            <pc:docMk/>
            <pc:sldMk cId="3461901739" sldId="340"/>
            <ac:spMk id="18" creationId="{4E3D6A7D-BB1C-C408-0F31-0C277155A9BE}"/>
          </ac:spMkLst>
        </pc:spChg>
        <pc:spChg chg="add del mod">
          <ac:chgData name="Nikolaj Godsk Vestergaard" userId="13f6e931-e8bb-4f58-9241-2f10614c3355" providerId="ADAL" clId="{26E3B360-BE45-4C46-AA2F-A6EE35AB50A4}" dt="2023-03-23T18:28:30.986" v="1752" actId="478"/>
          <ac:spMkLst>
            <pc:docMk/>
            <pc:sldMk cId="3461901739" sldId="340"/>
            <ac:spMk id="18" creationId="{E8BCE3D6-1F54-73BC-1191-9422BCB34AF0}"/>
          </ac:spMkLst>
        </pc:spChg>
        <pc:spChg chg="add del mod">
          <ac:chgData name="Nikolaj Godsk Vestergaard" userId="13f6e931-e8bb-4f58-9241-2f10614c3355" providerId="ADAL" clId="{26E3B360-BE45-4C46-AA2F-A6EE35AB50A4}" dt="2023-03-23T18:30:30.891" v="1778" actId="478"/>
          <ac:spMkLst>
            <pc:docMk/>
            <pc:sldMk cId="3461901739" sldId="340"/>
            <ac:spMk id="19" creationId="{208EABE3-CFFB-0F80-FF65-314DAF214F4B}"/>
          </ac:spMkLst>
        </pc:spChg>
        <pc:spChg chg="add mod ord">
          <ac:chgData name="Nikolaj Godsk Vestergaard" userId="13f6e931-e8bb-4f58-9241-2f10614c3355" providerId="ADAL" clId="{26E3B360-BE45-4C46-AA2F-A6EE35AB50A4}" dt="2023-04-13T12:59:22.690" v="2675" actId="20577"/>
          <ac:spMkLst>
            <pc:docMk/>
            <pc:sldMk cId="3461901739" sldId="340"/>
            <ac:spMk id="19" creationId="{590A113A-7784-D98C-CB3E-76911B81BF60}"/>
          </ac:spMkLst>
        </pc:spChg>
        <pc:spChg chg="add mod ord">
          <ac:chgData name="Nikolaj Godsk Vestergaard" userId="13f6e931-e8bb-4f58-9241-2f10614c3355" providerId="ADAL" clId="{26E3B360-BE45-4C46-AA2F-A6EE35AB50A4}" dt="2023-04-13T12:45:35.773" v="2497"/>
          <ac:spMkLst>
            <pc:docMk/>
            <pc:sldMk cId="3461901739" sldId="340"/>
            <ac:spMk id="20" creationId="{46B5C8FF-9C4B-190C-BF8B-66614F296421}"/>
          </ac:spMkLst>
        </pc:spChg>
        <pc:spChg chg="add del mod">
          <ac:chgData name="Nikolaj Godsk Vestergaard" userId="13f6e931-e8bb-4f58-9241-2f10614c3355" providerId="ADAL" clId="{26E3B360-BE45-4C46-AA2F-A6EE35AB50A4}" dt="2023-04-13T12:42:12.863" v="2442" actId="478"/>
          <ac:spMkLst>
            <pc:docMk/>
            <pc:sldMk cId="3461901739" sldId="340"/>
            <ac:spMk id="22" creationId="{E2CE19D6-BFED-679B-D4B6-CFA19289C105}"/>
          </ac:spMkLst>
        </pc:spChg>
        <pc:spChg chg="mod">
          <ac:chgData name="Nikolaj Godsk Vestergaard" userId="13f6e931-e8bb-4f58-9241-2f10614c3355" providerId="ADAL" clId="{26E3B360-BE45-4C46-AA2F-A6EE35AB50A4}" dt="2023-03-23T18:45:51.617" v="2119" actId="207"/>
          <ac:spMkLst>
            <pc:docMk/>
            <pc:sldMk cId="3461901739" sldId="340"/>
            <ac:spMk id="24" creationId="{F9F8B1EC-3D7B-4827-0607-C1B4F2D3F79D}"/>
          </ac:spMkLst>
        </pc:spChg>
        <pc:spChg chg="mod">
          <ac:chgData name="Nikolaj Godsk Vestergaard" userId="13f6e931-e8bb-4f58-9241-2f10614c3355" providerId="ADAL" clId="{26E3B360-BE45-4C46-AA2F-A6EE35AB50A4}" dt="2023-03-23T18:23:52.991" v="1684"/>
          <ac:spMkLst>
            <pc:docMk/>
            <pc:sldMk cId="3461901739" sldId="340"/>
            <ac:spMk id="26" creationId="{BBD54C86-171D-39F4-5EB7-B95F140262E3}"/>
          </ac:spMkLst>
        </pc:spChg>
        <pc:spChg chg="mod">
          <ac:chgData name="Nikolaj Godsk Vestergaard" userId="13f6e931-e8bb-4f58-9241-2f10614c3355" providerId="ADAL" clId="{26E3B360-BE45-4C46-AA2F-A6EE35AB50A4}" dt="2023-03-23T18:23:52.991" v="1684"/>
          <ac:spMkLst>
            <pc:docMk/>
            <pc:sldMk cId="3461901739" sldId="340"/>
            <ac:spMk id="27" creationId="{031AD754-6772-61A1-0B62-E78322654F9B}"/>
          </ac:spMkLst>
        </pc:spChg>
        <pc:spChg chg="add mod ord">
          <ac:chgData name="Nikolaj Godsk Vestergaard" userId="13f6e931-e8bb-4f58-9241-2f10614c3355" providerId="ADAL" clId="{26E3B360-BE45-4C46-AA2F-A6EE35AB50A4}" dt="2023-04-13T13:57:04.532" v="3369" actId="14100"/>
          <ac:spMkLst>
            <pc:docMk/>
            <pc:sldMk cId="3461901739" sldId="340"/>
            <ac:spMk id="28" creationId="{A7AD4073-7B88-83A3-529B-444103195F8C}"/>
          </ac:spMkLst>
        </pc:spChg>
        <pc:spChg chg="add mod ord">
          <ac:chgData name="Nikolaj Godsk Vestergaard" userId="13f6e931-e8bb-4f58-9241-2f10614c3355" providerId="ADAL" clId="{26E3B360-BE45-4C46-AA2F-A6EE35AB50A4}" dt="2023-04-13T12:45:35.775" v="2503"/>
          <ac:spMkLst>
            <pc:docMk/>
            <pc:sldMk cId="3461901739" sldId="340"/>
            <ac:spMk id="29" creationId="{5CB3DAEF-9976-0854-FEA7-88FC4E2E5E52}"/>
          </ac:spMkLst>
        </pc:spChg>
        <pc:spChg chg="add del mod ord">
          <ac:chgData name="Nikolaj Godsk Vestergaard" userId="13f6e931-e8bb-4f58-9241-2f10614c3355" providerId="ADAL" clId="{26E3B360-BE45-4C46-AA2F-A6EE35AB50A4}" dt="2023-03-23T19:02:00.394" v="2261" actId="478"/>
          <ac:spMkLst>
            <pc:docMk/>
            <pc:sldMk cId="3461901739" sldId="340"/>
            <ac:spMk id="30" creationId="{368938E3-3721-A73C-BEDD-6597F445CCDC}"/>
          </ac:spMkLst>
        </pc:spChg>
        <pc:spChg chg="add del mod">
          <ac:chgData name="Nikolaj Godsk Vestergaard" userId="13f6e931-e8bb-4f58-9241-2f10614c3355" providerId="ADAL" clId="{26E3B360-BE45-4C46-AA2F-A6EE35AB50A4}" dt="2023-04-13T12:42:25.345" v="2446" actId="478"/>
          <ac:spMkLst>
            <pc:docMk/>
            <pc:sldMk cId="3461901739" sldId="340"/>
            <ac:spMk id="31" creationId="{07D81529-FE20-032E-0DAE-A76A3F7716DD}"/>
          </ac:spMkLst>
        </pc:spChg>
        <pc:spChg chg="add del mod ord">
          <ac:chgData name="Nikolaj Godsk Vestergaard" userId="13f6e931-e8bb-4f58-9241-2f10614c3355" providerId="ADAL" clId="{26E3B360-BE45-4C46-AA2F-A6EE35AB50A4}" dt="2023-03-23T19:02:02.963" v="2263" actId="478"/>
          <ac:spMkLst>
            <pc:docMk/>
            <pc:sldMk cId="3461901739" sldId="340"/>
            <ac:spMk id="31" creationId="{56AD1692-38C4-931F-DBA0-E2DF12A5EA0A}"/>
          </ac:spMkLst>
        </pc:spChg>
        <pc:spChg chg="mod">
          <ac:chgData name="Nikolaj Godsk Vestergaard" userId="13f6e931-e8bb-4f58-9241-2f10614c3355" providerId="ADAL" clId="{26E3B360-BE45-4C46-AA2F-A6EE35AB50A4}" dt="2023-03-23T18:46:34.907" v="2124" actId="207"/>
          <ac:spMkLst>
            <pc:docMk/>
            <pc:sldMk cId="3461901739" sldId="340"/>
            <ac:spMk id="33" creationId="{7C44A90B-7ECC-FC13-4584-458141A6FA2A}"/>
          </ac:spMkLst>
        </pc:spChg>
        <pc:spChg chg="mod">
          <ac:chgData name="Nikolaj Godsk Vestergaard" userId="13f6e931-e8bb-4f58-9241-2f10614c3355" providerId="ADAL" clId="{26E3B360-BE45-4C46-AA2F-A6EE35AB50A4}" dt="2023-03-23T18:23:52.991" v="1684"/>
          <ac:spMkLst>
            <pc:docMk/>
            <pc:sldMk cId="3461901739" sldId="340"/>
            <ac:spMk id="35" creationId="{04F04F2B-8C81-9997-4D69-DC00B3A4CF64}"/>
          </ac:spMkLst>
        </pc:spChg>
        <pc:spChg chg="mod">
          <ac:chgData name="Nikolaj Godsk Vestergaard" userId="13f6e931-e8bb-4f58-9241-2f10614c3355" providerId="ADAL" clId="{26E3B360-BE45-4C46-AA2F-A6EE35AB50A4}" dt="2023-03-23T18:23:52.991" v="1684"/>
          <ac:spMkLst>
            <pc:docMk/>
            <pc:sldMk cId="3461901739" sldId="340"/>
            <ac:spMk id="36" creationId="{F36BFD13-F597-10F3-D890-6DF284EF06EE}"/>
          </ac:spMkLst>
        </pc:spChg>
        <pc:spChg chg="mod">
          <ac:chgData name="Nikolaj Godsk Vestergaard" userId="13f6e931-e8bb-4f58-9241-2f10614c3355" providerId="ADAL" clId="{26E3B360-BE45-4C46-AA2F-A6EE35AB50A4}" dt="2023-03-23T18:23:52.991" v="1684"/>
          <ac:spMkLst>
            <pc:docMk/>
            <pc:sldMk cId="3461901739" sldId="340"/>
            <ac:spMk id="37" creationId="{F3AE91EE-1FD0-9E9F-D470-333ECE0C88A5}"/>
          </ac:spMkLst>
        </pc:spChg>
        <pc:spChg chg="mod">
          <ac:chgData name="Nikolaj Godsk Vestergaard" userId="13f6e931-e8bb-4f58-9241-2f10614c3355" providerId="ADAL" clId="{26E3B360-BE45-4C46-AA2F-A6EE35AB50A4}" dt="2023-03-23T18:23:52.991" v="1684"/>
          <ac:spMkLst>
            <pc:docMk/>
            <pc:sldMk cId="3461901739" sldId="340"/>
            <ac:spMk id="38" creationId="{68E8FCDE-CF67-2854-7D6D-B6D810567D71}"/>
          </ac:spMkLst>
        </pc:spChg>
        <pc:spChg chg="mod">
          <ac:chgData name="Nikolaj Godsk Vestergaard" userId="13f6e931-e8bb-4f58-9241-2f10614c3355" providerId="ADAL" clId="{26E3B360-BE45-4C46-AA2F-A6EE35AB50A4}" dt="2023-03-23T18:46:51.984" v="2125" actId="207"/>
          <ac:spMkLst>
            <pc:docMk/>
            <pc:sldMk cId="3461901739" sldId="340"/>
            <ac:spMk id="40" creationId="{7C066031-3E02-E982-5C61-A17DFFB4F153}"/>
          </ac:spMkLst>
        </pc:spChg>
        <pc:spChg chg="add mod">
          <ac:chgData name="Nikolaj Godsk Vestergaard" userId="13f6e931-e8bb-4f58-9241-2f10614c3355" providerId="ADAL" clId="{26E3B360-BE45-4C46-AA2F-A6EE35AB50A4}" dt="2023-03-23T18:40:37.813" v="2067" actId="14100"/>
          <ac:spMkLst>
            <pc:docMk/>
            <pc:sldMk cId="3461901739" sldId="340"/>
            <ac:spMk id="44" creationId="{E8A905F0-B91E-66A9-90F0-D159B898DFE6}"/>
          </ac:spMkLst>
        </pc:spChg>
        <pc:spChg chg="add mod ord">
          <ac:chgData name="Nikolaj Godsk Vestergaard" userId="13f6e931-e8bb-4f58-9241-2f10614c3355" providerId="ADAL" clId="{26E3B360-BE45-4C46-AA2F-A6EE35AB50A4}" dt="2023-03-23T18:40:57.900" v="2071" actId="164"/>
          <ac:spMkLst>
            <pc:docMk/>
            <pc:sldMk cId="3461901739" sldId="340"/>
            <ac:spMk id="45" creationId="{668A7CE8-D9A9-3E7F-D12D-3288BB87D42F}"/>
          </ac:spMkLst>
        </pc:spChg>
        <pc:spChg chg="add del mod ord">
          <ac:chgData name="Nikolaj Godsk Vestergaard" userId="13f6e931-e8bb-4f58-9241-2f10614c3355" providerId="ADAL" clId="{26E3B360-BE45-4C46-AA2F-A6EE35AB50A4}" dt="2023-04-13T12:46:16.018" v="2549" actId="478"/>
          <ac:spMkLst>
            <pc:docMk/>
            <pc:sldMk cId="3461901739" sldId="340"/>
            <ac:spMk id="46" creationId="{884435C3-7D0E-E6EF-9224-92C465B52494}"/>
          </ac:spMkLst>
        </pc:spChg>
        <pc:spChg chg="add mod">
          <ac:chgData name="Nikolaj Godsk Vestergaard" userId="13f6e931-e8bb-4f58-9241-2f10614c3355" providerId="ADAL" clId="{26E3B360-BE45-4C46-AA2F-A6EE35AB50A4}" dt="2023-04-13T12:59:03.739" v="2669" actId="20577"/>
          <ac:spMkLst>
            <pc:docMk/>
            <pc:sldMk cId="3461901739" sldId="340"/>
            <ac:spMk id="50" creationId="{39F0A921-56B5-73E9-77BF-99DCAAACF355}"/>
          </ac:spMkLst>
        </pc:spChg>
        <pc:spChg chg="add mod">
          <ac:chgData name="Nikolaj Godsk Vestergaard" userId="13f6e931-e8bb-4f58-9241-2f10614c3355" providerId="ADAL" clId="{26E3B360-BE45-4C46-AA2F-A6EE35AB50A4}" dt="2023-03-23T18:41:24.700" v="2079" actId="1036"/>
          <ac:spMkLst>
            <pc:docMk/>
            <pc:sldMk cId="3461901739" sldId="340"/>
            <ac:spMk id="55" creationId="{7E55721A-F1B2-B31F-09D1-20DA933E99E1}"/>
          </ac:spMkLst>
        </pc:spChg>
        <pc:spChg chg="add mod">
          <ac:chgData name="Nikolaj Godsk Vestergaard" userId="13f6e931-e8bb-4f58-9241-2f10614c3355" providerId="ADAL" clId="{26E3B360-BE45-4C46-AA2F-A6EE35AB50A4}" dt="2023-04-13T14:10:15.876" v="4563" actId="1076"/>
          <ac:spMkLst>
            <pc:docMk/>
            <pc:sldMk cId="3461901739" sldId="340"/>
            <ac:spMk id="62" creationId="{8AF84851-0492-FEF4-2F89-F75C3C6E28F4}"/>
          </ac:spMkLst>
        </pc:spChg>
        <pc:spChg chg="add mod">
          <ac:chgData name="Nikolaj Godsk Vestergaard" userId="13f6e931-e8bb-4f58-9241-2f10614c3355" providerId="ADAL" clId="{26E3B360-BE45-4C46-AA2F-A6EE35AB50A4}" dt="2023-04-13T14:10:02.416" v="4562" actId="1076"/>
          <ac:spMkLst>
            <pc:docMk/>
            <pc:sldMk cId="3461901739" sldId="340"/>
            <ac:spMk id="65" creationId="{20320C5D-3947-DB90-3B37-284B51331045}"/>
          </ac:spMkLst>
        </pc:spChg>
        <pc:spChg chg="add mod ord">
          <ac:chgData name="Nikolaj Godsk Vestergaard" userId="13f6e931-e8bb-4f58-9241-2f10614c3355" providerId="ADAL" clId="{26E3B360-BE45-4C46-AA2F-A6EE35AB50A4}" dt="2023-04-13T13:47:17.015" v="2959" actId="1076"/>
          <ac:spMkLst>
            <pc:docMk/>
            <pc:sldMk cId="3461901739" sldId="340"/>
            <ac:spMk id="71" creationId="{D357E015-8B86-3B9A-DCFA-D78869B8562E}"/>
          </ac:spMkLst>
        </pc:spChg>
        <pc:spChg chg="mod">
          <ac:chgData name="Nikolaj Godsk Vestergaard" userId="13f6e931-e8bb-4f58-9241-2f10614c3355" providerId="ADAL" clId="{26E3B360-BE45-4C46-AA2F-A6EE35AB50A4}" dt="2023-03-23T18:54:09.965" v="2195" actId="207"/>
          <ac:spMkLst>
            <pc:docMk/>
            <pc:sldMk cId="3461901739" sldId="340"/>
            <ac:spMk id="77" creationId="{F6A890D3-5E97-5801-B431-45592739DBA7}"/>
          </ac:spMkLst>
        </pc:spChg>
        <pc:spChg chg="mod">
          <ac:chgData name="Nikolaj Godsk Vestergaard" userId="13f6e931-e8bb-4f58-9241-2f10614c3355" providerId="ADAL" clId="{26E3B360-BE45-4C46-AA2F-A6EE35AB50A4}" dt="2023-03-23T18:55:33.077" v="2200" actId="207"/>
          <ac:spMkLst>
            <pc:docMk/>
            <pc:sldMk cId="3461901739" sldId="340"/>
            <ac:spMk id="80" creationId="{497D2A85-40F0-B945-1CFB-7D490C785FAC}"/>
          </ac:spMkLst>
        </pc:spChg>
        <pc:spChg chg="add mod ord">
          <ac:chgData name="Nikolaj Godsk Vestergaard" userId="13f6e931-e8bb-4f58-9241-2f10614c3355" providerId="ADAL" clId="{26E3B360-BE45-4C46-AA2F-A6EE35AB50A4}" dt="2023-04-13T14:13:18.244" v="4610" actId="14100"/>
          <ac:spMkLst>
            <pc:docMk/>
            <pc:sldMk cId="3461901739" sldId="340"/>
            <ac:spMk id="88" creationId="{73604358-AC95-4D74-F80A-ACC403B5B811}"/>
          </ac:spMkLst>
        </pc:spChg>
        <pc:spChg chg="add mod ord">
          <ac:chgData name="Nikolaj Godsk Vestergaard" userId="13f6e931-e8bb-4f58-9241-2f10614c3355" providerId="ADAL" clId="{26E3B360-BE45-4C46-AA2F-A6EE35AB50A4}" dt="2023-04-13T14:13:20.622" v="4611" actId="1076"/>
          <ac:spMkLst>
            <pc:docMk/>
            <pc:sldMk cId="3461901739" sldId="340"/>
            <ac:spMk id="89" creationId="{E030F844-B331-32EA-C3CD-D1293BE92218}"/>
          </ac:spMkLst>
        </pc:spChg>
        <pc:spChg chg="add mod ord">
          <ac:chgData name="Nikolaj Godsk Vestergaard" userId="13f6e931-e8bb-4f58-9241-2f10614c3355" providerId="ADAL" clId="{26E3B360-BE45-4C46-AA2F-A6EE35AB50A4}" dt="2023-04-13T14:10:15.876" v="4563" actId="1076"/>
          <ac:spMkLst>
            <pc:docMk/>
            <pc:sldMk cId="3461901739" sldId="340"/>
            <ac:spMk id="90" creationId="{166F97EE-A1F2-78F5-68CF-EE51E40D4931}"/>
          </ac:spMkLst>
        </pc:spChg>
        <pc:spChg chg="add mod ord">
          <ac:chgData name="Nikolaj Godsk Vestergaard" userId="13f6e931-e8bb-4f58-9241-2f10614c3355" providerId="ADAL" clId="{26E3B360-BE45-4C46-AA2F-A6EE35AB50A4}" dt="2023-04-13T14:10:02.416" v="4562" actId="1076"/>
          <ac:spMkLst>
            <pc:docMk/>
            <pc:sldMk cId="3461901739" sldId="340"/>
            <ac:spMk id="91" creationId="{F91F565E-38F1-BA0D-8745-3F401D2249CE}"/>
          </ac:spMkLst>
        </pc:spChg>
        <pc:spChg chg="mod">
          <ac:chgData name="Nikolaj Godsk Vestergaard" userId="13f6e931-e8bb-4f58-9241-2f10614c3355" providerId="ADAL" clId="{26E3B360-BE45-4C46-AA2F-A6EE35AB50A4}" dt="2023-03-23T19:06:26.855" v="2274"/>
          <ac:spMkLst>
            <pc:docMk/>
            <pc:sldMk cId="3461901739" sldId="340"/>
            <ac:spMk id="95" creationId="{763443C4-DD69-8605-A655-C6F0B72A942B}"/>
          </ac:spMkLst>
        </pc:spChg>
        <pc:spChg chg="mod">
          <ac:chgData name="Nikolaj Godsk Vestergaard" userId="13f6e931-e8bb-4f58-9241-2f10614c3355" providerId="ADAL" clId="{26E3B360-BE45-4C46-AA2F-A6EE35AB50A4}" dt="2023-03-23T19:06:26.855" v="2274"/>
          <ac:spMkLst>
            <pc:docMk/>
            <pc:sldMk cId="3461901739" sldId="340"/>
            <ac:spMk id="97" creationId="{DC310314-2299-AA61-AB81-81EAEAC55A28}"/>
          </ac:spMkLst>
        </pc:spChg>
        <pc:spChg chg="mod">
          <ac:chgData name="Nikolaj Godsk Vestergaard" userId="13f6e931-e8bb-4f58-9241-2f10614c3355" providerId="ADAL" clId="{26E3B360-BE45-4C46-AA2F-A6EE35AB50A4}" dt="2023-03-23T19:06:26.855" v="2274"/>
          <ac:spMkLst>
            <pc:docMk/>
            <pc:sldMk cId="3461901739" sldId="340"/>
            <ac:spMk id="98" creationId="{77C39833-E174-2AC9-1A6B-126D78AF8234}"/>
          </ac:spMkLst>
        </pc:spChg>
        <pc:spChg chg="mod">
          <ac:chgData name="Nikolaj Godsk Vestergaard" userId="13f6e931-e8bb-4f58-9241-2f10614c3355" providerId="ADAL" clId="{26E3B360-BE45-4C46-AA2F-A6EE35AB50A4}" dt="2023-03-23T19:06:26.855" v="2274"/>
          <ac:spMkLst>
            <pc:docMk/>
            <pc:sldMk cId="3461901739" sldId="340"/>
            <ac:spMk id="99" creationId="{E17D2342-C855-64FB-CB01-45C6095AED10}"/>
          </ac:spMkLst>
        </pc:spChg>
        <pc:spChg chg="mod">
          <ac:chgData name="Nikolaj Godsk Vestergaard" userId="13f6e931-e8bb-4f58-9241-2f10614c3355" providerId="ADAL" clId="{26E3B360-BE45-4C46-AA2F-A6EE35AB50A4}" dt="2023-03-23T19:06:26.855" v="2274"/>
          <ac:spMkLst>
            <pc:docMk/>
            <pc:sldMk cId="3461901739" sldId="340"/>
            <ac:spMk id="100" creationId="{806DCBB9-1C55-A856-2D4D-EB0DEDAE2A24}"/>
          </ac:spMkLst>
        </pc:spChg>
        <pc:spChg chg="mod">
          <ac:chgData name="Nikolaj Godsk Vestergaard" userId="13f6e931-e8bb-4f58-9241-2f10614c3355" providerId="ADAL" clId="{26E3B360-BE45-4C46-AA2F-A6EE35AB50A4}" dt="2023-03-23T19:06:26.855" v="2274"/>
          <ac:spMkLst>
            <pc:docMk/>
            <pc:sldMk cId="3461901739" sldId="340"/>
            <ac:spMk id="102" creationId="{BCC97333-E74A-B889-1A10-3FC63FE0CE11}"/>
          </ac:spMkLst>
        </pc:spChg>
        <pc:grpChg chg="add mod ord">
          <ac:chgData name="Nikolaj Godsk Vestergaard" userId="13f6e931-e8bb-4f58-9241-2f10614c3355" providerId="ADAL" clId="{26E3B360-BE45-4C46-AA2F-A6EE35AB50A4}" dt="2023-04-13T12:45:35.774" v="2499"/>
          <ac:grpSpMkLst>
            <pc:docMk/>
            <pc:sldMk cId="3461901739" sldId="340"/>
            <ac:grpSpMk id="23" creationId="{29FFB20A-1EE4-6C28-D6E2-37E16000A28F}"/>
          </ac:grpSpMkLst>
        </pc:grpChg>
        <pc:grpChg chg="add mod ord">
          <ac:chgData name="Nikolaj Godsk Vestergaard" userId="13f6e931-e8bb-4f58-9241-2f10614c3355" providerId="ADAL" clId="{26E3B360-BE45-4C46-AA2F-A6EE35AB50A4}" dt="2023-04-13T12:45:35.776" v="2505"/>
          <ac:grpSpMkLst>
            <pc:docMk/>
            <pc:sldMk cId="3461901739" sldId="340"/>
            <ac:grpSpMk id="32" creationId="{CD6F1DF0-14E6-BB0F-5C77-6B1AE33E92A0}"/>
          </ac:grpSpMkLst>
        </pc:grpChg>
        <pc:grpChg chg="mod">
          <ac:chgData name="Nikolaj Godsk Vestergaard" userId="13f6e931-e8bb-4f58-9241-2f10614c3355" providerId="ADAL" clId="{26E3B360-BE45-4C46-AA2F-A6EE35AB50A4}" dt="2023-03-23T18:23:52.991" v="1684"/>
          <ac:grpSpMkLst>
            <pc:docMk/>
            <pc:sldMk cId="3461901739" sldId="340"/>
            <ac:grpSpMk id="39" creationId="{22719312-A8CE-88F6-1C03-E47E5235ED2C}"/>
          </ac:grpSpMkLst>
        </pc:grpChg>
        <pc:grpChg chg="add mod">
          <ac:chgData name="Nikolaj Godsk Vestergaard" userId="13f6e931-e8bb-4f58-9241-2f10614c3355" providerId="ADAL" clId="{26E3B360-BE45-4C46-AA2F-A6EE35AB50A4}" dt="2023-03-23T18:39:11.619" v="1928" actId="164"/>
          <ac:grpSpMkLst>
            <pc:docMk/>
            <pc:sldMk cId="3461901739" sldId="340"/>
            <ac:grpSpMk id="56" creationId="{BF1BF75E-A81C-8D59-BC3E-7A6B0CE2F337}"/>
          </ac:grpSpMkLst>
        </pc:grpChg>
        <pc:grpChg chg="add mod ord">
          <ac:chgData name="Nikolaj Godsk Vestergaard" userId="13f6e931-e8bb-4f58-9241-2f10614c3355" providerId="ADAL" clId="{26E3B360-BE45-4C46-AA2F-A6EE35AB50A4}" dt="2023-03-23T18:40:57.900" v="2071" actId="164"/>
          <ac:grpSpMkLst>
            <pc:docMk/>
            <pc:sldMk cId="3461901739" sldId="340"/>
            <ac:grpSpMk id="57" creationId="{FBCB58AE-7804-36ED-C3B6-DB7C781A16DA}"/>
          </ac:grpSpMkLst>
        </pc:grpChg>
        <pc:grpChg chg="add mod ord">
          <ac:chgData name="Nikolaj Godsk Vestergaard" userId="13f6e931-e8bb-4f58-9241-2f10614c3355" providerId="ADAL" clId="{26E3B360-BE45-4C46-AA2F-A6EE35AB50A4}" dt="2023-04-13T13:54:45.548" v="3191" actId="1076"/>
          <ac:grpSpMkLst>
            <pc:docMk/>
            <pc:sldMk cId="3461901739" sldId="340"/>
            <ac:grpSpMk id="59" creationId="{A3984DF9-F5F3-6D6C-ADA2-FF0BD15D7821}"/>
          </ac:grpSpMkLst>
        </pc:grpChg>
        <pc:grpChg chg="add del mod">
          <ac:chgData name="Nikolaj Godsk Vestergaard" userId="13f6e931-e8bb-4f58-9241-2f10614c3355" providerId="ADAL" clId="{26E3B360-BE45-4C46-AA2F-A6EE35AB50A4}" dt="2023-03-23T18:54:12.820" v="2196" actId="478"/>
          <ac:grpSpMkLst>
            <pc:docMk/>
            <pc:sldMk cId="3461901739" sldId="340"/>
            <ac:grpSpMk id="76" creationId="{95C7A462-EEAF-0D37-DD5A-E9A57C040FDC}"/>
          </ac:grpSpMkLst>
        </pc:grpChg>
        <pc:grpChg chg="add del mod">
          <ac:chgData name="Nikolaj Godsk Vestergaard" userId="13f6e931-e8bb-4f58-9241-2f10614c3355" providerId="ADAL" clId="{26E3B360-BE45-4C46-AA2F-A6EE35AB50A4}" dt="2023-03-23T18:58:48.386" v="2216" actId="478"/>
          <ac:grpSpMkLst>
            <pc:docMk/>
            <pc:sldMk cId="3461901739" sldId="340"/>
            <ac:grpSpMk id="79" creationId="{85BD4E2F-462C-F23F-5A2C-EC458A9AEC4D}"/>
          </ac:grpSpMkLst>
        </pc:grpChg>
        <pc:grpChg chg="add mod ord">
          <ac:chgData name="Nikolaj Godsk Vestergaard" userId="13f6e931-e8bb-4f58-9241-2f10614c3355" providerId="ADAL" clId="{26E3B360-BE45-4C46-AA2F-A6EE35AB50A4}" dt="2023-04-13T14:11:30.406" v="4585" actId="1076"/>
          <ac:grpSpMkLst>
            <pc:docMk/>
            <pc:sldMk cId="3461901739" sldId="340"/>
            <ac:grpSpMk id="87" creationId="{BBD09B3D-4BCF-B9CB-285E-AE0074CC414D}"/>
          </ac:grpSpMkLst>
        </pc:grpChg>
        <pc:grpChg chg="add del mod">
          <ac:chgData name="Nikolaj Godsk Vestergaard" userId="13f6e931-e8bb-4f58-9241-2f10614c3355" providerId="ADAL" clId="{26E3B360-BE45-4C46-AA2F-A6EE35AB50A4}" dt="2023-03-23T19:06:42.939" v="2276" actId="478"/>
          <ac:grpSpMkLst>
            <pc:docMk/>
            <pc:sldMk cId="3461901739" sldId="340"/>
            <ac:grpSpMk id="94" creationId="{D3E05CC3-5270-E246-5A55-04994BC6F7AA}"/>
          </ac:grpSpMkLst>
        </pc:grpChg>
        <pc:grpChg chg="mod">
          <ac:chgData name="Nikolaj Godsk Vestergaard" userId="13f6e931-e8bb-4f58-9241-2f10614c3355" providerId="ADAL" clId="{26E3B360-BE45-4C46-AA2F-A6EE35AB50A4}" dt="2023-03-23T19:06:26.855" v="2274"/>
          <ac:grpSpMkLst>
            <pc:docMk/>
            <pc:sldMk cId="3461901739" sldId="340"/>
            <ac:grpSpMk id="101" creationId="{DFC16F09-1538-9FAB-8BB3-D9AB39D4095F}"/>
          </ac:grpSpMkLst>
        </pc:grpChg>
        <pc:grpChg chg="add mod ord">
          <ac:chgData name="Nikolaj Godsk Vestergaard" userId="13f6e931-e8bb-4f58-9241-2f10614c3355" providerId="ADAL" clId="{26E3B360-BE45-4C46-AA2F-A6EE35AB50A4}" dt="2023-04-13T14:13:13.635" v="4609" actId="1076"/>
          <ac:grpSpMkLst>
            <pc:docMk/>
            <pc:sldMk cId="3461901739" sldId="340"/>
            <ac:grpSpMk id="112" creationId="{F4FA5FD1-2B65-21B9-823C-532543E97AAD}"/>
          </ac:grpSpMkLst>
        </pc:grpChg>
        <pc:graphicFrameChg chg="add mod ord modVis replST">
          <ac:chgData name="Nikolaj Godsk Vestergaard" userId="13f6e931-e8bb-4f58-9241-2f10614c3355" providerId="ADAL" clId="{26E3B360-BE45-4C46-AA2F-A6EE35AB50A4}" dt="2023-04-13T12:45:35.797" v="2541"/>
          <ac:graphicFrameMkLst>
            <pc:docMk/>
            <pc:sldMk cId="3461901739" sldId="340"/>
            <ac:graphicFrameMk id="10" creationId="{F70731D2-D7FF-BDE7-F7E6-3F04E7E29030}"/>
          </ac:graphicFrameMkLst>
        </pc:graphicFrameChg>
        <pc:picChg chg="add mod ord">
          <ac:chgData name="Nikolaj Godsk Vestergaard" userId="13f6e931-e8bb-4f58-9241-2f10614c3355" providerId="ADAL" clId="{26E3B360-BE45-4C46-AA2F-A6EE35AB50A4}" dt="2023-04-13T12:50:53.969" v="2606" actId="1076"/>
          <ac:picMkLst>
            <pc:docMk/>
            <pc:sldMk cId="3461901739" sldId="340"/>
            <ac:picMk id="4" creationId="{CB240056-80D9-B94E-EAF0-1EBD06C2557C}"/>
          </ac:picMkLst>
        </pc:picChg>
        <pc:picChg chg="add mod ord">
          <ac:chgData name="Nikolaj Godsk Vestergaard" userId="13f6e931-e8bb-4f58-9241-2f10614c3355" providerId="ADAL" clId="{26E3B360-BE45-4C46-AA2F-A6EE35AB50A4}" dt="2023-04-13T14:13:32.267" v="4613" actId="1076"/>
          <ac:picMkLst>
            <pc:docMk/>
            <pc:sldMk cId="3461901739" sldId="340"/>
            <ac:picMk id="5" creationId="{D5E15494-EE02-511C-24F1-6A26F14E7979}"/>
          </ac:picMkLst>
        </pc:picChg>
        <pc:picChg chg="add del mod">
          <ac:chgData name="Nikolaj Godsk Vestergaard" userId="13f6e931-e8bb-4f58-9241-2f10614c3355" providerId="ADAL" clId="{26E3B360-BE45-4C46-AA2F-A6EE35AB50A4}" dt="2023-04-13T12:42:14.223" v="2443" actId="478"/>
          <ac:picMkLst>
            <pc:docMk/>
            <pc:sldMk cId="3461901739" sldId="340"/>
            <ac:picMk id="21" creationId="{2FFB2D90-7D83-65FC-CB2A-F1A1D2F68B0A}"/>
          </ac:picMkLst>
        </pc:picChg>
        <pc:picChg chg="add del mod">
          <ac:chgData name="Nikolaj Godsk Vestergaard" userId="13f6e931-e8bb-4f58-9241-2f10614c3355" providerId="ADAL" clId="{26E3B360-BE45-4C46-AA2F-A6EE35AB50A4}" dt="2023-03-23T18:35:56.326" v="1885" actId="478"/>
          <ac:picMkLst>
            <pc:docMk/>
            <pc:sldMk cId="3461901739" sldId="340"/>
            <ac:picMk id="21" creationId="{81472AB9-A7B3-5063-D63F-BA9C10DE0CED}"/>
          </ac:picMkLst>
        </pc:picChg>
        <pc:picChg chg="add del mod">
          <ac:chgData name="Nikolaj Godsk Vestergaard" userId="13f6e931-e8bb-4f58-9241-2f10614c3355" providerId="ADAL" clId="{26E3B360-BE45-4C46-AA2F-A6EE35AB50A4}" dt="2023-03-23T18:29:13.197" v="1766" actId="478"/>
          <ac:picMkLst>
            <pc:docMk/>
            <pc:sldMk cId="3461901739" sldId="340"/>
            <ac:picMk id="22" creationId="{0A166C02-96B0-CFBC-81A0-8631050F2EEA}"/>
          </ac:picMkLst>
        </pc:picChg>
        <pc:picChg chg="mod">
          <ac:chgData name="Nikolaj Godsk Vestergaard" userId="13f6e931-e8bb-4f58-9241-2f10614c3355" providerId="ADAL" clId="{26E3B360-BE45-4C46-AA2F-A6EE35AB50A4}" dt="2023-03-23T18:33:37.787" v="1866" actId="207"/>
          <ac:picMkLst>
            <pc:docMk/>
            <pc:sldMk cId="3461901739" sldId="340"/>
            <ac:picMk id="25" creationId="{43C525BD-8938-C932-4CF8-52FC5BA44382}"/>
          </ac:picMkLst>
        </pc:picChg>
        <pc:picChg chg="add del mod">
          <ac:chgData name="Nikolaj Godsk Vestergaard" userId="13f6e931-e8bb-4f58-9241-2f10614c3355" providerId="ADAL" clId="{26E3B360-BE45-4C46-AA2F-A6EE35AB50A4}" dt="2023-04-13T12:42:22.478" v="2444" actId="478"/>
          <ac:picMkLst>
            <pc:docMk/>
            <pc:sldMk cId="3461901739" sldId="340"/>
            <ac:picMk id="30" creationId="{D9B559B9-1734-8DE0-1C02-E4B05149106E}"/>
          </ac:picMkLst>
        </pc:picChg>
        <pc:picChg chg="mod">
          <ac:chgData name="Nikolaj Godsk Vestergaard" userId="13f6e931-e8bb-4f58-9241-2f10614c3355" providerId="ADAL" clId="{26E3B360-BE45-4C46-AA2F-A6EE35AB50A4}" dt="2023-03-23T18:33:51.226" v="1868" actId="207"/>
          <ac:picMkLst>
            <pc:docMk/>
            <pc:sldMk cId="3461901739" sldId="340"/>
            <ac:picMk id="34" creationId="{3A18D580-9DF8-5A83-7DFE-EA7D1D46D09E}"/>
          </ac:picMkLst>
        </pc:picChg>
        <pc:picChg chg="add del mod">
          <ac:chgData name="Nikolaj Godsk Vestergaard" userId="13f6e931-e8bb-4f58-9241-2f10614c3355" providerId="ADAL" clId="{26E3B360-BE45-4C46-AA2F-A6EE35AB50A4}" dt="2023-03-23T18:40:42.170" v="2068" actId="21"/>
          <ac:picMkLst>
            <pc:docMk/>
            <pc:sldMk cId="3461901739" sldId="340"/>
            <ac:picMk id="47" creationId="{C7E919AC-2A02-EEED-C5A0-FB40D9D8785E}"/>
          </ac:picMkLst>
        </pc:picChg>
        <pc:picChg chg="add mod">
          <ac:chgData name="Nikolaj Godsk Vestergaard" userId="13f6e931-e8bb-4f58-9241-2f10614c3355" providerId="ADAL" clId="{26E3B360-BE45-4C46-AA2F-A6EE35AB50A4}" dt="2023-04-13T12:52:00.832" v="2632" actId="1035"/>
          <ac:picMkLst>
            <pc:docMk/>
            <pc:sldMk cId="3461901739" sldId="340"/>
            <ac:picMk id="49" creationId="{4FB02605-6684-98BE-1273-976384127696}"/>
          </ac:picMkLst>
        </pc:picChg>
        <pc:picChg chg="add del mod">
          <ac:chgData name="Nikolaj Godsk Vestergaard" userId="13f6e931-e8bb-4f58-9241-2f10614c3355" providerId="ADAL" clId="{26E3B360-BE45-4C46-AA2F-A6EE35AB50A4}" dt="2023-03-23T18:38:01.699" v="1908" actId="478"/>
          <ac:picMkLst>
            <pc:docMk/>
            <pc:sldMk cId="3461901739" sldId="340"/>
            <ac:picMk id="49" creationId="{DBDABCA2-4444-3D42-CD2D-D26E067915F7}"/>
          </ac:picMkLst>
        </pc:picChg>
        <pc:picChg chg="add mod">
          <ac:chgData name="Nikolaj Godsk Vestergaard" userId="13f6e931-e8bb-4f58-9241-2f10614c3355" providerId="ADAL" clId="{26E3B360-BE45-4C46-AA2F-A6EE35AB50A4}" dt="2023-03-23T18:40:57.900" v="2071" actId="164"/>
          <ac:picMkLst>
            <pc:docMk/>
            <pc:sldMk cId="3461901739" sldId="340"/>
            <ac:picMk id="58" creationId="{ED4C4FD5-AADC-5E98-456E-B42452CE06E6}"/>
          </ac:picMkLst>
        </pc:picChg>
        <pc:picChg chg="add mod">
          <ac:chgData name="Nikolaj Godsk Vestergaard" userId="13f6e931-e8bb-4f58-9241-2f10614c3355" providerId="ADAL" clId="{26E3B360-BE45-4C46-AA2F-A6EE35AB50A4}" dt="2023-04-13T14:10:15.876" v="4563" actId="1076"/>
          <ac:picMkLst>
            <pc:docMk/>
            <pc:sldMk cId="3461901739" sldId="340"/>
            <ac:picMk id="61" creationId="{8826F3EF-23AC-7B1B-44C8-52C7A6434063}"/>
          </ac:picMkLst>
        </pc:picChg>
        <pc:picChg chg="add mod">
          <ac:chgData name="Nikolaj Godsk Vestergaard" userId="13f6e931-e8bb-4f58-9241-2f10614c3355" providerId="ADAL" clId="{26E3B360-BE45-4C46-AA2F-A6EE35AB50A4}" dt="2023-04-13T14:10:02.416" v="4562" actId="1076"/>
          <ac:picMkLst>
            <pc:docMk/>
            <pc:sldMk cId="3461901739" sldId="340"/>
            <ac:picMk id="64" creationId="{80C5C505-52BA-1460-15F3-21FF47D37298}"/>
          </ac:picMkLst>
        </pc:picChg>
        <pc:picChg chg="add del mod ord">
          <ac:chgData name="Nikolaj Godsk Vestergaard" userId="13f6e931-e8bb-4f58-9241-2f10614c3355" providerId="ADAL" clId="{26E3B360-BE45-4C46-AA2F-A6EE35AB50A4}" dt="2023-03-23T18:53:03.705" v="2191" actId="478"/>
          <ac:picMkLst>
            <pc:docMk/>
            <pc:sldMk cId="3461901739" sldId="340"/>
            <ac:picMk id="73" creationId="{9F1CCE30-6E50-F62B-7428-14182DC48DE3}"/>
          </ac:picMkLst>
        </pc:picChg>
        <pc:picChg chg="add del mod ord">
          <ac:chgData name="Nikolaj Godsk Vestergaard" userId="13f6e931-e8bb-4f58-9241-2f10614c3355" providerId="ADAL" clId="{26E3B360-BE45-4C46-AA2F-A6EE35AB50A4}" dt="2023-03-23T18:53:02.921" v="2190" actId="478"/>
          <ac:picMkLst>
            <pc:docMk/>
            <pc:sldMk cId="3461901739" sldId="340"/>
            <ac:picMk id="75" creationId="{5DF76908-1F94-4DD2-E1C9-5CA71BC40961}"/>
          </ac:picMkLst>
        </pc:picChg>
        <pc:picChg chg="mod">
          <ac:chgData name="Nikolaj Godsk Vestergaard" userId="13f6e931-e8bb-4f58-9241-2f10614c3355" providerId="ADAL" clId="{26E3B360-BE45-4C46-AA2F-A6EE35AB50A4}" dt="2023-03-23T18:54:09.965" v="2195" actId="207"/>
          <ac:picMkLst>
            <pc:docMk/>
            <pc:sldMk cId="3461901739" sldId="340"/>
            <ac:picMk id="78" creationId="{19186E8A-3F82-9834-9FB0-A35F4CC21369}"/>
          </ac:picMkLst>
        </pc:picChg>
        <pc:picChg chg="mod">
          <ac:chgData name="Nikolaj Godsk Vestergaard" userId="13f6e931-e8bb-4f58-9241-2f10614c3355" providerId="ADAL" clId="{26E3B360-BE45-4C46-AA2F-A6EE35AB50A4}" dt="2023-03-23T18:55:33.077" v="2200" actId="207"/>
          <ac:picMkLst>
            <pc:docMk/>
            <pc:sldMk cId="3461901739" sldId="340"/>
            <ac:picMk id="81" creationId="{23EAA511-B33B-65E7-316E-C401E51667E6}"/>
          </ac:picMkLst>
        </pc:picChg>
        <pc:picChg chg="add mod">
          <ac:chgData name="Nikolaj Godsk Vestergaard" userId="13f6e931-e8bb-4f58-9241-2f10614c3355" providerId="ADAL" clId="{26E3B360-BE45-4C46-AA2F-A6EE35AB50A4}" dt="2023-03-23T18:59:32.335" v="2227" actId="2085"/>
          <ac:picMkLst>
            <pc:docMk/>
            <pc:sldMk cId="3461901739" sldId="340"/>
            <ac:picMk id="83" creationId="{A18F1618-2C65-F227-8E9A-5350F64C1BA8}"/>
          </ac:picMkLst>
        </pc:picChg>
        <pc:picChg chg="add mod">
          <ac:chgData name="Nikolaj Godsk Vestergaard" userId="13f6e931-e8bb-4f58-9241-2f10614c3355" providerId="ADAL" clId="{26E3B360-BE45-4C46-AA2F-A6EE35AB50A4}" dt="2023-03-23T18:59:32.335" v="2227" actId="2085"/>
          <ac:picMkLst>
            <pc:docMk/>
            <pc:sldMk cId="3461901739" sldId="340"/>
            <ac:picMk id="85" creationId="{79E81A5F-71B6-5F78-CC33-CB8C7390B5F6}"/>
          </ac:picMkLst>
        </pc:picChg>
        <pc:picChg chg="add mod">
          <ac:chgData name="Nikolaj Godsk Vestergaard" userId="13f6e931-e8bb-4f58-9241-2f10614c3355" providerId="ADAL" clId="{26E3B360-BE45-4C46-AA2F-A6EE35AB50A4}" dt="2023-03-23T18:59:32.335" v="2227" actId="2085"/>
          <ac:picMkLst>
            <pc:docMk/>
            <pc:sldMk cId="3461901739" sldId="340"/>
            <ac:picMk id="86" creationId="{7763F430-BFE4-B48B-2624-A309AD49C3FB}"/>
          </ac:picMkLst>
        </pc:picChg>
        <pc:picChg chg="add mod">
          <ac:chgData name="Nikolaj Godsk Vestergaard" userId="13f6e931-e8bb-4f58-9241-2f10614c3355" providerId="ADAL" clId="{26E3B360-BE45-4C46-AA2F-A6EE35AB50A4}" dt="2023-03-23T19:08:28.765" v="2300" actId="14100"/>
          <ac:picMkLst>
            <pc:docMk/>
            <pc:sldMk cId="3461901739" sldId="340"/>
            <ac:picMk id="93" creationId="{F5C7BE85-A817-F879-9755-33A8ACE0F5ED}"/>
          </ac:picMkLst>
        </pc:picChg>
        <pc:picChg chg="mod">
          <ac:chgData name="Nikolaj Godsk Vestergaard" userId="13f6e931-e8bb-4f58-9241-2f10614c3355" providerId="ADAL" clId="{26E3B360-BE45-4C46-AA2F-A6EE35AB50A4}" dt="2023-03-23T19:06:26.855" v="2274"/>
          <ac:picMkLst>
            <pc:docMk/>
            <pc:sldMk cId="3461901739" sldId="340"/>
            <ac:picMk id="96" creationId="{47C40BA1-2BF3-02AB-CF05-509C093C8BE5}"/>
          </ac:picMkLst>
        </pc:picChg>
        <pc:picChg chg="add del mod">
          <ac:chgData name="Nikolaj Godsk Vestergaard" userId="13f6e931-e8bb-4f58-9241-2f10614c3355" providerId="ADAL" clId="{26E3B360-BE45-4C46-AA2F-A6EE35AB50A4}" dt="2023-03-23T19:07:31.131" v="2286" actId="478"/>
          <ac:picMkLst>
            <pc:docMk/>
            <pc:sldMk cId="3461901739" sldId="340"/>
            <ac:picMk id="107" creationId="{67729095-F4C0-F2E7-4228-57A6D53D38C9}"/>
          </ac:picMkLst>
        </pc:picChg>
        <pc:picChg chg="add mod">
          <ac:chgData name="Nikolaj Godsk Vestergaard" userId="13f6e931-e8bb-4f58-9241-2f10614c3355" providerId="ADAL" clId="{26E3B360-BE45-4C46-AA2F-A6EE35AB50A4}" dt="2023-03-23T19:08:31.334" v="2301" actId="1076"/>
          <ac:picMkLst>
            <pc:docMk/>
            <pc:sldMk cId="3461901739" sldId="340"/>
            <ac:picMk id="109" creationId="{260628DD-603F-64FD-67C7-0AF6EDB449DF}"/>
          </ac:picMkLst>
        </pc:picChg>
        <pc:picChg chg="add del mod">
          <ac:chgData name="Nikolaj Godsk Vestergaard" userId="13f6e931-e8bb-4f58-9241-2f10614c3355" providerId="ADAL" clId="{26E3B360-BE45-4C46-AA2F-A6EE35AB50A4}" dt="2023-03-23T19:09:06.922" v="2313" actId="478"/>
          <ac:picMkLst>
            <pc:docMk/>
            <pc:sldMk cId="3461901739" sldId="340"/>
            <ac:picMk id="111" creationId="{7AA4619D-5FB9-0E25-4982-7958E0A648D2}"/>
          </ac:picMkLst>
        </pc:picChg>
        <pc:cxnChg chg="add del mod">
          <ac:chgData name="Nikolaj Godsk Vestergaard" userId="13f6e931-e8bb-4f58-9241-2f10614c3355" providerId="ADAL" clId="{26E3B360-BE45-4C46-AA2F-A6EE35AB50A4}" dt="2023-03-23T16:48:05.333" v="108" actId="478"/>
          <ac:cxnSpMkLst>
            <pc:docMk/>
            <pc:sldMk cId="3461901739" sldId="340"/>
            <ac:cxnSpMk id="6" creationId="{07C98DE7-017F-CEC6-6C26-2232D1EFA302}"/>
          </ac:cxnSpMkLst>
        </pc:cxnChg>
        <pc:cxnChg chg="add mod">
          <ac:chgData name="Nikolaj Godsk Vestergaard" userId="13f6e931-e8bb-4f58-9241-2f10614c3355" providerId="ADAL" clId="{26E3B360-BE45-4C46-AA2F-A6EE35AB50A4}" dt="2023-03-23T16:48:03.477" v="106" actId="571"/>
          <ac:cxnSpMkLst>
            <pc:docMk/>
            <pc:sldMk cId="3461901739" sldId="340"/>
            <ac:cxnSpMk id="7" creationId="{812CF434-7963-55CB-8195-2172EECFAC41}"/>
          </ac:cxnSpMkLst>
        </pc:cxnChg>
        <pc:cxnChg chg="mod">
          <ac:chgData name="Nikolaj Godsk Vestergaard" userId="13f6e931-e8bb-4f58-9241-2f10614c3355" providerId="ADAL" clId="{26E3B360-BE45-4C46-AA2F-A6EE35AB50A4}" dt="2023-03-23T18:47:08.543" v="2126" actId="208"/>
          <ac:cxnSpMkLst>
            <pc:docMk/>
            <pc:sldMk cId="3461901739" sldId="340"/>
            <ac:cxnSpMk id="41" creationId="{3F512529-6B10-C427-A538-A3B152B22145}"/>
          </ac:cxnSpMkLst>
        </pc:cxnChg>
        <pc:cxnChg chg="mod">
          <ac:chgData name="Nikolaj Godsk Vestergaard" userId="13f6e931-e8bb-4f58-9241-2f10614c3355" providerId="ADAL" clId="{26E3B360-BE45-4C46-AA2F-A6EE35AB50A4}" dt="2023-03-23T18:47:08.543" v="2126" actId="208"/>
          <ac:cxnSpMkLst>
            <pc:docMk/>
            <pc:sldMk cId="3461901739" sldId="340"/>
            <ac:cxnSpMk id="42" creationId="{B37585A4-379E-E4CC-ED41-903D7AD36333}"/>
          </ac:cxnSpMkLst>
        </pc:cxnChg>
        <pc:cxnChg chg="mod">
          <ac:chgData name="Nikolaj Godsk Vestergaard" userId="13f6e931-e8bb-4f58-9241-2f10614c3355" providerId="ADAL" clId="{26E3B360-BE45-4C46-AA2F-A6EE35AB50A4}" dt="2023-03-23T18:47:10.721" v="2127" actId="208"/>
          <ac:cxnSpMkLst>
            <pc:docMk/>
            <pc:sldMk cId="3461901739" sldId="340"/>
            <ac:cxnSpMk id="43" creationId="{43A5771B-76F1-B19F-424A-2FD0C83F2516}"/>
          </ac:cxnSpMkLst>
        </pc:cxnChg>
        <pc:cxnChg chg="add mod">
          <ac:chgData name="Nikolaj Godsk Vestergaard" userId="13f6e931-e8bb-4f58-9241-2f10614c3355" providerId="ADAL" clId="{26E3B360-BE45-4C46-AA2F-A6EE35AB50A4}" dt="2023-04-13T12:50:41.346" v="2605" actId="208"/>
          <ac:cxnSpMkLst>
            <pc:docMk/>
            <pc:sldMk cId="3461901739" sldId="340"/>
            <ac:cxnSpMk id="48" creationId="{0DF6D715-CA18-7CB7-A76F-6181FC869201}"/>
          </ac:cxnSpMkLst>
        </pc:cxnChg>
        <pc:cxnChg chg="add mod">
          <ac:chgData name="Nikolaj Godsk Vestergaard" userId="13f6e931-e8bb-4f58-9241-2f10614c3355" providerId="ADAL" clId="{26E3B360-BE45-4C46-AA2F-A6EE35AB50A4}" dt="2023-03-23T18:39:00.298" v="1925" actId="164"/>
          <ac:cxnSpMkLst>
            <pc:docMk/>
            <pc:sldMk cId="3461901739" sldId="340"/>
            <ac:cxnSpMk id="51" creationId="{A397AE9E-97AE-F6FB-F961-1DD7A23A1979}"/>
          </ac:cxnSpMkLst>
        </pc:cxnChg>
        <pc:cxnChg chg="add mod">
          <ac:chgData name="Nikolaj Godsk Vestergaard" userId="13f6e931-e8bb-4f58-9241-2f10614c3355" providerId="ADAL" clId="{26E3B360-BE45-4C46-AA2F-A6EE35AB50A4}" dt="2023-03-23T18:39:00.298" v="1925" actId="164"/>
          <ac:cxnSpMkLst>
            <pc:docMk/>
            <pc:sldMk cId="3461901739" sldId="340"/>
            <ac:cxnSpMk id="52" creationId="{82C353C9-506D-F31F-0B79-4F7613FD53D8}"/>
          </ac:cxnSpMkLst>
        </pc:cxnChg>
        <pc:cxnChg chg="add mod">
          <ac:chgData name="Nikolaj Godsk Vestergaard" userId="13f6e931-e8bb-4f58-9241-2f10614c3355" providerId="ADAL" clId="{26E3B360-BE45-4C46-AA2F-A6EE35AB50A4}" dt="2023-04-13T12:51:26.920" v="2618" actId="1076"/>
          <ac:cxnSpMkLst>
            <pc:docMk/>
            <pc:sldMk cId="3461901739" sldId="340"/>
            <ac:cxnSpMk id="53" creationId="{507B2027-9956-4148-DE4F-6612A7246134}"/>
          </ac:cxnSpMkLst>
        </pc:cxnChg>
        <pc:cxnChg chg="add del mod">
          <ac:chgData name="Nikolaj Godsk Vestergaard" userId="13f6e931-e8bb-4f58-9241-2f10614c3355" providerId="ADAL" clId="{26E3B360-BE45-4C46-AA2F-A6EE35AB50A4}" dt="2023-03-23T18:45:03.111" v="2113" actId="478"/>
          <ac:cxnSpMkLst>
            <pc:docMk/>
            <pc:sldMk cId="3461901739" sldId="340"/>
            <ac:cxnSpMk id="61" creationId="{48BABBA8-F8E5-0F07-9468-81CCD9058AFE}"/>
          </ac:cxnSpMkLst>
        </pc:cxnChg>
        <pc:cxnChg chg="add mod">
          <ac:chgData name="Nikolaj Godsk Vestergaard" userId="13f6e931-e8bb-4f58-9241-2f10614c3355" providerId="ADAL" clId="{26E3B360-BE45-4C46-AA2F-A6EE35AB50A4}" dt="2023-04-13T14:10:15.876" v="4563" actId="1076"/>
          <ac:cxnSpMkLst>
            <pc:docMk/>
            <pc:sldMk cId="3461901739" sldId="340"/>
            <ac:cxnSpMk id="63" creationId="{956E13A4-090A-75E6-2E28-C61892640C63}"/>
          </ac:cxnSpMkLst>
        </pc:cxnChg>
        <pc:cxnChg chg="add mod">
          <ac:chgData name="Nikolaj Godsk Vestergaard" userId="13f6e931-e8bb-4f58-9241-2f10614c3355" providerId="ADAL" clId="{26E3B360-BE45-4C46-AA2F-A6EE35AB50A4}" dt="2023-04-13T14:10:02.416" v="4562" actId="1076"/>
          <ac:cxnSpMkLst>
            <pc:docMk/>
            <pc:sldMk cId="3461901739" sldId="340"/>
            <ac:cxnSpMk id="66" creationId="{CB5ACB5D-D56B-6DCF-DF92-4E000BEFDB2F}"/>
          </ac:cxnSpMkLst>
        </pc:cxnChg>
        <pc:cxnChg chg="mod">
          <ac:chgData name="Nikolaj Godsk Vestergaard" userId="13f6e931-e8bb-4f58-9241-2f10614c3355" providerId="ADAL" clId="{26E3B360-BE45-4C46-AA2F-A6EE35AB50A4}" dt="2023-03-23T19:06:42.939" v="2276" actId="478"/>
          <ac:cxnSpMkLst>
            <pc:docMk/>
            <pc:sldMk cId="3461901739" sldId="340"/>
            <ac:cxnSpMk id="103" creationId="{3754810C-2C22-6E54-515D-C14C836647F9}"/>
          </ac:cxnSpMkLst>
        </pc:cxnChg>
        <pc:cxnChg chg="mod">
          <ac:chgData name="Nikolaj Godsk Vestergaard" userId="13f6e931-e8bb-4f58-9241-2f10614c3355" providerId="ADAL" clId="{26E3B360-BE45-4C46-AA2F-A6EE35AB50A4}" dt="2023-03-23T19:06:26.855" v="2274"/>
          <ac:cxnSpMkLst>
            <pc:docMk/>
            <pc:sldMk cId="3461901739" sldId="340"/>
            <ac:cxnSpMk id="104" creationId="{06FF62D9-11A4-5663-06BA-FEAF2AE1F793}"/>
          </ac:cxnSpMkLst>
        </pc:cxnChg>
        <pc:cxnChg chg="mod">
          <ac:chgData name="Nikolaj Godsk Vestergaard" userId="13f6e931-e8bb-4f58-9241-2f10614c3355" providerId="ADAL" clId="{26E3B360-BE45-4C46-AA2F-A6EE35AB50A4}" dt="2023-03-23T19:06:26.855" v="2274"/>
          <ac:cxnSpMkLst>
            <pc:docMk/>
            <pc:sldMk cId="3461901739" sldId="340"/>
            <ac:cxnSpMk id="105" creationId="{9BE23BC7-37C2-A407-B730-EB3000EF4C2B}"/>
          </ac:cxnSpMkLst>
        </pc:cxnChg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4013160971" sldId="340"/>
        </pc:sldMkLst>
      </pc:sldChg>
      <pc:sldChg chg="addSp delSp modSp add del mod">
        <pc:chgData name="Nikolaj Godsk Vestergaard" userId="13f6e931-e8bb-4f58-9241-2f10614c3355" providerId="ADAL" clId="{26E3B360-BE45-4C46-AA2F-A6EE35AB50A4}" dt="2023-03-23T19:09:21.428" v="2314" actId="47"/>
        <pc:sldMkLst>
          <pc:docMk/>
          <pc:sldMk cId="2589155688" sldId="341"/>
        </pc:sldMkLst>
        <pc:spChg chg="mod">
          <ac:chgData name="Nikolaj Godsk Vestergaard" userId="13f6e931-e8bb-4f58-9241-2f10614c3355" providerId="ADAL" clId="{26E3B360-BE45-4C46-AA2F-A6EE35AB50A4}" dt="2023-03-23T17:21:19.918" v="307" actId="403"/>
          <ac:spMkLst>
            <pc:docMk/>
            <pc:sldMk cId="2589155688" sldId="341"/>
            <ac:spMk id="2" creationId="{095CDFB4-C6B1-F4A6-1225-D9C841C8D24B}"/>
          </ac:spMkLst>
        </pc:spChg>
        <pc:spChg chg="mod">
          <ac:chgData name="Nikolaj Godsk Vestergaard" userId="13f6e931-e8bb-4f58-9241-2f10614c3355" providerId="ADAL" clId="{26E3B360-BE45-4C46-AA2F-A6EE35AB50A4}" dt="2023-03-23T17:19:40.646" v="297" actId="1076"/>
          <ac:spMkLst>
            <pc:docMk/>
            <pc:sldMk cId="2589155688" sldId="341"/>
            <ac:spMk id="3" creationId="{73DCFB5D-3B0E-DED7-A685-6467C65970B4}"/>
          </ac:spMkLst>
        </pc:spChg>
        <pc:spChg chg="add del">
          <ac:chgData name="Nikolaj Godsk Vestergaard" userId="13f6e931-e8bb-4f58-9241-2f10614c3355" providerId="ADAL" clId="{26E3B360-BE45-4C46-AA2F-A6EE35AB50A4}" dt="2023-03-23T17:20:39.545" v="300" actId="478"/>
          <ac:spMkLst>
            <pc:docMk/>
            <pc:sldMk cId="2589155688" sldId="341"/>
            <ac:spMk id="6" creationId="{2E56D511-AF35-F331-6D46-3B3DCA388924}"/>
          </ac:spMkLst>
        </pc:spChg>
        <pc:spChg chg="mod">
          <ac:chgData name="Nikolaj Godsk Vestergaard" userId="13f6e931-e8bb-4f58-9241-2f10614c3355" providerId="ADAL" clId="{26E3B360-BE45-4C46-AA2F-A6EE35AB50A4}" dt="2023-03-23T17:24:38.820" v="322" actId="688"/>
          <ac:spMkLst>
            <pc:docMk/>
            <pc:sldMk cId="2589155688" sldId="341"/>
            <ac:spMk id="7" creationId="{E8FFC445-C167-0D60-3302-6BBC30A5C859}"/>
          </ac:spMkLst>
        </pc:spChg>
        <pc:spChg chg="mod">
          <ac:chgData name="Nikolaj Godsk Vestergaard" userId="13f6e931-e8bb-4f58-9241-2f10614c3355" providerId="ADAL" clId="{26E3B360-BE45-4C46-AA2F-A6EE35AB50A4}" dt="2023-03-23T17:22:46.659" v="315" actId="1076"/>
          <ac:spMkLst>
            <pc:docMk/>
            <pc:sldMk cId="2589155688" sldId="341"/>
            <ac:spMk id="8" creationId="{6A3C84B5-D953-141B-040E-018507C22829}"/>
          </ac:spMkLst>
        </pc:spChg>
        <pc:spChg chg="mod">
          <ac:chgData name="Nikolaj Godsk Vestergaard" userId="13f6e931-e8bb-4f58-9241-2f10614c3355" providerId="ADAL" clId="{26E3B360-BE45-4C46-AA2F-A6EE35AB50A4}" dt="2023-03-23T17:22:06.884" v="313" actId="206"/>
          <ac:spMkLst>
            <pc:docMk/>
            <pc:sldMk cId="2589155688" sldId="341"/>
            <ac:spMk id="9" creationId="{D1237289-81E7-A6F0-F31E-D988C5943818}"/>
          </ac:spMkLst>
        </pc:spChg>
        <pc:spChg chg="del">
          <ac:chgData name="Nikolaj Godsk Vestergaard" userId="13f6e931-e8bb-4f58-9241-2f10614c3355" providerId="ADAL" clId="{26E3B360-BE45-4C46-AA2F-A6EE35AB50A4}" dt="2023-03-23T16:54:14.907" v="196" actId="478"/>
          <ac:spMkLst>
            <pc:docMk/>
            <pc:sldMk cId="2589155688" sldId="341"/>
            <ac:spMk id="10" creationId="{DEDFA714-68B8-A523-9E15-27FF025CA0C9}"/>
          </ac:spMkLst>
        </pc:spChg>
        <pc:spChg chg="add mod">
          <ac:chgData name="Nikolaj Godsk Vestergaard" userId="13f6e931-e8bb-4f58-9241-2f10614c3355" providerId="ADAL" clId="{26E3B360-BE45-4C46-AA2F-A6EE35AB50A4}" dt="2023-03-23T17:21:28.679" v="308" actId="1076"/>
          <ac:spMkLst>
            <pc:docMk/>
            <pc:sldMk cId="2589155688" sldId="341"/>
            <ac:spMk id="10" creationId="{E70AB606-84B6-DA85-62AF-F737F7B88851}"/>
          </ac:spMkLst>
        </pc:spChg>
        <pc:spChg chg="mod">
          <ac:chgData name="Nikolaj Godsk Vestergaard" userId="13f6e931-e8bb-4f58-9241-2f10614c3355" providerId="ADAL" clId="{26E3B360-BE45-4C46-AA2F-A6EE35AB50A4}" dt="2023-03-23T17:21:28.679" v="308" actId="1076"/>
          <ac:spMkLst>
            <pc:docMk/>
            <pc:sldMk cId="2589155688" sldId="341"/>
            <ac:spMk id="11" creationId="{301C0EA3-E663-7F90-7528-493A1F85D276}"/>
          </ac:spMkLst>
        </pc:spChg>
        <pc:spChg chg="mod">
          <ac:chgData name="Nikolaj Godsk Vestergaard" userId="13f6e931-e8bb-4f58-9241-2f10614c3355" providerId="ADAL" clId="{26E3B360-BE45-4C46-AA2F-A6EE35AB50A4}" dt="2023-03-23T17:22:17.521" v="314" actId="206"/>
          <ac:spMkLst>
            <pc:docMk/>
            <pc:sldMk cId="2589155688" sldId="341"/>
            <ac:spMk id="12" creationId="{41DDE499-930D-DD0F-A4F4-D8E8FBC202DA}"/>
          </ac:spMkLst>
        </pc:spChg>
        <pc:spChg chg="mod">
          <ac:chgData name="Nikolaj Godsk Vestergaard" userId="13f6e931-e8bb-4f58-9241-2f10614c3355" providerId="ADAL" clId="{26E3B360-BE45-4C46-AA2F-A6EE35AB50A4}" dt="2023-03-23T17:21:28.679" v="308" actId="1076"/>
          <ac:spMkLst>
            <pc:docMk/>
            <pc:sldMk cId="2589155688" sldId="341"/>
            <ac:spMk id="13" creationId="{90C260CF-841E-435A-3BCD-7DA445C3CC08}"/>
          </ac:spMkLst>
        </pc:spChg>
        <pc:spChg chg="mod">
          <ac:chgData name="Nikolaj Godsk Vestergaard" userId="13f6e931-e8bb-4f58-9241-2f10614c3355" providerId="ADAL" clId="{26E3B360-BE45-4C46-AA2F-A6EE35AB50A4}" dt="2023-03-23T17:24:33.824" v="321" actId="206"/>
          <ac:spMkLst>
            <pc:docMk/>
            <pc:sldMk cId="2589155688" sldId="341"/>
            <ac:spMk id="14" creationId="{D3FEE811-AD80-DDD9-FAE7-244039A95740}"/>
          </ac:spMkLst>
        </pc:spChg>
        <pc:spChg chg="mod">
          <ac:chgData name="Nikolaj Godsk Vestergaard" userId="13f6e931-e8bb-4f58-9241-2f10614c3355" providerId="ADAL" clId="{26E3B360-BE45-4C46-AA2F-A6EE35AB50A4}" dt="2023-03-23T17:18:10.762" v="274" actId="14100"/>
          <ac:spMkLst>
            <pc:docMk/>
            <pc:sldMk cId="2589155688" sldId="341"/>
            <ac:spMk id="15" creationId="{348C6BA9-13DA-76C8-1D2A-3207A142B8F2}"/>
          </ac:spMkLst>
        </pc:spChg>
        <pc:spChg chg="mod">
          <ac:chgData name="Nikolaj Godsk Vestergaard" userId="13f6e931-e8bb-4f58-9241-2f10614c3355" providerId="ADAL" clId="{26E3B360-BE45-4C46-AA2F-A6EE35AB50A4}" dt="2023-03-23T17:18:30.090" v="279" actId="14100"/>
          <ac:spMkLst>
            <pc:docMk/>
            <pc:sldMk cId="2589155688" sldId="341"/>
            <ac:spMk id="16" creationId="{66F4CCD8-A940-9197-37D6-C957643598F1}"/>
          </ac:spMkLst>
        </pc:spChg>
        <pc:spChg chg="mod">
          <ac:chgData name="Nikolaj Godsk Vestergaard" userId="13f6e931-e8bb-4f58-9241-2f10614c3355" providerId="ADAL" clId="{26E3B360-BE45-4C46-AA2F-A6EE35AB50A4}" dt="2023-03-23T17:21:28.679" v="308" actId="1076"/>
          <ac:spMkLst>
            <pc:docMk/>
            <pc:sldMk cId="2589155688" sldId="341"/>
            <ac:spMk id="17" creationId="{D5AC4369-3857-CE2B-737C-58B3FC8C143B}"/>
          </ac:spMkLst>
        </pc:spChg>
        <pc:spChg chg="add mod">
          <ac:chgData name="Nikolaj Godsk Vestergaard" userId="13f6e931-e8bb-4f58-9241-2f10614c3355" providerId="ADAL" clId="{26E3B360-BE45-4C46-AA2F-A6EE35AB50A4}" dt="2023-03-23T17:25:14.420" v="404" actId="14100"/>
          <ac:spMkLst>
            <pc:docMk/>
            <pc:sldMk cId="2589155688" sldId="341"/>
            <ac:spMk id="18" creationId="{4763897C-4360-E7A7-4C6B-E10891C89724}"/>
          </ac:spMkLst>
        </pc:spChg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2712194404" sldId="341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747696551" sldId="342"/>
        </pc:sldMkLst>
      </pc:sldChg>
      <pc:sldChg chg="addSp delSp modSp add del mod">
        <pc:chgData name="Nikolaj Godsk Vestergaard" userId="13f6e931-e8bb-4f58-9241-2f10614c3355" providerId="ADAL" clId="{26E3B360-BE45-4C46-AA2F-A6EE35AB50A4}" dt="2023-03-23T19:09:21.428" v="2314" actId="47"/>
        <pc:sldMkLst>
          <pc:docMk/>
          <pc:sldMk cId="3127543314" sldId="342"/>
        </pc:sldMkLst>
        <pc:spChg chg="mod">
          <ac:chgData name="Nikolaj Godsk Vestergaard" userId="13f6e931-e8bb-4f58-9241-2f10614c3355" providerId="ADAL" clId="{26E3B360-BE45-4C46-AA2F-A6EE35AB50A4}" dt="2023-03-23T17:27:47.004" v="422" actId="1076"/>
          <ac:spMkLst>
            <pc:docMk/>
            <pc:sldMk cId="3127543314" sldId="342"/>
            <ac:spMk id="3" creationId="{73DCFB5D-3B0E-DED7-A685-6467C65970B4}"/>
          </ac:spMkLst>
        </pc:spChg>
        <pc:spChg chg="add mod">
          <ac:chgData name="Nikolaj Godsk Vestergaard" userId="13f6e931-e8bb-4f58-9241-2f10614c3355" providerId="ADAL" clId="{26E3B360-BE45-4C46-AA2F-A6EE35AB50A4}" dt="2023-03-23T17:31:11.629" v="433" actId="14100"/>
          <ac:spMkLst>
            <pc:docMk/>
            <pc:sldMk cId="3127543314" sldId="342"/>
            <ac:spMk id="6" creationId="{846E39B9-07DD-3C2A-C8E0-E47F5C1182EA}"/>
          </ac:spMkLst>
        </pc:spChg>
        <pc:spChg chg="mod">
          <ac:chgData name="Nikolaj Godsk Vestergaard" userId="13f6e931-e8bb-4f58-9241-2f10614c3355" providerId="ADAL" clId="{26E3B360-BE45-4C46-AA2F-A6EE35AB50A4}" dt="2023-03-23T17:27:47.004" v="422" actId="1076"/>
          <ac:spMkLst>
            <pc:docMk/>
            <pc:sldMk cId="3127543314" sldId="342"/>
            <ac:spMk id="7" creationId="{E8FFC445-C167-0D60-3302-6BBC30A5C859}"/>
          </ac:spMkLst>
        </pc:spChg>
        <pc:spChg chg="mod">
          <ac:chgData name="Nikolaj Godsk Vestergaard" userId="13f6e931-e8bb-4f58-9241-2f10614c3355" providerId="ADAL" clId="{26E3B360-BE45-4C46-AA2F-A6EE35AB50A4}" dt="2023-03-23T17:27:35.409" v="421" actId="14100"/>
          <ac:spMkLst>
            <pc:docMk/>
            <pc:sldMk cId="3127543314" sldId="342"/>
            <ac:spMk id="9" creationId="{D1237289-81E7-A6F0-F31E-D988C5943818}"/>
          </ac:spMkLst>
        </pc:spChg>
        <pc:spChg chg="mod">
          <ac:chgData name="Nikolaj Godsk Vestergaard" userId="13f6e931-e8bb-4f58-9241-2f10614c3355" providerId="ADAL" clId="{26E3B360-BE45-4C46-AA2F-A6EE35AB50A4}" dt="2023-03-23T17:27:47.004" v="422" actId="1076"/>
          <ac:spMkLst>
            <pc:docMk/>
            <pc:sldMk cId="3127543314" sldId="342"/>
            <ac:spMk id="12" creationId="{41DDE499-930D-DD0F-A4F4-D8E8FBC202DA}"/>
          </ac:spMkLst>
        </pc:spChg>
        <pc:spChg chg="mod">
          <ac:chgData name="Nikolaj Godsk Vestergaard" userId="13f6e931-e8bb-4f58-9241-2f10614c3355" providerId="ADAL" clId="{26E3B360-BE45-4C46-AA2F-A6EE35AB50A4}" dt="2023-03-23T17:27:47.004" v="422" actId="1076"/>
          <ac:spMkLst>
            <pc:docMk/>
            <pc:sldMk cId="3127543314" sldId="342"/>
            <ac:spMk id="13" creationId="{90C260CF-841E-435A-3BCD-7DA445C3CC08}"/>
          </ac:spMkLst>
        </pc:spChg>
        <pc:spChg chg="mod">
          <ac:chgData name="Nikolaj Godsk Vestergaard" userId="13f6e931-e8bb-4f58-9241-2f10614c3355" providerId="ADAL" clId="{26E3B360-BE45-4C46-AA2F-A6EE35AB50A4}" dt="2023-03-23T17:27:47.004" v="422" actId="1076"/>
          <ac:spMkLst>
            <pc:docMk/>
            <pc:sldMk cId="3127543314" sldId="342"/>
            <ac:spMk id="14" creationId="{D3FEE811-AD80-DDD9-FAE7-244039A95740}"/>
          </ac:spMkLst>
        </pc:spChg>
        <pc:spChg chg="mod">
          <ac:chgData name="Nikolaj Godsk Vestergaard" userId="13f6e931-e8bb-4f58-9241-2f10614c3355" providerId="ADAL" clId="{26E3B360-BE45-4C46-AA2F-A6EE35AB50A4}" dt="2023-03-23T17:27:47.004" v="422" actId="1076"/>
          <ac:spMkLst>
            <pc:docMk/>
            <pc:sldMk cId="3127543314" sldId="342"/>
            <ac:spMk id="16" creationId="{66F4CCD8-A940-9197-37D6-C957643598F1}"/>
          </ac:spMkLst>
        </pc:spChg>
        <pc:spChg chg="del">
          <ac:chgData name="Nikolaj Godsk Vestergaard" userId="13f6e931-e8bb-4f58-9241-2f10614c3355" providerId="ADAL" clId="{26E3B360-BE45-4C46-AA2F-A6EE35AB50A4}" dt="2023-03-23T17:25:47.897" v="406" actId="478"/>
          <ac:spMkLst>
            <pc:docMk/>
            <pc:sldMk cId="3127543314" sldId="342"/>
            <ac:spMk id="18" creationId="{4763897C-4360-E7A7-4C6B-E10891C89724}"/>
          </ac:spMkLst>
        </pc:spChg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377149076" sldId="343"/>
        </pc:sldMkLst>
      </pc:sldChg>
      <pc:sldChg chg="addSp delSp modSp add del mod modClrScheme chgLayout">
        <pc:chgData name="Nikolaj Godsk Vestergaard" userId="13f6e931-e8bb-4f58-9241-2f10614c3355" providerId="ADAL" clId="{26E3B360-BE45-4C46-AA2F-A6EE35AB50A4}" dt="2023-03-23T19:09:21.428" v="2314" actId="47"/>
        <pc:sldMkLst>
          <pc:docMk/>
          <pc:sldMk cId="2534122890" sldId="343"/>
        </pc:sldMkLst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2" creationId="{095CDFB4-C6B1-F4A6-1225-D9C841C8D24B}"/>
          </ac:spMkLst>
        </pc:spChg>
        <pc:spChg chg="mod ord">
          <ac:chgData name="Nikolaj Godsk Vestergaard" userId="13f6e931-e8bb-4f58-9241-2f10614c3355" providerId="ADAL" clId="{26E3B360-BE45-4C46-AA2F-A6EE35AB50A4}" dt="2023-03-23T18:19:22.430" v="1569" actId="1076"/>
          <ac:spMkLst>
            <pc:docMk/>
            <pc:sldMk cId="2534122890" sldId="343"/>
            <ac:spMk id="3" creationId="{73DCFB5D-3B0E-DED7-A685-6467C65970B4}"/>
          </ac:spMkLst>
        </pc:spChg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5" creationId="{A5BDFBE7-5625-5FAC-3B9D-688B8F5A6E98}"/>
          </ac:spMkLst>
        </pc:spChg>
        <pc:spChg chg="del">
          <ac:chgData name="Nikolaj Godsk Vestergaard" userId="13f6e931-e8bb-4f58-9241-2f10614c3355" providerId="ADAL" clId="{26E3B360-BE45-4C46-AA2F-A6EE35AB50A4}" dt="2023-03-23T17:32:05.962" v="435" actId="478"/>
          <ac:spMkLst>
            <pc:docMk/>
            <pc:sldMk cId="2534122890" sldId="343"/>
            <ac:spMk id="6" creationId="{846E39B9-07DD-3C2A-C8E0-E47F5C1182EA}"/>
          </ac:spMkLst>
        </pc:spChg>
        <pc:spChg chg="mod ord">
          <ac:chgData name="Nikolaj Godsk Vestergaard" userId="13f6e931-e8bb-4f58-9241-2f10614c3355" providerId="ADAL" clId="{26E3B360-BE45-4C46-AA2F-A6EE35AB50A4}" dt="2023-03-23T18:19:29.663" v="1570" actId="1076"/>
          <ac:spMkLst>
            <pc:docMk/>
            <pc:sldMk cId="2534122890" sldId="343"/>
            <ac:spMk id="7" creationId="{E8FFC445-C167-0D60-3302-6BBC30A5C859}"/>
          </ac:spMkLst>
        </pc:spChg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8" creationId="{6A3C84B5-D953-141B-040E-018507C22829}"/>
          </ac:spMkLst>
        </pc:spChg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9" creationId="{D1237289-81E7-A6F0-F31E-D988C5943818}"/>
          </ac:spMkLst>
        </pc:spChg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10" creationId="{E70AB606-84B6-DA85-62AF-F737F7B88851}"/>
          </ac:spMkLst>
        </pc:spChg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11" creationId="{301C0EA3-E663-7F90-7528-493A1F85D276}"/>
          </ac:spMkLst>
        </pc:spChg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12" creationId="{41DDE499-930D-DD0F-A4F4-D8E8FBC202DA}"/>
          </ac:spMkLst>
        </pc:spChg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13" creationId="{90C260CF-841E-435A-3BCD-7DA445C3CC08}"/>
          </ac:spMkLst>
        </pc:spChg>
        <pc:spChg chg="mod ord">
          <ac:chgData name="Nikolaj Godsk Vestergaard" userId="13f6e931-e8bb-4f58-9241-2f10614c3355" providerId="ADAL" clId="{26E3B360-BE45-4C46-AA2F-A6EE35AB50A4}" dt="2023-03-23T18:19:29.663" v="1570" actId="1076"/>
          <ac:spMkLst>
            <pc:docMk/>
            <pc:sldMk cId="2534122890" sldId="343"/>
            <ac:spMk id="14" creationId="{D3FEE811-AD80-DDD9-FAE7-244039A95740}"/>
          </ac:spMkLst>
        </pc:spChg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15" creationId="{348C6BA9-13DA-76C8-1D2A-3207A142B8F2}"/>
          </ac:spMkLst>
        </pc:spChg>
        <pc:spChg chg="mod ord">
          <ac:chgData name="Nikolaj Godsk Vestergaard" userId="13f6e931-e8bb-4f58-9241-2f10614c3355" providerId="ADAL" clId="{26E3B360-BE45-4C46-AA2F-A6EE35AB50A4}" dt="2023-03-23T18:19:22.430" v="1569" actId="1076"/>
          <ac:spMkLst>
            <pc:docMk/>
            <pc:sldMk cId="2534122890" sldId="343"/>
            <ac:spMk id="16" creationId="{66F4CCD8-A940-9197-37D6-C957643598F1}"/>
          </ac:spMkLst>
        </pc:spChg>
        <pc:spChg chg="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17" creationId="{D5AC4369-3857-CE2B-737C-58B3FC8C143B}"/>
          </ac:spMkLst>
        </pc:spChg>
        <pc:spChg chg="add del mod">
          <ac:chgData name="Nikolaj Godsk Vestergaard" userId="13f6e931-e8bb-4f58-9241-2f10614c3355" providerId="ADAL" clId="{26E3B360-BE45-4C46-AA2F-A6EE35AB50A4}" dt="2023-03-23T17:43:39.963" v="589" actId="478"/>
          <ac:spMkLst>
            <pc:docMk/>
            <pc:sldMk cId="2534122890" sldId="343"/>
            <ac:spMk id="18" creationId="{BAB6549A-E166-3879-D847-468CA4D62C01}"/>
          </ac:spMkLst>
        </pc:spChg>
        <pc:spChg chg="add mod">
          <ac:chgData name="Nikolaj Godsk Vestergaard" userId="13f6e931-e8bb-4f58-9241-2f10614c3355" providerId="ADAL" clId="{26E3B360-BE45-4C46-AA2F-A6EE35AB50A4}" dt="2023-03-23T17:37:16.035" v="481" actId="571"/>
          <ac:spMkLst>
            <pc:docMk/>
            <pc:sldMk cId="2534122890" sldId="343"/>
            <ac:spMk id="19" creationId="{4B48DCFA-366D-833D-A5A4-1170AAFB469B}"/>
          </ac:spMkLst>
        </pc:spChg>
        <pc:spChg chg="add 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25" creationId="{C467EB35-04F1-93B5-C221-80942F6FEC98}"/>
          </ac:spMkLst>
        </pc:spChg>
        <pc:spChg chg="add 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26" creationId="{8FF44860-0A0B-BA49-4DF9-AAE3594AF749}"/>
          </ac:spMkLst>
        </pc:spChg>
        <pc:spChg chg="add mod ord">
          <ac:chgData name="Nikolaj Godsk Vestergaard" userId="13f6e931-e8bb-4f58-9241-2f10614c3355" providerId="ADAL" clId="{26E3B360-BE45-4C46-AA2F-A6EE35AB50A4}" dt="2023-03-23T18:06:56.095" v="1036" actId="164"/>
          <ac:spMkLst>
            <pc:docMk/>
            <pc:sldMk cId="2534122890" sldId="343"/>
            <ac:spMk id="33" creationId="{05BF4502-332D-90A1-0E0C-9AA3F19DECDF}"/>
          </ac:spMkLst>
        </pc:spChg>
        <pc:spChg chg="mod">
          <ac:chgData name="Nikolaj Godsk Vestergaard" userId="13f6e931-e8bb-4f58-9241-2f10614c3355" providerId="ADAL" clId="{26E3B360-BE45-4C46-AA2F-A6EE35AB50A4}" dt="2023-03-23T18:03:56.222" v="977" actId="27803"/>
          <ac:spMkLst>
            <pc:docMk/>
            <pc:sldMk cId="2534122890" sldId="343"/>
            <ac:spMk id="36" creationId="{1AE134F6-521B-32AF-62E0-F9AF8E3EC5D2}"/>
          </ac:spMkLst>
        </pc:spChg>
        <pc:spChg chg="mod">
          <ac:chgData name="Nikolaj Godsk Vestergaard" userId="13f6e931-e8bb-4f58-9241-2f10614c3355" providerId="ADAL" clId="{26E3B360-BE45-4C46-AA2F-A6EE35AB50A4}" dt="2023-03-23T18:03:56.222" v="977" actId="27803"/>
          <ac:spMkLst>
            <pc:docMk/>
            <pc:sldMk cId="2534122890" sldId="343"/>
            <ac:spMk id="37" creationId="{A5289035-0599-E9AD-A4A4-5B627E7D0E46}"/>
          </ac:spMkLst>
        </pc:spChg>
        <pc:spChg chg="mod">
          <ac:chgData name="Nikolaj Godsk Vestergaard" userId="13f6e931-e8bb-4f58-9241-2f10614c3355" providerId="ADAL" clId="{26E3B360-BE45-4C46-AA2F-A6EE35AB50A4}" dt="2023-03-23T18:06:56.095" v="1036" actId="164"/>
          <ac:spMkLst>
            <pc:docMk/>
            <pc:sldMk cId="2534122890" sldId="343"/>
            <ac:spMk id="39" creationId="{A4B64A9F-E344-4501-ED0B-4926A842094E}"/>
          </ac:spMkLst>
        </pc:spChg>
        <pc:spChg chg="mod">
          <ac:chgData name="Nikolaj Godsk Vestergaard" userId="13f6e931-e8bb-4f58-9241-2f10614c3355" providerId="ADAL" clId="{26E3B360-BE45-4C46-AA2F-A6EE35AB50A4}" dt="2023-03-23T18:06:56.095" v="1036" actId="164"/>
          <ac:spMkLst>
            <pc:docMk/>
            <pc:sldMk cId="2534122890" sldId="343"/>
            <ac:spMk id="40" creationId="{E1ED5F36-66C2-C76A-957C-D69C3BE78D1E}"/>
          </ac:spMkLst>
        </pc:spChg>
        <pc:spChg chg="add 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42" creationId="{E70562B0-7865-0593-44BF-2934E4D366E3}"/>
          </ac:spMkLst>
        </pc:spChg>
        <pc:spChg chg="add mod ord">
          <ac:chgData name="Nikolaj Godsk Vestergaard" userId="13f6e931-e8bb-4f58-9241-2f10614c3355" providerId="ADAL" clId="{26E3B360-BE45-4C46-AA2F-A6EE35AB50A4}" dt="2023-03-23T18:14:33.516" v="1481"/>
          <ac:spMkLst>
            <pc:docMk/>
            <pc:sldMk cId="2534122890" sldId="343"/>
            <ac:spMk id="43" creationId="{842D8E43-8440-A10D-7393-31181F9A1D82}"/>
          </ac:spMkLst>
        </pc:spChg>
        <pc:spChg chg="add mod ord">
          <ac:chgData name="Nikolaj Godsk Vestergaard" userId="13f6e931-e8bb-4f58-9241-2f10614c3355" providerId="ADAL" clId="{26E3B360-BE45-4C46-AA2F-A6EE35AB50A4}" dt="2023-03-23T18:19:39.430" v="1572" actId="1076"/>
          <ac:spMkLst>
            <pc:docMk/>
            <pc:sldMk cId="2534122890" sldId="343"/>
            <ac:spMk id="44" creationId="{EA695C3E-716D-1E17-0DBD-2CACBF42CEE3}"/>
          </ac:spMkLst>
        </pc:spChg>
        <pc:spChg chg="add mod ord">
          <ac:chgData name="Nikolaj Godsk Vestergaard" userId="13f6e931-e8bb-4f58-9241-2f10614c3355" providerId="ADAL" clId="{26E3B360-BE45-4C46-AA2F-A6EE35AB50A4}" dt="2023-03-23T18:19:36.046" v="1571" actId="1076"/>
          <ac:spMkLst>
            <pc:docMk/>
            <pc:sldMk cId="2534122890" sldId="343"/>
            <ac:spMk id="45" creationId="{E69AC646-AA8D-E0E7-CA07-1BE4809271C2}"/>
          </ac:spMkLst>
        </pc:spChg>
        <pc:spChg chg="add mod ord">
          <ac:chgData name="Nikolaj Godsk Vestergaard" userId="13f6e931-e8bb-4f58-9241-2f10614c3355" providerId="ADAL" clId="{26E3B360-BE45-4C46-AA2F-A6EE35AB50A4}" dt="2023-03-23T18:19:04.187" v="1565" actId="164"/>
          <ac:spMkLst>
            <pc:docMk/>
            <pc:sldMk cId="2534122890" sldId="343"/>
            <ac:spMk id="46" creationId="{F159C874-1FAB-5CD4-5AD4-B1242CBB3B8D}"/>
          </ac:spMkLst>
        </pc:spChg>
        <pc:spChg chg="mod ord">
          <ac:chgData name="Nikolaj Godsk Vestergaard" userId="13f6e931-e8bb-4f58-9241-2f10614c3355" providerId="ADAL" clId="{26E3B360-BE45-4C46-AA2F-A6EE35AB50A4}" dt="2023-03-23T18:19:04.187" v="1565" actId="164"/>
          <ac:spMkLst>
            <pc:docMk/>
            <pc:sldMk cId="2534122890" sldId="343"/>
            <ac:spMk id="51" creationId="{39FE6371-B524-B615-773D-52C4B51913F4}"/>
          </ac:spMkLst>
        </pc:spChg>
        <pc:spChg chg="mod ord">
          <ac:chgData name="Nikolaj Godsk Vestergaard" userId="13f6e931-e8bb-4f58-9241-2f10614c3355" providerId="ADAL" clId="{26E3B360-BE45-4C46-AA2F-A6EE35AB50A4}" dt="2023-03-23T18:19:04.187" v="1565" actId="164"/>
          <ac:spMkLst>
            <pc:docMk/>
            <pc:sldMk cId="2534122890" sldId="343"/>
            <ac:spMk id="52" creationId="{0FD45887-6231-52A4-3498-EF646E8A6C9A}"/>
          </ac:spMkLst>
        </pc:spChg>
        <pc:spChg chg="mod ord">
          <ac:chgData name="Nikolaj Godsk Vestergaard" userId="13f6e931-e8bb-4f58-9241-2f10614c3355" providerId="ADAL" clId="{26E3B360-BE45-4C46-AA2F-A6EE35AB50A4}" dt="2023-03-23T18:19:04.187" v="1565" actId="164"/>
          <ac:spMkLst>
            <pc:docMk/>
            <pc:sldMk cId="2534122890" sldId="343"/>
            <ac:spMk id="53" creationId="{184658DC-5CC1-AAF2-69BC-7EF8F17FC58A}"/>
          </ac:spMkLst>
        </pc:spChg>
        <pc:spChg chg="mod ord">
          <ac:chgData name="Nikolaj Godsk Vestergaard" userId="13f6e931-e8bb-4f58-9241-2f10614c3355" providerId="ADAL" clId="{26E3B360-BE45-4C46-AA2F-A6EE35AB50A4}" dt="2023-03-23T18:19:04.187" v="1565" actId="164"/>
          <ac:spMkLst>
            <pc:docMk/>
            <pc:sldMk cId="2534122890" sldId="343"/>
            <ac:spMk id="54" creationId="{572FC769-CC6D-0CC8-4A2E-B44329EA4944}"/>
          </ac:spMkLst>
        </pc:spChg>
        <pc:spChg chg="mod ord">
          <ac:chgData name="Nikolaj Godsk Vestergaard" userId="13f6e931-e8bb-4f58-9241-2f10614c3355" providerId="ADAL" clId="{26E3B360-BE45-4C46-AA2F-A6EE35AB50A4}" dt="2023-03-23T18:18:58.260" v="1564" actId="164"/>
          <ac:spMkLst>
            <pc:docMk/>
            <pc:sldMk cId="2534122890" sldId="343"/>
            <ac:spMk id="55" creationId="{87EB5890-2CF4-E3CA-C4A6-3E0903BBFF93}"/>
          </ac:spMkLst>
        </pc:spChg>
        <pc:grpChg chg="add del mod">
          <ac:chgData name="Nikolaj Godsk Vestergaard" userId="13f6e931-e8bb-4f58-9241-2f10614c3355" providerId="ADAL" clId="{26E3B360-BE45-4C46-AA2F-A6EE35AB50A4}" dt="2023-03-23T18:03:56.222" v="977" actId="27803"/>
          <ac:grpSpMkLst>
            <pc:docMk/>
            <pc:sldMk cId="2534122890" sldId="343"/>
            <ac:grpSpMk id="35" creationId="{6DF5BA39-36F2-94EF-6B72-D99662F39397}"/>
          </ac:grpSpMkLst>
        </pc:grpChg>
        <pc:grpChg chg="del mod">
          <ac:chgData name="Nikolaj Godsk Vestergaard" userId="13f6e931-e8bb-4f58-9241-2f10614c3355" providerId="ADAL" clId="{26E3B360-BE45-4C46-AA2F-A6EE35AB50A4}" dt="2023-03-23T18:04:23.775" v="980" actId="27803"/>
          <ac:grpSpMkLst>
            <pc:docMk/>
            <pc:sldMk cId="2534122890" sldId="343"/>
            <ac:grpSpMk id="38" creationId="{7941B1A3-1B48-B64E-B3E9-7ECBFA070D55}"/>
          </ac:grpSpMkLst>
        </pc:grpChg>
        <pc:grpChg chg="add mod ord">
          <ac:chgData name="Nikolaj Godsk Vestergaard" userId="13f6e931-e8bb-4f58-9241-2f10614c3355" providerId="ADAL" clId="{26E3B360-BE45-4C46-AA2F-A6EE35AB50A4}" dt="2023-03-23T18:14:33.516" v="1481"/>
          <ac:grpSpMkLst>
            <pc:docMk/>
            <pc:sldMk cId="2534122890" sldId="343"/>
            <ac:grpSpMk id="41" creationId="{23B34176-B15B-513F-F07F-0AF58D4277EE}"/>
          </ac:grpSpMkLst>
        </pc:grpChg>
        <pc:grpChg chg="del mod">
          <ac:chgData name="Nikolaj Godsk Vestergaard" userId="13f6e931-e8bb-4f58-9241-2f10614c3355" providerId="ADAL" clId="{26E3B360-BE45-4C46-AA2F-A6EE35AB50A4}" dt="2023-03-23T18:10:12.114" v="1094" actId="27803"/>
          <ac:grpSpMkLst>
            <pc:docMk/>
            <pc:sldMk cId="2534122890" sldId="343"/>
            <ac:grpSpMk id="50" creationId="{6054AF31-3DE2-86A9-6FFC-22924FF4E4ED}"/>
          </ac:grpSpMkLst>
        </pc:grpChg>
        <pc:grpChg chg="add mod">
          <ac:chgData name="Nikolaj Godsk Vestergaard" userId="13f6e931-e8bb-4f58-9241-2f10614c3355" providerId="ADAL" clId="{26E3B360-BE45-4C46-AA2F-A6EE35AB50A4}" dt="2023-03-23T18:19:04.187" v="1565" actId="164"/>
          <ac:grpSpMkLst>
            <pc:docMk/>
            <pc:sldMk cId="2534122890" sldId="343"/>
            <ac:grpSpMk id="76" creationId="{9DA0C35E-324A-52DD-1045-F8CBADE05F72}"/>
          </ac:grpSpMkLst>
        </pc:grpChg>
        <pc:grpChg chg="add mod">
          <ac:chgData name="Nikolaj Godsk Vestergaard" userId="13f6e931-e8bb-4f58-9241-2f10614c3355" providerId="ADAL" clId="{26E3B360-BE45-4C46-AA2F-A6EE35AB50A4}" dt="2023-03-23T18:18:58.260" v="1564" actId="164"/>
          <ac:grpSpMkLst>
            <pc:docMk/>
            <pc:sldMk cId="2534122890" sldId="343"/>
            <ac:grpSpMk id="77" creationId="{3258E339-2939-1C14-FCBB-4FD5C3F75636}"/>
          </ac:grpSpMkLst>
        </pc:grpChg>
        <pc:grpChg chg="add mod">
          <ac:chgData name="Nikolaj Godsk Vestergaard" userId="13f6e931-e8bb-4f58-9241-2f10614c3355" providerId="ADAL" clId="{26E3B360-BE45-4C46-AA2F-A6EE35AB50A4}" dt="2023-03-23T18:19:29.663" v="1570" actId="1076"/>
          <ac:grpSpMkLst>
            <pc:docMk/>
            <pc:sldMk cId="2534122890" sldId="343"/>
            <ac:grpSpMk id="78" creationId="{9A65992D-E453-84C5-FC2D-D93B8DBD176F}"/>
          </ac:grpSpMkLst>
        </pc:grpChg>
        <pc:graphicFrameChg chg="mod modVis">
          <ac:chgData name="Nikolaj Godsk Vestergaard" userId="13f6e931-e8bb-4f58-9241-2f10614c3355" providerId="ADAL" clId="{26E3B360-BE45-4C46-AA2F-A6EE35AB50A4}" dt="2023-03-23T18:14:33.533" v="1483"/>
          <ac:graphicFrameMkLst>
            <pc:docMk/>
            <pc:sldMk cId="2534122890" sldId="343"/>
            <ac:graphicFrameMk id="4" creationId="{7FCEF152-3DCE-AE96-A3D9-5060BCD9EA5C}"/>
          </ac:graphicFrameMkLst>
        </pc:graphicFrameChg>
        <pc:picChg chg="add del mod">
          <ac:chgData name="Nikolaj Godsk Vestergaard" userId="13f6e931-e8bb-4f58-9241-2f10614c3355" providerId="ADAL" clId="{26E3B360-BE45-4C46-AA2F-A6EE35AB50A4}" dt="2023-03-23T17:43:15.212" v="549"/>
          <ac:picMkLst>
            <pc:docMk/>
            <pc:sldMk cId="2534122890" sldId="343"/>
            <ac:picMk id="20" creationId="{7F88E7BD-F17B-65E5-AA9C-8C0BCE6C9D26}"/>
          </ac:picMkLst>
        </pc:picChg>
        <pc:picChg chg="add del mod replST">
          <ac:chgData name="Nikolaj Godsk Vestergaard" userId="13f6e931-e8bb-4f58-9241-2f10614c3355" providerId="ADAL" clId="{26E3B360-BE45-4C46-AA2F-A6EE35AB50A4}" dt="2023-03-23T17:43:18.676" v="576"/>
          <ac:picMkLst>
            <pc:docMk/>
            <pc:sldMk cId="2534122890" sldId="343"/>
            <ac:picMk id="22" creationId="{D23EF9CC-0C58-13E7-D07B-4F77D1E3CD37}"/>
          </ac:picMkLst>
        </pc:picChg>
        <pc:picChg chg="add mod ord replST modCrop">
          <ac:chgData name="Nikolaj Godsk Vestergaard" userId="13f6e931-e8bb-4f58-9241-2f10614c3355" providerId="ADAL" clId="{26E3B360-BE45-4C46-AA2F-A6EE35AB50A4}" dt="2023-03-23T18:14:33.516" v="1481"/>
          <ac:picMkLst>
            <pc:docMk/>
            <pc:sldMk cId="2534122890" sldId="343"/>
            <ac:picMk id="24" creationId="{6F477E40-C686-AECA-E3F8-7F44549D30B6}"/>
          </ac:picMkLst>
        </pc:picChg>
        <pc:picChg chg="add del mod">
          <ac:chgData name="Nikolaj Godsk Vestergaard" userId="13f6e931-e8bb-4f58-9241-2f10614c3355" providerId="ADAL" clId="{26E3B360-BE45-4C46-AA2F-A6EE35AB50A4}" dt="2023-03-23T17:58:29.992" v="765" actId="21"/>
          <ac:picMkLst>
            <pc:docMk/>
            <pc:sldMk cId="2534122890" sldId="343"/>
            <ac:picMk id="27" creationId="{08951629-E7B5-8BA5-0F38-3C49C9F868DD}"/>
          </ac:picMkLst>
        </pc:picChg>
        <pc:picChg chg="add mod ord">
          <ac:chgData name="Nikolaj Godsk Vestergaard" userId="13f6e931-e8bb-4f58-9241-2f10614c3355" providerId="ADAL" clId="{26E3B360-BE45-4C46-AA2F-A6EE35AB50A4}" dt="2023-03-23T18:14:33.516" v="1481"/>
          <ac:picMkLst>
            <pc:docMk/>
            <pc:sldMk cId="2534122890" sldId="343"/>
            <ac:picMk id="28" creationId="{6CB1C012-15BB-5412-13A5-E96C4BEA4529}"/>
          </ac:picMkLst>
        </pc:picChg>
        <pc:picChg chg="add mod ord">
          <ac:chgData name="Nikolaj Godsk Vestergaard" userId="13f6e931-e8bb-4f58-9241-2f10614c3355" providerId="ADAL" clId="{26E3B360-BE45-4C46-AA2F-A6EE35AB50A4}" dt="2023-03-23T18:14:33.516" v="1481"/>
          <ac:picMkLst>
            <pc:docMk/>
            <pc:sldMk cId="2534122890" sldId="343"/>
            <ac:picMk id="30" creationId="{CE08D335-D2A9-33DC-74BC-79BF22AC7011}"/>
          </ac:picMkLst>
        </pc:picChg>
        <pc:picChg chg="add mod ord">
          <ac:chgData name="Nikolaj Godsk Vestergaard" userId="13f6e931-e8bb-4f58-9241-2f10614c3355" providerId="ADAL" clId="{26E3B360-BE45-4C46-AA2F-A6EE35AB50A4}" dt="2023-03-23T18:06:56.095" v="1036" actId="164"/>
          <ac:picMkLst>
            <pc:docMk/>
            <pc:sldMk cId="2534122890" sldId="343"/>
            <ac:picMk id="32" creationId="{79D93D45-968B-28AF-575F-4B87700F9E51}"/>
          </ac:picMkLst>
        </pc:picChg>
        <pc:picChg chg="add del mod">
          <ac:chgData name="Nikolaj Godsk Vestergaard" userId="13f6e931-e8bb-4f58-9241-2f10614c3355" providerId="ADAL" clId="{26E3B360-BE45-4C46-AA2F-A6EE35AB50A4}" dt="2023-03-23T18:04:23.775" v="980" actId="27803"/>
          <ac:picMkLst>
            <pc:docMk/>
            <pc:sldMk cId="2534122890" sldId="343"/>
            <ac:picMk id="34" creationId="{14CA8EE4-6846-C888-D2B2-8D5E32BFD999}"/>
          </ac:picMkLst>
        </pc:picChg>
        <pc:picChg chg="add mod ord">
          <ac:chgData name="Nikolaj Godsk Vestergaard" userId="13f6e931-e8bb-4f58-9241-2f10614c3355" providerId="ADAL" clId="{26E3B360-BE45-4C46-AA2F-A6EE35AB50A4}" dt="2023-03-23T18:19:04.187" v="1565" actId="164"/>
          <ac:picMkLst>
            <pc:docMk/>
            <pc:sldMk cId="2534122890" sldId="343"/>
            <ac:picMk id="48" creationId="{A5DB0B3C-E892-1545-9DC7-DCDF6506CE9E}"/>
          </ac:picMkLst>
        </pc:picChg>
        <pc:picChg chg="add del mod">
          <ac:chgData name="Nikolaj Godsk Vestergaard" userId="13f6e931-e8bb-4f58-9241-2f10614c3355" providerId="ADAL" clId="{26E3B360-BE45-4C46-AA2F-A6EE35AB50A4}" dt="2023-03-23T18:10:12.114" v="1094" actId="27803"/>
          <ac:picMkLst>
            <pc:docMk/>
            <pc:sldMk cId="2534122890" sldId="343"/>
            <ac:picMk id="49" creationId="{51291A27-D27D-5962-3C1E-07BA8544458E}"/>
          </ac:picMkLst>
        </pc:picChg>
        <pc:cxnChg chg="add del mod ord">
          <ac:chgData name="Nikolaj Godsk Vestergaard" userId="13f6e931-e8bb-4f58-9241-2f10614c3355" providerId="ADAL" clId="{26E3B360-BE45-4C46-AA2F-A6EE35AB50A4}" dt="2023-03-23T18:14:35.945" v="1484" actId="478"/>
          <ac:cxnSpMkLst>
            <pc:docMk/>
            <pc:sldMk cId="2534122890" sldId="343"/>
            <ac:cxnSpMk id="57" creationId="{7778FD00-0AA3-E250-73D5-AE2FA06C0DE8}"/>
          </ac:cxnSpMkLst>
        </pc:cxnChg>
        <pc:cxnChg chg="add del mod">
          <ac:chgData name="Nikolaj Godsk Vestergaard" userId="13f6e931-e8bb-4f58-9241-2f10614c3355" providerId="ADAL" clId="{26E3B360-BE45-4C46-AA2F-A6EE35AB50A4}" dt="2023-03-23T18:14:55.003" v="1486" actId="11529"/>
          <ac:cxnSpMkLst>
            <pc:docMk/>
            <pc:sldMk cId="2534122890" sldId="343"/>
            <ac:cxnSpMk id="60" creationId="{5878FF01-AC47-2326-762F-04E8277FF400}"/>
          </ac:cxnSpMkLst>
        </pc:cxnChg>
        <pc:cxnChg chg="add mod">
          <ac:chgData name="Nikolaj Godsk Vestergaard" userId="13f6e931-e8bb-4f58-9241-2f10614c3355" providerId="ADAL" clId="{26E3B360-BE45-4C46-AA2F-A6EE35AB50A4}" dt="2023-03-23T18:18:58.260" v="1564" actId="164"/>
          <ac:cxnSpMkLst>
            <pc:docMk/>
            <pc:sldMk cId="2534122890" sldId="343"/>
            <ac:cxnSpMk id="62" creationId="{F051299C-EF30-923A-93E2-1D3F7C116C3F}"/>
          </ac:cxnSpMkLst>
        </pc:cxnChg>
        <pc:cxnChg chg="add mod">
          <ac:chgData name="Nikolaj Godsk Vestergaard" userId="13f6e931-e8bb-4f58-9241-2f10614c3355" providerId="ADAL" clId="{26E3B360-BE45-4C46-AA2F-A6EE35AB50A4}" dt="2023-03-23T18:18:58.260" v="1564" actId="164"/>
          <ac:cxnSpMkLst>
            <pc:docMk/>
            <pc:sldMk cId="2534122890" sldId="343"/>
            <ac:cxnSpMk id="66" creationId="{3CFEC65E-2D65-86E8-4EAC-510D21EF8E4E}"/>
          </ac:cxnSpMkLst>
        </pc:cxnChg>
        <pc:cxnChg chg="add mod">
          <ac:chgData name="Nikolaj Godsk Vestergaard" userId="13f6e931-e8bb-4f58-9241-2f10614c3355" providerId="ADAL" clId="{26E3B360-BE45-4C46-AA2F-A6EE35AB50A4}" dt="2023-03-23T18:18:58.260" v="1564" actId="164"/>
          <ac:cxnSpMkLst>
            <pc:docMk/>
            <pc:sldMk cId="2534122890" sldId="343"/>
            <ac:cxnSpMk id="75" creationId="{7A123CA1-CB33-CA3F-88BC-500804BC4D6D}"/>
          </ac:cxnSpMkLst>
        </pc:cxnChg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1970458706" sldId="344"/>
        </pc:sldMkLst>
      </pc:sldChg>
      <pc:sldChg chg="addSp delSp modSp new add del mod">
        <pc:chgData name="Nikolaj Godsk Vestergaard" userId="13f6e931-e8bb-4f58-9241-2f10614c3355" providerId="ADAL" clId="{26E3B360-BE45-4C46-AA2F-A6EE35AB50A4}" dt="2023-03-23T18:26:41.108" v="1719" actId="47"/>
        <pc:sldMkLst>
          <pc:docMk/>
          <pc:sldMk cId="3547624632" sldId="344"/>
        </pc:sldMkLst>
        <pc:picChg chg="add del mod">
          <ac:chgData name="Nikolaj Godsk Vestergaard" userId="13f6e931-e8bb-4f58-9241-2f10614c3355" providerId="ADAL" clId="{26E3B360-BE45-4C46-AA2F-A6EE35AB50A4}" dt="2023-03-23T17:58:16.202" v="760" actId="21"/>
          <ac:picMkLst>
            <pc:docMk/>
            <pc:sldMk cId="3547624632" sldId="344"/>
            <ac:picMk id="4" creationId="{81C476AB-CA76-3BDA-88D1-9F7A4F29722D}"/>
          </ac:picMkLst>
        </pc:picChg>
        <pc:cxnChg chg="add del">
          <ac:chgData name="Nikolaj Godsk Vestergaard" userId="13f6e931-e8bb-4f58-9241-2f10614c3355" providerId="ADAL" clId="{26E3B360-BE45-4C46-AA2F-A6EE35AB50A4}" dt="2023-03-23T17:52:09.168" v="739" actId="478"/>
          <ac:cxnSpMkLst>
            <pc:docMk/>
            <pc:sldMk cId="3547624632" sldId="344"/>
            <ac:cxnSpMk id="6" creationId="{FE807A74-7FC6-7695-7C24-5C5F3CC94CC6}"/>
          </ac:cxnSpMkLst>
        </pc:cxnChg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790945661" sldId="345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1584598773" sldId="346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2085250317" sldId="347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3860365020" sldId="348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2523447034" sldId="349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4265384927" sldId="350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2886145505" sldId="351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2460403538" sldId="353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2028763355" sldId="354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2438857049" sldId="355"/>
        </pc:sldMkLst>
      </pc:sldChg>
      <pc:sldChg chg="del">
        <pc:chgData name="Nikolaj Godsk Vestergaard" userId="13f6e931-e8bb-4f58-9241-2f10614c3355" providerId="ADAL" clId="{26E3B360-BE45-4C46-AA2F-A6EE35AB50A4}" dt="2023-03-23T16:40:59.058" v="0" actId="47"/>
        <pc:sldMkLst>
          <pc:docMk/>
          <pc:sldMk cId="3328935215" sldId="356"/>
        </pc:sldMkLst>
      </pc:sldChg>
      <pc:sldChg chg="del">
        <pc:chgData name="Nikolaj Godsk Vestergaard" userId="13f6e931-e8bb-4f58-9241-2f10614c3355" providerId="ADAL" clId="{26E3B360-BE45-4C46-AA2F-A6EE35AB50A4}" dt="2023-03-23T16:41:19.094" v="13" actId="47"/>
        <pc:sldMkLst>
          <pc:docMk/>
          <pc:sldMk cId="1933092816" sldId="357"/>
        </pc:sldMkLst>
      </pc:sldChg>
    </pc:docChg>
  </pc:docChgLst>
  <pc:docChgLst>
    <pc:chgData name="Mia Rytter Lund" userId="fd5a37df-57b5-4ab7-b42f-f051b0300ae8" providerId="ADAL" clId="{3179FB41-91C7-4C01-B06A-ED8A2E3EF62D}"/>
    <pc:docChg chg="undo custSel addSld delSld modSld delMainMaster">
      <pc:chgData name="Mia Rytter Lund" userId="fd5a37df-57b5-4ab7-b42f-f051b0300ae8" providerId="ADAL" clId="{3179FB41-91C7-4C01-B06A-ED8A2E3EF62D}" dt="2023-04-18T07:48:33.422" v="1346" actId="47"/>
      <pc:docMkLst>
        <pc:docMk/>
      </pc:docMkLst>
      <pc:sldChg chg="del">
        <pc:chgData name="Mia Rytter Lund" userId="fd5a37df-57b5-4ab7-b42f-f051b0300ae8" providerId="ADAL" clId="{3179FB41-91C7-4C01-B06A-ED8A2E3EF62D}" dt="2023-04-17T14:19:54.257" v="1343" actId="47"/>
        <pc:sldMkLst>
          <pc:docMk/>
          <pc:sldMk cId="523858196" sldId="257"/>
        </pc:sldMkLst>
      </pc:sldChg>
      <pc:sldChg chg="addSp modSp mod addCm delCm modCm">
        <pc:chgData name="Mia Rytter Lund" userId="fd5a37df-57b5-4ab7-b42f-f051b0300ae8" providerId="ADAL" clId="{3179FB41-91C7-4C01-B06A-ED8A2E3EF62D}" dt="2023-04-17T14:19:40.421" v="1342"/>
        <pc:sldMkLst>
          <pc:docMk/>
          <pc:sldMk cId="664770772" sldId="282"/>
        </pc:sldMkLst>
        <pc:spChg chg="del">
          <ac:chgData name="Mia Rytter Lund" userId="fd5a37df-57b5-4ab7-b42f-f051b0300ae8" providerId="ADAL" clId="{3179FB41-91C7-4C01-B06A-ED8A2E3EF62D}" dt="2023-03-27T14:16:39.629" v="316" actId="478"/>
          <ac:spMkLst>
            <pc:docMk/>
            <pc:sldMk cId="664770772" sldId="282"/>
            <ac:spMk id="3" creationId="{7F11C4B1-B72E-48D0-A5B6-9568A3679DE5}"/>
          </ac:spMkLst>
        </pc:spChg>
        <pc:spChg chg="add del">
          <ac:chgData name="Mia Rytter Lund" userId="fd5a37df-57b5-4ab7-b42f-f051b0300ae8" providerId="ADAL" clId="{3179FB41-91C7-4C01-B06A-ED8A2E3EF62D}" dt="2023-03-27T14:16:48.850" v="319" actId="478"/>
          <ac:spMkLst>
            <pc:docMk/>
            <pc:sldMk cId="664770772" sldId="282"/>
            <ac:spMk id="4" creationId="{92A7FC25-D7DE-647D-8D27-5FD32FF750EE}"/>
          </ac:spMkLst>
        </pc:spChg>
        <pc:spChg chg="add del mod">
          <ac:chgData name="Mia Rytter Lund" userId="fd5a37df-57b5-4ab7-b42f-f051b0300ae8" providerId="ADAL" clId="{3179FB41-91C7-4C01-B06A-ED8A2E3EF62D}" dt="2023-03-27T14:17:24.194" v="331" actId="478"/>
          <ac:spMkLst>
            <pc:docMk/>
            <pc:sldMk cId="664770772" sldId="282"/>
            <ac:spMk id="9" creationId="{D67F4C32-59E1-CDD1-4D89-34ED42B507DB}"/>
          </ac:spMkLst>
        </pc:spChg>
        <pc:spChg chg="add mod">
          <ac:chgData name="Mia Rytter Lund" userId="fd5a37df-57b5-4ab7-b42f-f051b0300ae8" providerId="ADAL" clId="{3179FB41-91C7-4C01-B06A-ED8A2E3EF62D}" dt="2023-03-27T14:18:07.355" v="354" actId="1076"/>
          <ac:spMkLst>
            <pc:docMk/>
            <pc:sldMk cId="664770772" sldId="282"/>
            <ac:spMk id="11" creationId="{D936D440-4ACC-0318-B585-F8763CA6A315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12" creationId="{F6B0B82D-E73F-4EC6-90BE-B597501D4E66}"/>
          </ac:spMkLst>
        </pc:spChg>
        <pc:spChg chg="mod">
          <ac:chgData name="Mia Rytter Lund" userId="fd5a37df-57b5-4ab7-b42f-f051b0300ae8" providerId="ADAL" clId="{3179FB41-91C7-4C01-B06A-ED8A2E3EF62D}" dt="2023-04-17T14:18:22.647" v="1333" actId="404"/>
          <ac:spMkLst>
            <pc:docMk/>
            <pc:sldMk cId="664770772" sldId="282"/>
            <ac:spMk id="13" creationId="{C8A5AC54-D0B6-F412-E3BC-1419EB83BBC4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23" creationId="{57ACBC87-E3D0-4055-AFA3-D525DACE6B24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24" creationId="{081E42F1-6640-49C2-88EF-65978DF23CF4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25" creationId="{D1130E9D-2AD6-4D83-B3FC-46CC500CD647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26" creationId="{37E79FC8-295A-4E13-B776-560F812CD1DA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27" creationId="{FFDAC8C3-C0CC-44E2-8C06-6C64644DEB32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28" creationId="{9248BF57-604A-4E43-BE47-05EB97D2683A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29" creationId="{FECC70BE-8BBB-4064-A561-14414239F1D5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30" creationId="{A42D42B3-48F0-4D50-97C3-3AF6E95B6D64}"/>
          </ac:spMkLst>
        </pc:spChg>
        <pc:spChg chg="del">
          <ac:chgData name="Mia Rytter Lund" userId="fd5a37df-57b5-4ab7-b42f-f051b0300ae8" providerId="ADAL" clId="{3179FB41-91C7-4C01-B06A-ED8A2E3EF62D}" dt="2023-03-27T14:17:21.075" v="329" actId="478"/>
          <ac:spMkLst>
            <pc:docMk/>
            <pc:sldMk cId="664770772" sldId="282"/>
            <ac:spMk id="38" creationId="{4F3661DE-76F9-4145-B466-3882EA9EC890}"/>
          </ac:spMkLst>
        </pc:spChg>
        <pc:spChg chg="mod">
          <ac:chgData name="Mia Rytter Lund" userId="fd5a37df-57b5-4ab7-b42f-f051b0300ae8" providerId="ADAL" clId="{3179FB41-91C7-4C01-B06A-ED8A2E3EF62D}" dt="2023-03-27T14:15:35.159" v="279" actId="208"/>
          <ac:spMkLst>
            <pc:docMk/>
            <pc:sldMk cId="664770772" sldId="282"/>
            <ac:spMk id="49" creationId="{54586800-602F-4AB2-8EB6-CC44D53C5235}"/>
          </ac:spMkLst>
        </pc:spChg>
        <pc:spChg chg="mod">
          <ac:chgData name="Mia Rytter Lund" userId="fd5a37df-57b5-4ab7-b42f-f051b0300ae8" providerId="ADAL" clId="{3179FB41-91C7-4C01-B06A-ED8A2E3EF62D}" dt="2023-03-27T14:17:08.974" v="326" actId="255"/>
          <ac:spMkLst>
            <pc:docMk/>
            <pc:sldMk cId="664770772" sldId="282"/>
            <ac:spMk id="80" creationId="{0C8546AB-E152-4035-8674-FEE4057126B4}"/>
          </ac:spMkLst>
        </pc:spChg>
        <pc:spChg chg="mod">
          <ac:chgData name="Mia Rytter Lund" userId="fd5a37df-57b5-4ab7-b42f-f051b0300ae8" providerId="ADAL" clId="{3179FB41-91C7-4C01-B06A-ED8A2E3EF62D}" dt="2023-03-27T14:15:39.030" v="280" actId="207"/>
          <ac:spMkLst>
            <pc:docMk/>
            <pc:sldMk cId="664770772" sldId="282"/>
            <ac:spMk id="167" creationId="{B94BC988-DE03-4603-B244-B85E0BBEE576}"/>
          </ac:spMkLst>
        </pc:spChg>
        <pc:spChg chg="mod">
          <ac:chgData name="Mia Rytter Lund" userId="fd5a37df-57b5-4ab7-b42f-f051b0300ae8" providerId="ADAL" clId="{3179FB41-91C7-4C01-B06A-ED8A2E3EF62D}" dt="2023-03-27T14:16:21.834" v="312" actId="208"/>
          <ac:spMkLst>
            <pc:docMk/>
            <pc:sldMk cId="664770772" sldId="282"/>
            <ac:spMk id="198" creationId="{BAC975C9-9791-4552-8DB7-4C15EF2F10A2}"/>
          </ac:spMkLst>
        </pc:spChg>
        <pc:spChg chg="mod">
          <ac:chgData name="Mia Rytter Lund" userId="fd5a37df-57b5-4ab7-b42f-f051b0300ae8" providerId="ADAL" clId="{3179FB41-91C7-4C01-B06A-ED8A2E3EF62D}" dt="2023-03-27T14:17:17.550" v="328" actId="255"/>
          <ac:spMkLst>
            <pc:docMk/>
            <pc:sldMk cId="664770772" sldId="282"/>
            <ac:spMk id="203" creationId="{66CDF153-F996-40F6-9E1A-46C4C9477F90}"/>
          </ac:spMkLst>
        </pc:spChg>
        <pc:spChg chg="mod">
          <ac:chgData name="Mia Rytter Lund" userId="fd5a37df-57b5-4ab7-b42f-f051b0300ae8" providerId="ADAL" clId="{3179FB41-91C7-4C01-B06A-ED8A2E3EF62D}" dt="2023-03-27T14:16:50.750" v="320"/>
          <ac:spMkLst>
            <pc:docMk/>
            <pc:sldMk cId="664770772" sldId="282"/>
            <ac:spMk id="204" creationId="{63A125C2-CE39-4851-A7FF-7438BC7B86BF}"/>
          </ac:spMkLst>
        </pc:spChg>
        <pc:spChg chg="mod">
          <ac:chgData name="Mia Rytter Lund" userId="fd5a37df-57b5-4ab7-b42f-f051b0300ae8" providerId="ADAL" clId="{3179FB41-91C7-4C01-B06A-ED8A2E3EF62D}" dt="2023-03-27T14:17:12.333" v="327" actId="255"/>
          <ac:spMkLst>
            <pc:docMk/>
            <pc:sldMk cId="664770772" sldId="282"/>
            <ac:spMk id="205" creationId="{44F6CD6E-5F40-45AB-929A-DBCC531073F9}"/>
          </ac:spMkLst>
        </pc:spChg>
        <pc:picChg chg="add mod">
          <ac:chgData name="Mia Rytter Lund" userId="fd5a37df-57b5-4ab7-b42f-f051b0300ae8" providerId="ADAL" clId="{3179FB41-91C7-4C01-B06A-ED8A2E3EF62D}" dt="2023-04-17T14:19:30.936" v="1338" actId="1076"/>
          <ac:picMkLst>
            <pc:docMk/>
            <pc:sldMk cId="664770772" sldId="282"/>
            <ac:picMk id="4" creationId="{E0DA8A90-9F2D-AC6C-1F66-9E31258F58DC}"/>
          </ac:picMkLst>
        </pc:picChg>
        <pc:picChg chg="add mod">
          <ac:chgData name="Mia Rytter Lund" userId="fd5a37df-57b5-4ab7-b42f-f051b0300ae8" providerId="ADAL" clId="{3179FB41-91C7-4C01-B06A-ED8A2E3EF62D}" dt="2023-04-17T14:19:35.463" v="1340" actId="1076"/>
          <ac:picMkLst>
            <pc:docMk/>
            <pc:sldMk cId="664770772" sldId="282"/>
            <ac:picMk id="6" creationId="{0BD185E9-7F01-B6E9-5B9E-06923B01D3F1}"/>
          </ac:picMkLst>
        </pc:picChg>
        <pc:picChg chg="del">
          <ac:chgData name="Mia Rytter Lund" userId="fd5a37df-57b5-4ab7-b42f-f051b0300ae8" providerId="ADAL" clId="{3179FB41-91C7-4C01-B06A-ED8A2E3EF62D}" dt="2023-03-27T14:17:22.211" v="330" actId="478"/>
          <ac:picMkLst>
            <pc:docMk/>
            <pc:sldMk cId="664770772" sldId="282"/>
            <ac:picMk id="8" creationId="{C994734B-F4BA-490A-9A26-136540AEF332}"/>
          </ac:picMkLst>
        </pc:picChg>
        <pc:picChg chg="mod">
          <ac:chgData name="Mia Rytter Lund" userId="fd5a37df-57b5-4ab7-b42f-f051b0300ae8" providerId="ADAL" clId="{3179FB41-91C7-4C01-B06A-ED8A2E3EF62D}" dt="2023-03-27T14:16:17.813" v="311" actId="207"/>
          <ac:picMkLst>
            <pc:docMk/>
            <pc:sldMk cId="664770772" sldId="282"/>
            <ac:picMk id="16" creationId="{56580945-B891-4A52-825F-56EAD74C464A}"/>
          </ac:picMkLst>
        </pc:picChg>
        <pc:picChg chg="mod">
          <ac:chgData name="Mia Rytter Lund" userId="fd5a37df-57b5-4ab7-b42f-f051b0300ae8" providerId="ADAL" clId="{3179FB41-91C7-4C01-B06A-ED8A2E3EF62D}" dt="2023-03-27T14:16:17.813" v="311" actId="207"/>
          <ac:picMkLst>
            <pc:docMk/>
            <pc:sldMk cId="664770772" sldId="282"/>
            <ac:picMk id="169" creationId="{EEC513F4-7424-4C8B-A956-015437FB2C38}"/>
          </ac:picMkLst>
        </pc:picChg>
        <pc:picChg chg="mod">
          <ac:chgData name="Mia Rytter Lund" userId="fd5a37df-57b5-4ab7-b42f-f051b0300ae8" providerId="ADAL" clId="{3179FB41-91C7-4C01-B06A-ED8A2E3EF62D}" dt="2023-03-27T14:16:17.813" v="311" actId="207"/>
          <ac:picMkLst>
            <pc:docMk/>
            <pc:sldMk cId="664770772" sldId="282"/>
            <ac:picMk id="175" creationId="{599430DF-CF09-4E2F-802B-F5A9783FAAAE}"/>
          </ac:picMkLst>
        </pc:picChg>
        <pc:picChg chg="mod">
          <ac:chgData name="Mia Rytter Lund" userId="fd5a37df-57b5-4ab7-b42f-f051b0300ae8" providerId="ADAL" clId="{3179FB41-91C7-4C01-B06A-ED8A2E3EF62D}" dt="2023-03-27T14:16:17.813" v="311" actId="207"/>
          <ac:picMkLst>
            <pc:docMk/>
            <pc:sldMk cId="664770772" sldId="282"/>
            <ac:picMk id="176" creationId="{6D0E1AC0-DBFA-445A-B6E5-7B59AD606846}"/>
          </ac:picMkLst>
        </pc:picChg>
        <pc:picChg chg="mod">
          <ac:chgData name="Mia Rytter Lund" userId="fd5a37df-57b5-4ab7-b42f-f051b0300ae8" providerId="ADAL" clId="{3179FB41-91C7-4C01-B06A-ED8A2E3EF62D}" dt="2023-03-27T14:16:17.813" v="311" actId="207"/>
          <ac:picMkLst>
            <pc:docMk/>
            <pc:sldMk cId="664770772" sldId="282"/>
            <ac:picMk id="178" creationId="{7353244A-D558-436C-B87F-98C0954949D0}"/>
          </ac:picMkLst>
        </pc:picChg>
        <pc:cxnChg chg="mod">
          <ac:chgData name="Mia Rytter Lund" userId="fd5a37df-57b5-4ab7-b42f-f051b0300ae8" providerId="ADAL" clId="{3179FB41-91C7-4C01-B06A-ED8A2E3EF62D}" dt="2023-03-27T14:15:50.683" v="281" actId="208"/>
          <ac:cxnSpMkLst>
            <pc:docMk/>
            <pc:sldMk cId="664770772" sldId="282"/>
            <ac:cxnSpMk id="5" creationId="{7FAEF074-A579-432E-90D5-356E6DAC19D7}"/>
          </ac:cxnSpMkLst>
        </pc:cxnChg>
        <pc:cxnChg chg="mod">
          <ac:chgData name="Mia Rytter Lund" userId="fd5a37df-57b5-4ab7-b42f-f051b0300ae8" providerId="ADAL" clId="{3179FB41-91C7-4C01-B06A-ED8A2E3EF62D}" dt="2023-03-27T14:15:50.683" v="281" actId="208"/>
          <ac:cxnSpMkLst>
            <pc:docMk/>
            <pc:sldMk cId="664770772" sldId="282"/>
            <ac:cxnSpMk id="7" creationId="{44849827-578B-4326-B7C6-03D23429F059}"/>
          </ac:cxnSpMkLst>
        </pc:cxnChg>
        <pc:cxnChg chg="mod">
          <ac:chgData name="Mia Rytter Lund" userId="fd5a37df-57b5-4ab7-b42f-f051b0300ae8" providerId="ADAL" clId="{3179FB41-91C7-4C01-B06A-ED8A2E3EF62D}" dt="2023-03-27T14:15:50.683" v="281" actId="208"/>
          <ac:cxnSpMkLst>
            <pc:docMk/>
            <pc:sldMk cId="664770772" sldId="282"/>
            <ac:cxnSpMk id="10" creationId="{A7F1D145-7539-4815-AA8A-3E15033C854E}"/>
          </ac:cxnSpMkLst>
        </pc:cxnChg>
        <pc:cxnChg chg="mod">
          <ac:chgData name="Mia Rytter Lund" userId="fd5a37df-57b5-4ab7-b42f-f051b0300ae8" providerId="ADAL" clId="{3179FB41-91C7-4C01-B06A-ED8A2E3EF62D}" dt="2023-03-27T14:15:50.683" v="281" actId="208"/>
          <ac:cxnSpMkLst>
            <pc:docMk/>
            <pc:sldMk cId="664770772" sldId="282"/>
            <ac:cxnSpMk id="168" creationId="{A6D75827-D932-4300-A022-E24BDE0C9741}"/>
          </ac:cxnSpMkLst>
        </pc:cxnChg>
        <pc:cxnChg chg="mod">
          <ac:chgData name="Mia Rytter Lund" userId="fd5a37df-57b5-4ab7-b42f-f051b0300ae8" providerId="ADAL" clId="{3179FB41-91C7-4C01-B06A-ED8A2E3EF62D}" dt="2023-03-27T14:15:50.683" v="281" actId="208"/>
          <ac:cxnSpMkLst>
            <pc:docMk/>
            <pc:sldMk cId="664770772" sldId="282"/>
            <ac:cxnSpMk id="179" creationId="{F3A97D36-FD07-4F5B-9127-6E63AE5A176C}"/>
          </ac:cxnSpMkLst>
        </pc:cxnChg>
      </pc:sldChg>
      <pc:sldChg chg="addSp delSp modSp del mod addCm delCm modCm">
        <pc:chgData name="Mia Rytter Lund" userId="fd5a37df-57b5-4ab7-b42f-f051b0300ae8" providerId="ADAL" clId="{3179FB41-91C7-4C01-B06A-ED8A2E3EF62D}" dt="2023-04-18T07:48:33.422" v="1346" actId="47"/>
        <pc:sldMkLst>
          <pc:docMk/>
          <pc:sldMk cId="3461901739" sldId="340"/>
        </pc:sldMkLst>
        <pc:spChg chg="mod">
          <ac:chgData name="Mia Rytter Lund" userId="fd5a37df-57b5-4ab7-b42f-f051b0300ae8" providerId="ADAL" clId="{3179FB41-91C7-4C01-B06A-ED8A2E3EF62D}" dt="2023-03-27T14:06:28.857" v="2" actId="1076"/>
          <ac:spMkLst>
            <pc:docMk/>
            <pc:sldMk cId="3461901739" sldId="340"/>
            <ac:spMk id="2" creationId="{FBF23CCB-993C-1E32-957D-D676870DD7F8}"/>
          </ac:spMkLst>
        </pc:spChg>
        <pc:spChg chg="del">
          <ac:chgData name="Mia Rytter Lund" userId="fd5a37df-57b5-4ab7-b42f-f051b0300ae8" providerId="ADAL" clId="{3179FB41-91C7-4C01-B06A-ED8A2E3EF62D}" dt="2023-03-27T14:10:27.494" v="219" actId="478"/>
          <ac:spMkLst>
            <pc:docMk/>
            <pc:sldMk cId="3461901739" sldId="340"/>
            <ac:spMk id="4" creationId="{61BC663F-6158-52D0-3CFD-89A817B4A564}"/>
          </ac:spMkLst>
        </pc:spChg>
        <pc:spChg chg="mod">
          <ac:chgData name="Mia Rytter Lund" userId="fd5a37df-57b5-4ab7-b42f-f051b0300ae8" providerId="ADAL" clId="{3179FB41-91C7-4C01-B06A-ED8A2E3EF62D}" dt="2023-04-17T14:07:16.103" v="744" actId="6549"/>
          <ac:spMkLst>
            <pc:docMk/>
            <pc:sldMk cId="3461901739" sldId="340"/>
            <ac:spMk id="7" creationId="{912B9C44-23D2-886D-DD1F-57F92F8599C5}"/>
          </ac:spMkLst>
        </pc:spChg>
        <pc:spChg chg="mod">
          <ac:chgData name="Mia Rytter Lund" userId="fd5a37df-57b5-4ab7-b42f-f051b0300ae8" providerId="ADAL" clId="{3179FB41-91C7-4C01-B06A-ED8A2E3EF62D}" dt="2023-04-17T14:06:34.334" v="736" actId="20577"/>
          <ac:spMkLst>
            <pc:docMk/>
            <pc:sldMk cId="3461901739" sldId="340"/>
            <ac:spMk id="9" creationId="{1A4E5ACC-87FE-C968-39BC-FF7815EE2273}"/>
          </ac:spMkLst>
        </pc:spChg>
        <pc:spChg chg="mod">
          <ac:chgData name="Mia Rytter Lund" userId="fd5a37df-57b5-4ab7-b42f-f051b0300ae8" providerId="ADAL" clId="{3179FB41-91C7-4C01-B06A-ED8A2E3EF62D}" dt="2023-04-17T14:08:02.236" v="768" actId="6549"/>
          <ac:spMkLst>
            <pc:docMk/>
            <pc:sldMk cId="3461901739" sldId="340"/>
            <ac:spMk id="11" creationId="{55CE6EB4-5D15-C5D1-F1B6-C8ACA3BBA3E9}"/>
          </ac:spMkLst>
        </pc:spChg>
        <pc:spChg chg="add mod">
          <ac:chgData name="Mia Rytter Lund" userId="fd5a37df-57b5-4ab7-b42f-f051b0300ae8" providerId="ADAL" clId="{3179FB41-91C7-4C01-B06A-ED8A2E3EF62D}" dt="2023-04-17T14:02:42.551" v="495" actId="20577"/>
          <ac:spMkLst>
            <pc:docMk/>
            <pc:sldMk cId="3461901739" sldId="340"/>
            <ac:spMk id="12" creationId="{1DC29576-9F86-AF99-2E14-0E7B1B023D86}"/>
          </ac:spMkLst>
        </pc:spChg>
        <pc:spChg chg="add del mod">
          <ac:chgData name="Mia Rytter Lund" userId="fd5a37df-57b5-4ab7-b42f-f051b0300ae8" providerId="ADAL" clId="{3179FB41-91C7-4C01-B06A-ED8A2E3EF62D}" dt="2023-03-27T14:15:09.840" v="276"/>
          <ac:spMkLst>
            <pc:docMk/>
            <pc:sldMk cId="3461901739" sldId="340"/>
            <ac:spMk id="13" creationId="{05DBD564-F19E-401D-8896-F141A956D2DD}"/>
          </ac:spMkLst>
        </pc:spChg>
        <pc:spChg chg="mod">
          <ac:chgData name="Mia Rytter Lund" userId="fd5a37df-57b5-4ab7-b42f-f051b0300ae8" providerId="ADAL" clId="{3179FB41-91C7-4C01-B06A-ED8A2E3EF62D}" dt="2023-04-17T14:09:58.428" v="835" actId="20577"/>
          <ac:spMkLst>
            <pc:docMk/>
            <pc:sldMk cId="3461901739" sldId="340"/>
            <ac:spMk id="14" creationId="{360A9ADF-0E8F-44B0-AEAA-C3217F82A17D}"/>
          </ac:spMkLst>
        </pc:spChg>
        <pc:spChg chg="mod">
          <ac:chgData name="Mia Rytter Lund" userId="fd5a37df-57b5-4ab7-b42f-f051b0300ae8" providerId="ADAL" clId="{3179FB41-91C7-4C01-B06A-ED8A2E3EF62D}" dt="2023-04-17T14:15:15.304" v="1126" actId="2711"/>
          <ac:spMkLst>
            <pc:docMk/>
            <pc:sldMk cId="3461901739" sldId="340"/>
            <ac:spMk id="15" creationId="{15AE61C9-12CC-DF88-5C79-ABD5A71E76AA}"/>
          </ac:spMkLst>
        </pc:spChg>
        <pc:spChg chg="mod">
          <ac:chgData name="Mia Rytter Lund" userId="fd5a37df-57b5-4ab7-b42f-f051b0300ae8" providerId="ADAL" clId="{3179FB41-91C7-4C01-B06A-ED8A2E3EF62D}" dt="2023-04-17T14:16:13.785" v="1132" actId="6549"/>
          <ac:spMkLst>
            <pc:docMk/>
            <pc:sldMk cId="3461901739" sldId="340"/>
            <ac:spMk id="16" creationId="{D7932C8B-52A0-D6A8-4A40-4A8402D00A3C}"/>
          </ac:spMkLst>
        </pc:spChg>
        <pc:spChg chg="mod">
          <ac:chgData name="Mia Rytter Lund" userId="fd5a37df-57b5-4ab7-b42f-f051b0300ae8" providerId="ADAL" clId="{3179FB41-91C7-4C01-B06A-ED8A2E3EF62D}" dt="2023-04-17T14:15:15.304" v="1126" actId="2711"/>
          <ac:spMkLst>
            <pc:docMk/>
            <pc:sldMk cId="3461901739" sldId="340"/>
            <ac:spMk id="18" creationId="{4E3D6A7D-BB1C-C408-0F31-0C277155A9BE}"/>
          </ac:spMkLst>
        </pc:spChg>
        <pc:spChg chg="mod">
          <ac:chgData name="Mia Rytter Lund" userId="fd5a37df-57b5-4ab7-b42f-f051b0300ae8" providerId="ADAL" clId="{3179FB41-91C7-4C01-B06A-ED8A2E3EF62D}" dt="2023-04-17T14:06:51.182" v="737" actId="403"/>
          <ac:spMkLst>
            <pc:docMk/>
            <pc:sldMk cId="3461901739" sldId="340"/>
            <ac:spMk id="19" creationId="{590A113A-7784-D98C-CB3E-76911B81BF60}"/>
          </ac:spMkLst>
        </pc:spChg>
        <pc:spChg chg="mod">
          <ac:chgData name="Mia Rytter Lund" userId="fd5a37df-57b5-4ab7-b42f-f051b0300ae8" providerId="ADAL" clId="{3179FB41-91C7-4C01-B06A-ED8A2E3EF62D}" dt="2023-04-17T14:16:12.885" v="1131" actId="1076"/>
          <ac:spMkLst>
            <pc:docMk/>
            <pc:sldMk cId="3461901739" sldId="340"/>
            <ac:spMk id="50" creationId="{39F0A921-56B5-73E9-77BF-99DCAAACF355}"/>
          </ac:spMkLst>
        </pc:spChg>
        <pc:spChg chg="mod">
          <ac:chgData name="Mia Rytter Lund" userId="fd5a37df-57b5-4ab7-b42f-f051b0300ae8" providerId="ADAL" clId="{3179FB41-91C7-4C01-B06A-ED8A2E3EF62D}" dt="2023-04-17T14:16:12.252" v="1130" actId="1076"/>
          <ac:spMkLst>
            <pc:docMk/>
            <pc:sldMk cId="3461901739" sldId="340"/>
            <ac:spMk id="62" creationId="{8AF84851-0492-FEF4-2F89-F75C3C6E28F4}"/>
          </ac:spMkLst>
        </pc:spChg>
        <pc:spChg chg="mod">
          <ac:chgData name="Mia Rytter Lund" userId="fd5a37df-57b5-4ab7-b42f-f051b0300ae8" providerId="ADAL" clId="{3179FB41-91C7-4C01-B06A-ED8A2E3EF62D}" dt="2023-04-17T14:15:15.304" v="1126" actId="2711"/>
          <ac:spMkLst>
            <pc:docMk/>
            <pc:sldMk cId="3461901739" sldId="340"/>
            <ac:spMk id="65" creationId="{20320C5D-3947-DB90-3B37-284B51331045}"/>
          </ac:spMkLst>
        </pc:spChg>
        <pc:spChg chg="mod">
          <ac:chgData name="Mia Rytter Lund" userId="fd5a37df-57b5-4ab7-b42f-f051b0300ae8" providerId="ADAL" clId="{3179FB41-91C7-4C01-B06A-ED8A2E3EF62D}" dt="2023-03-27T14:06:28.857" v="2" actId="1076"/>
          <ac:spMkLst>
            <pc:docMk/>
            <pc:sldMk cId="3461901739" sldId="340"/>
            <ac:spMk id="90" creationId="{166F97EE-A1F2-78F5-68CF-EE51E40D4931}"/>
          </ac:spMkLst>
        </pc:spChg>
        <pc:spChg chg="mod">
          <ac:chgData name="Mia Rytter Lund" userId="fd5a37df-57b5-4ab7-b42f-f051b0300ae8" providerId="ADAL" clId="{3179FB41-91C7-4C01-B06A-ED8A2E3EF62D}" dt="2023-04-17T14:15:15.304" v="1126" actId="2711"/>
          <ac:spMkLst>
            <pc:docMk/>
            <pc:sldMk cId="3461901739" sldId="340"/>
            <ac:spMk id="91" creationId="{F91F565E-38F1-BA0D-8745-3F401D2249CE}"/>
          </ac:spMkLst>
        </pc:spChg>
        <pc:grpChg chg="mod">
          <ac:chgData name="Mia Rytter Lund" userId="fd5a37df-57b5-4ab7-b42f-f051b0300ae8" providerId="ADAL" clId="{3179FB41-91C7-4C01-B06A-ED8A2E3EF62D}" dt="2023-03-27T14:04:20.153" v="0" actId="14100"/>
          <ac:grpSpMkLst>
            <pc:docMk/>
            <pc:sldMk cId="3461901739" sldId="340"/>
            <ac:grpSpMk id="23" creationId="{29FFB20A-1EE4-6C28-D6E2-37E16000A28F}"/>
          </ac:grpSpMkLst>
        </pc:grpChg>
        <pc:grpChg chg="mod">
          <ac:chgData name="Mia Rytter Lund" userId="fd5a37df-57b5-4ab7-b42f-f051b0300ae8" providerId="ADAL" clId="{3179FB41-91C7-4C01-B06A-ED8A2E3EF62D}" dt="2023-03-27T14:06:28.857" v="2" actId="1076"/>
          <ac:grpSpMkLst>
            <pc:docMk/>
            <pc:sldMk cId="3461901739" sldId="340"/>
            <ac:grpSpMk id="32" creationId="{CD6F1DF0-14E6-BB0F-5C77-6B1AE33E92A0}"/>
          </ac:grpSpMkLst>
        </pc:grpChg>
        <pc:grpChg chg="mod">
          <ac:chgData name="Mia Rytter Lund" userId="fd5a37df-57b5-4ab7-b42f-f051b0300ae8" providerId="ADAL" clId="{3179FB41-91C7-4C01-B06A-ED8A2E3EF62D}" dt="2023-03-27T14:06:54.578" v="5" actId="1076"/>
          <ac:grpSpMkLst>
            <pc:docMk/>
            <pc:sldMk cId="3461901739" sldId="340"/>
            <ac:grpSpMk id="87" creationId="{BBD09B3D-4BCF-B9CB-285E-AE0074CC414D}"/>
          </ac:grpSpMkLst>
        </pc:grpChg>
        <pc:picChg chg="mod">
          <ac:chgData name="Mia Rytter Lund" userId="fd5a37df-57b5-4ab7-b42f-f051b0300ae8" providerId="ADAL" clId="{3179FB41-91C7-4C01-B06A-ED8A2E3EF62D}" dt="2023-04-17T14:16:12.885" v="1131" actId="1076"/>
          <ac:picMkLst>
            <pc:docMk/>
            <pc:sldMk cId="3461901739" sldId="340"/>
            <ac:picMk id="49" creationId="{4FB02605-6684-98BE-1273-976384127696}"/>
          </ac:picMkLst>
        </pc:picChg>
        <pc:cxnChg chg="mod">
          <ac:chgData name="Mia Rytter Lund" userId="fd5a37df-57b5-4ab7-b42f-f051b0300ae8" providerId="ADAL" clId="{3179FB41-91C7-4C01-B06A-ED8A2E3EF62D}" dt="2023-04-17T14:16:12.885" v="1131" actId="1076"/>
          <ac:cxnSpMkLst>
            <pc:docMk/>
            <pc:sldMk cId="3461901739" sldId="340"/>
            <ac:cxnSpMk id="53" creationId="{507B2027-9956-4148-DE4F-6612A7246134}"/>
          </ac:cxnSpMkLst>
        </pc:cxnChg>
      </pc:sldChg>
      <pc:sldChg chg="new del">
        <pc:chgData name="Mia Rytter Lund" userId="fd5a37df-57b5-4ab7-b42f-f051b0300ae8" providerId="ADAL" clId="{3179FB41-91C7-4C01-B06A-ED8A2E3EF62D}" dt="2023-03-27T14:09:51.756" v="213" actId="47"/>
        <pc:sldMkLst>
          <pc:docMk/>
          <pc:sldMk cId="1480302796" sldId="341"/>
        </pc:sldMkLst>
      </pc:sldChg>
      <pc:sldChg chg="modSp add del mod setBg">
        <pc:chgData name="Mia Rytter Lund" userId="fd5a37df-57b5-4ab7-b42f-f051b0300ae8" providerId="ADAL" clId="{3179FB41-91C7-4C01-B06A-ED8A2E3EF62D}" dt="2023-03-27T14:10:38.815" v="221" actId="47"/>
        <pc:sldMkLst>
          <pc:docMk/>
          <pc:sldMk cId="2773762820" sldId="341"/>
        </pc:sldMkLst>
        <pc:spChg chg="mod">
          <ac:chgData name="Mia Rytter Lund" userId="fd5a37df-57b5-4ab7-b42f-f051b0300ae8" providerId="ADAL" clId="{3179FB41-91C7-4C01-B06A-ED8A2E3EF62D}" dt="2023-03-27T14:10:17.673" v="218" actId="20577"/>
          <ac:spMkLst>
            <pc:docMk/>
            <pc:sldMk cId="2773762820" sldId="341"/>
            <ac:spMk id="4" creationId="{61BC663F-6158-52D0-3CFD-89A817B4A564}"/>
          </ac:spMkLst>
        </pc:spChg>
      </pc:sldChg>
      <pc:sldChg chg="add del setBg">
        <pc:chgData name="Mia Rytter Lund" userId="fd5a37df-57b5-4ab7-b42f-f051b0300ae8" providerId="ADAL" clId="{3179FB41-91C7-4C01-B06A-ED8A2E3EF62D}" dt="2023-04-18T07:48:31.370" v="1345" actId="47"/>
        <pc:sldMkLst>
          <pc:docMk/>
          <pc:sldMk cId="3565064764" sldId="341"/>
        </pc:sldMkLst>
      </pc:sldChg>
      <pc:sldChg chg="modSp new del mod">
        <pc:chgData name="Mia Rytter Lund" userId="fd5a37df-57b5-4ab7-b42f-f051b0300ae8" providerId="ADAL" clId="{3179FB41-91C7-4C01-B06A-ED8A2E3EF62D}" dt="2023-03-28T08:57:51.941" v="366" actId="47"/>
        <pc:sldMkLst>
          <pc:docMk/>
          <pc:sldMk cId="4199853652" sldId="341"/>
        </pc:sldMkLst>
        <pc:spChg chg="mod">
          <ac:chgData name="Mia Rytter Lund" userId="fd5a37df-57b5-4ab7-b42f-f051b0300ae8" providerId="ADAL" clId="{3179FB41-91C7-4C01-B06A-ED8A2E3EF62D}" dt="2023-03-28T08:57:25.620" v="365" actId="2711"/>
          <ac:spMkLst>
            <pc:docMk/>
            <pc:sldMk cId="4199853652" sldId="341"/>
            <ac:spMk id="2" creationId="{2EB05B51-64FD-ECDC-0344-FE0B9E2231B5}"/>
          </ac:spMkLst>
        </pc:spChg>
      </pc:sldChg>
      <pc:sldChg chg="addSp delSp modSp del mod">
        <pc:chgData name="Mia Rytter Lund" userId="fd5a37df-57b5-4ab7-b42f-f051b0300ae8" providerId="ADAL" clId="{3179FB41-91C7-4C01-B06A-ED8A2E3EF62D}" dt="2023-03-27T14:15:17.643" v="278" actId="47"/>
        <pc:sldMkLst>
          <pc:docMk/>
          <pc:sldMk cId="1774330186" sldId="342"/>
        </pc:sldMkLst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2" creationId="{FBF23CCB-993C-1E32-957D-D676870DD7F8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3" creationId="{6E834057-EF3D-96DF-1174-15FA6F553EE2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6" creationId="{C4EC46CE-3886-090C-4684-5B00306F583F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7" creationId="{912B9C44-23D2-886D-DD1F-57F92F8599C5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8" creationId="{94A5A96B-276B-2B73-6E1F-764964CFDE7C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9" creationId="{1A4E5ACC-87FE-C968-39BC-FF7815EE2273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11" creationId="{55CE6EB4-5D15-C5D1-F1B6-C8ACA3BBA3E9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12" creationId="{1DC29576-9F86-AF99-2E14-0E7B1B023D86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14" creationId="{360A9ADF-0E8F-44B0-AEAA-C3217F82A17D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15" creationId="{15AE61C9-12CC-DF88-5C79-ABD5A71E76AA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20" creationId="{46B5C8FF-9C4B-190C-BF8B-66614F296421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22" creationId="{EAA87F97-0880-991F-0871-63E537C81081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28" creationId="{A7AD4073-7B88-83A3-529B-444103195F8C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29" creationId="{5CB3DAEF-9976-0854-FEA7-88FC4E2E5E52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30" creationId="{2585BEB4-BC4E-DC3A-429B-B31D2C2B83B1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31" creationId="{D35AB18A-BDE0-852D-7FDB-6C01C1D5E96D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46" creationId="{53F0DDC4-DABA-37BA-EAEF-9887DD8D4157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47" creationId="{6BEF243D-AF5E-F9E9-7737-C475E6580AD4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48" creationId="{3FA3DB3A-20C1-563D-C966-5B7781BBB405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49" creationId="{90741307-CC05-D7B0-89DC-428E8AE06759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50" creationId="{A737F243-73F3-53CF-CE81-9430488FBD90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53" creationId="{3E6B1065-92C6-BEF5-A77F-BC0DD8AA8514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54" creationId="{7DC2D223-24CE-8CBF-DB89-10281ED47637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0" creationId="{E587C9D2-A81B-0FB9-26FF-EFCD59F4B8A3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1" creationId="{D0F62711-36B6-CF15-6E55-D1E86DD56E56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2" creationId="{50468983-8E96-968E-C372-72D1ABA7D4F4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3" creationId="{EE6EF70A-4F8D-1E05-AA94-68285372E9B6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4" creationId="{591CA410-871F-4112-2BED-6A5FDFF4C167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5" creationId="{2A2A7F44-AEC1-54A2-C303-2B5EA3672CA2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6" creationId="{53DB8F40-D8D7-8E0A-305A-0D069D1C6CB2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7" creationId="{A4A69323-4818-1DAA-6EDB-60BC9358350D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8" creationId="{91C55351-BFD7-D114-F9C4-3B66612B3E7E}"/>
          </ac:spMkLst>
        </pc:spChg>
        <pc:spChg chg="add del mod">
          <ac:chgData name="Mia Rytter Lund" userId="fd5a37df-57b5-4ab7-b42f-f051b0300ae8" providerId="ADAL" clId="{3179FB41-91C7-4C01-B06A-ED8A2E3EF62D}" dt="2023-03-27T14:14:25.265" v="273" actId="478"/>
          <ac:spMkLst>
            <pc:docMk/>
            <pc:sldMk cId="1774330186" sldId="342"/>
            <ac:spMk id="69" creationId="{0975431C-6A3D-43D9-706D-0C339BE776CA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71" creationId="{D357E015-8B86-3B9A-DCFA-D78869B8562E}"/>
          </ac:spMkLst>
        </pc:spChg>
        <pc:spChg chg="add del mod">
          <ac:chgData name="Mia Rytter Lund" userId="fd5a37df-57b5-4ab7-b42f-f051b0300ae8" providerId="ADAL" clId="{3179FB41-91C7-4C01-B06A-ED8A2E3EF62D}" dt="2023-03-27T14:14:21.659" v="265"/>
          <ac:spMkLst>
            <pc:docMk/>
            <pc:sldMk cId="1774330186" sldId="342"/>
            <ac:spMk id="79" creationId="{CF456F58-5F9A-EFEF-A02A-372E04D4F129}"/>
          </ac:spMkLst>
        </pc:spChg>
        <pc:spChg chg="add del mod">
          <ac:chgData name="Mia Rytter Lund" userId="fd5a37df-57b5-4ab7-b42f-f051b0300ae8" providerId="ADAL" clId="{3179FB41-91C7-4C01-B06A-ED8A2E3EF62D}" dt="2023-03-27T14:14:21.354" v="263"/>
          <ac:spMkLst>
            <pc:docMk/>
            <pc:sldMk cId="1774330186" sldId="342"/>
            <ac:spMk id="80" creationId="{71F6CF6B-C4CE-84AD-76BB-AFCD47D1CCBB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88" creationId="{73604358-AC95-4D74-F80A-ACC403B5B811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89" creationId="{E030F844-B331-32EA-C3CD-D1293BE92218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90" creationId="{166F97EE-A1F2-78F5-68CF-EE51E40D4931}"/>
          </ac:spMkLst>
        </pc:spChg>
        <pc:spChg chg="del">
          <ac:chgData name="Mia Rytter Lund" userId="fd5a37df-57b5-4ab7-b42f-f051b0300ae8" providerId="ADAL" clId="{3179FB41-91C7-4C01-B06A-ED8A2E3EF62D}" dt="2023-03-27T14:10:43.730" v="222" actId="478"/>
          <ac:spMkLst>
            <pc:docMk/>
            <pc:sldMk cId="1774330186" sldId="342"/>
            <ac:spMk id="91" creationId="{F91F565E-38F1-BA0D-8745-3F401D2249CE}"/>
          </ac:spMkLst>
        </pc:spChg>
        <pc:grpChg chg="del">
          <ac:chgData name="Mia Rytter Lund" userId="fd5a37df-57b5-4ab7-b42f-f051b0300ae8" providerId="ADAL" clId="{3179FB41-91C7-4C01-B06A-ED8A2E3EF62D}" dt="2023-03-27T14:10:43.730" v="222" actId="478"/>
          <ac:grpSpMkLst>
            <pc:docMk/>
            <pc:sldMk cId="1774330186" sldId="342"/>
            <ac:grpSpMk id="23" creationId="{29FFB20A-1EE4-6C28-D6E2-37E16000A28F}"/>
          </ac:grpSpMkLst>
        </pc:grpChg>
        <pc:grpChg chg="del">
          <ac:chgData name="Mia Rytter Lund" userId="fd5a37df-57b5-4ab7-b42f-f051b0300ae8" providerId="ADAL" clId="{3179FB41-91C7-4C01-B06A-ED8A2E3EF62D}" dt="2023-03-27T14:10:43.730" v="222" actId="478"/>
          <ac:grpSpMkLst>
            <pc:docMk/>
            <pc:sldMk cId="1774330186" sldId="342"/>
            <ac:grpSpMk id="32" creationId="{CD6F1DF0-14E6-BB0F-5C77-6B1AE33E92A0}"/>
          </ac:grpSpMkLst>
        </pc:grpChg>
        <pc:grpChg chg="del">
          <ac:chgData name="Mia Rytter Lund" userId="fd5a37df-57b5-4ab7-b42f-f051b0300ae8" providerId="ADAL" clId="{3179FB41-91C7-4C01-B06A-ED8A2E3EF62D}" dt="2023-03-27T14:10:43.730" v="222" actId="478"/>
          <ac:grpSpMkLst>
            <pc:docMk/>
            <pc:sldMk cId="1774330186" sldId="342"/>
            <ac:grpSpMk id="59" creationId="{A3984DF9-F5F3-6D6C-ADA2-FF0BD15D7821}"/>
          </ac:grpSpMkLst>
        </pc:grpChg>
        <pc:grpChg chg="del">
          <ac:chgData name="Mia Rytter Lund" userId="fd5a37df-57b5-4ab7-b42f-f051b0300ae8" providerId="ADAL" clId="{3179FB41-91C7-4C01-B06A-ED8A2E3EF62D}" dt="2023-03-27T14:10:43.730" v="222" actId="478"/>
          <ac:grpSpMkLst>
            <pc:docMk/>
            <pc:sldMk cId="1774330186" sldId="342"/>
            <ac:grpSpMk id="87" creationId="{BBD09B3D-4BCF-B9CB-285E-AE0074CC414D}"/>
          </ac:grpSpMkLst>
        </pc:grpChg>
        <pc:grpChg chg="del">
          <ac:chgData name="Mia Rytter Lund" userId="fd5a37df-57b5-4ab7-b42f-f051b0300ae8" providerId="ADAL" clId="{3179FB41-91C7-4C01-B06A-ED8A2E3EF62D}" dt="2023-03-27T14:10:43.730" v="222" actId="478"/>
          <ac:grpSpMkLst>
            <pc:docMk/>
            <pc:sldMk cId="1774330186" sldId="342"/>
            <ac:grpSpMk id="112" creationId="{F4FA5FD1-2B65-21B9-823C-532543E97AAD}"/>
          </ac:grpSpMkLst>
        </pc:grpChg>
        <pc:graphicFrameChg chg="add del mod">
          <ac:chgData name="Mia Rytter Lund" userId="fd5a37df-57b5-4ab7-b42f-f051b0300ae8" providerId="ADAL" clId="{3179FB41-91C7-4C01-B06A-ED8A2E3EF62D}" dt="2023-03-27T14:14:30.061" v="274" actId="478"/>
          <ac:graphicFrameMkLst>
            <pc:docMk/>
            <pc:sldMk cId="1774330186" sldId="342"/>
            <ac:graphicFrameMk id="4" creationId="{1AEA5B90-2E55-2816-75E0-C590CF3035AD}"/>
          </ac:graphicFrameMkLst>
        </pc:graphicFrameChg>
        <pc:graphicFrameChg chg="add del mod">
          <ac:chgData name="Mia Rytter Lund" userId="fd5a37df-57b5-4ab7-b42f-f051b0300ae8" providerId="ADAL" clId="{3179FB41-91C7-4C01-B06A-ED8A2E3EF62D}" dt="2023-03-27T14:11:48.488" v="230" actId="478"/>
          <ac:graphicFrameMkLst>
            <pc:docMk/>
            <pc:sldMk cId="1774330186" sldId="342"/>
            <ac:graphicFrameMk id="13" creationId="{D231665A-11EB-127E-6D42-E48E3F82E187}"/>
          </ac:graphicFrameMkLst>
        </pc:graphicFrameChg>
        <pc:picChg chg="del">
          <ac:chgData name="Mia Rytter Lund" userId="fd5a37df-57b5-4ab7-b42f-f051b0300ae8" providerId="ADAL" clId="{3179FB41-91C7-4C01-B06A-ED8A2E3EF62D}" dt="2023-03-27T14:10:43.730" v="222" actId="478"/>
          <ac:picMkLst>
            <pc:docMk/>
            <pc:sldMk cId="1774330186" sldId="342"/>
            <ac:picMk id="5" creationId="{D5E15494-EE02-511C-24F1-6A26F14E7979}"/>
          </ac:picMkLst>
        </pc:picChg>
        <pc:cxnChg chg="add del mod">
          <ac:chgData name="Mia Rytter Lund" userId="fd5a37df-57b5-4ab7-b42f-f051b0300ae8" providerId="ADAL" clId="{3179FB41-91C7-4C01-B06A-ED8A2E3EF62D}" dt="2023-03-27T14:14:25.265" v="273" actId="478"/>
          <ac:cxnSpMkLst>
            <pc:docMk/>
            <pc:sldMk cId="1774330186" sldId="342"/>
            <ac:cxnSpMk id="16" creationId="{1D9E266D-F287-01C2-D3E5-03180F4E2B9E}"/>
          </ac:cxnSpMkLst>
        </pc:cxnChg>
        <pc:cxnChg chg="add del mod">
          <ac:chgData name="Mia Rytter Lund" userId="fd5a37df-57b5-4ab7-b42f-f051b0300ae8" providerId="ADAL" clId="{3179FB41-91C7-4C01-B06A-ED8A2E3EF62D}" dt="2023-03-27T14:14:25.265" v="273" actId="478"/>
          <ac:cxnSpMkLst>
            <pc:docMk/>
            <pc:sldMk cId="1774330186" sldId="342"/>
            <ac:cxnSpMk id="17" creationId="{D322B743-F75A-AF6E-85FB-00126DF21972}"/>
          </ac:cxnSpMkLst>
        </pc:cxnChg>
        <pc:cxnChg chg="add del mod">
          <ac:chgData name="Mia Rytter Lund" userId="fd5a37df-57b5-4ab7-b42f-f051b0300ae8" providerId="ADAL" clId="{3179FB41-91C7-4C01-B06A-ED8A2E3EF62D}" dt="2023-03-27T14:14:25.265" v="273" actId="478"/>
          <ac:cxnSpMkLst>
            <pc:docMk/>
            <pc:sldMk cId="1774330186" sldId="342"/>
            <ac:cxnSpMk id="18" creationId="{38465462-3830-3429-8C6C-AFD94F902393}"/>
          </ac:cxnSpMkLst>
        </pc:cxnChg>
        <pc:cxnChg chg="add del mod">
          <ac:chgData name="Mia Rytter Lund" userId="fd5a37df-57b5-4ab7-b42f-f051b0300ae8" providerId="ADAL" clId="{3179FB41-91C7-4C01-B06A-ED8A2E3EF62D}" dt="2023-03-27T14:14:25.265" v="273" actId="478"/>
          <ac:cxnSpMkLst>
            <pc:docMk/>
            <pc:sldMk cId="1774330186" sldId="342"/>
            <ac:cxnSpMk id="19" creationId="{5B62A896-3F79-B6B3-9D30-34741E8C5510}"/>
          </ac:cxnSpMkLst>
        </pc:cxnChg>
        <pc:cxnChg chg="add del mod">
          <ac:chgData name="Mia Rytter Lund" userId="fd5a37df-57b5-4ab7-b42f-f051b0300ae8" providerId="ADAL" clId="{3179FB41-91C7-4C01-B06A-ED8A2E3EF62D}" dt="2023-03-27T14:14:25.265" v="273" actId="478"/>
          <ac:cxnSpMkLst>
            <pc:docMk/>
            <pc:sldMk cId="1774330186" sldId="342"/>
            <ac:cxnSpMk id="21" creationId="{1E0CDA96-17B9-944E-7180-D4EB8FA3014B}"/>
          </ac:cxnSpMkLst>
        </pc:cxnChg>
        <pc:cxnChg chg="mod">
          <ac:chgData name="Mia Rytter Lund" userId="fd5a37df-57b5-4ab7-b42f-f051b0300ae8" providerId="ADAL" clId="{3179FB41-91C7-4C01-B06A-ED8A2E3EF62D}" dt="2023-03-27T14:10:43.730" v="222" actId="478"/>
          <ac:cxnSpMkLst>
            <pc:docMk/>
            <pc:sldMk cId="1774330186" sldId="342"/>
            <ac:cxnSpMk id="41" creationId="{3F512529-6B10-C427-A538-A3B152B22145}"/>
          </ac:cxnSpMkLst>
        </pc:cxnChg>
      </pc:sldChg>
      <pc:sldMasterChg chg="del delSldLayout">
        <pc:chgData name="Mia Rytter Lund" userId="fd5a37df-57b5-4ab7-b42f-f051b0300ae8" providerId="ADAL" clId="{3179FB41-91C7-4C01-B06A-ED8A2E3EF62D}" dt="2023-04-17T14:19:54.257" v="1343" actId="47"/>
        <pc:sldMasterMkLst>
          <pc:docMk/>
          <pc:sldMasterMk cId="47375461" sldId="2147483760"/>
        </pc:sldMasterMkLst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2607316376" sldId="2147483761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1578663256" sldId="2147483762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3437411214" sldId="2147483763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717200516" sldId="2147483764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1533374377" sldId="2147483765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477829482" sldId="2147483766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3182887118" sldId="2147483767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965086507" sldId="2147483768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3142719427" sldId="2147483769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3226879632" sldId="2147483770"/>
          </pc:sldLayoutMkLst>
        </pc:sldLayoutChg>
        <pc:sldLayoutChg chg="del">
          <pc:chgData name="Mia Rytter Lund" userId="fd5a37df-57b5-4ab7-b42f-f051b0300ae8" providerId="ADAL" clId="{3179FB41-91C7-4C01-B06A-ED8A2E3EF62D}" dt="2023-04-17T14:19:54.257" v="1343" actId="47"/>
          <pc:sldLayoutMkLst>
            <pc:docMk/>
            <pc:sldMasterMk cId="47375461" sldId="2147483760"/>
            <pc:sldLayoutMk cId="1637591912" sldId="2147483771"/>
          </pc:sldLayoutMkLst>
        </pc:sldLayoutChg>
      </pc:sldMasterChg>
    </pc:docChg>
  </pc:docChgLst>
  <pc:docChgLst>
    <pc:chgData name="Stine Rauff Bommersholdt" userId="bb454674-bbcb-4315-8711-7c6e7a96d6c8" providerId="ADAL" clId="{5FBBCC51-F98C-4284-A536-F3608D429D7E}"/>
    <pc:docChg chg="delSld modSld">
      <pc:chgData name="Stine Rauff Bommersholdt" userId="bb454674-bbcb-4315-8711-7c6e7a96d6c8" providerId="ADAL" clId="{5FBBCC51-F98C-4284-A536-F3608D429D7E}" dt="2022-12-06T11:51:49.028" v="69" actId="729"/>
      <pc:docMkLst>
        <pc:docMk/>
      </pc:docMkLst>
      <pc:sldChg chg="modSp mod">
        <pc:chgData name="Stine Rauff Bommersholdt" userId="bb454674-bbcb-4315-8711-7c6e7a96d6c8" providerId="ADAL" clId="{5FBBCC51-F98C-4284-A536-F3608D429D7E}" dt="2022-12-06T08:15:42.714" v="9" actId="20577"/>
        <pc:sldMkLst>
          <pc:docMk/>
          <pc:sldMk cId="3669439568" sldId="259"/>
        </pc:sldMkLst>
        <pc:spChg chg="mod">
          <ac:chgData name="Stine Rauff Bommersholdt" userId="bb454674-bbcb-4315-8711-7c6e7a96d6c8" providerId="ADAL" clId="{5FBBCC51-F98C-4284-A536-F3608D429D7E}" dt="2022-12-06T08:15:42.714" v="9" actId="20577"/>
          <ac:spMkLst>
            <pc:docMk/>
            <pc:sldMk cId="3669439568" sldId="259"/>
            <ac:spMk id="27" creationId="{6A9ABC2C-E245-4EB4-809E-CEEE46ABED15}"/>
          </ac:spMkLst>
        </pc:spChg>
      </pc:sldChg>
      <pc:sldChg chg="del">
        <pc:chgData name="Stine Rauff Bommersholdt" userId="bb454674-bbcb-4315-8711-7c6e7a96d6c8" providerId="ADAL" clId="{5FBBCC51-F98C-4284-A536-F3608D429D7E}" dt="2022-12-06T08:15:54.653" v="10" actId="47"/>
        <pc:sldMkLst>
          <pc:docMk/>
          <pc:sldMk cId="3124793191" sldId="260"/>
        </pc:sldMkLst>
      </pc:sldChg>
      <pc:sldChg chg="modSp mod">
        <pc:chgData name="Stine Rauff Bommersholdt" userId="bb454674-bbcb-4315-8711-7c6e7a96d6c8" providerId="ADAL" clId="{5FBBCC51-F98C-4284-A536-F3608D429D7E}" dt="2022-12-06T08:16:35.139" v="21" actId="20577"/>
        <pc:sldMkLst>
          <pc:docMk/>
          <pc:sldMk cId="2932001311" sldId="273"/>
        </pc:sldMkLst>
        <pc:spChg chg="mod">
          <ac:chgData name="Stine Rauff Bommersholdt" userId="bb454674-bbcb-4315-8711-7c6e7a96d6c8" providerId="ADAL" clId="{5FBBCC51-F98C-4284-A536-F3608D429D7E}" dt="2022-12-06T08:16:35.139" v="21" actId="20577"/>
          <ac:spMkLst>
            <pc:docMk/>
            <pc:sldMk cId="2932001311" sldId="273"/>
            <ac:spMk id="3" creationId="{2822D710-83C3-41B6-BCD3-E40E2A00814C}"/>
          </ac:spMkLst>
        </pc:spChg>
      </pc:sldChg>
      <pc:sldChg chg="modSp mod">
        <pc:chgData name="Stine Rauff Bommersholdt" userId="bb454674-bbcb-4315-8711-7c6e7a96d6c8" providerId="ADAL" clId="{5FBBCC51-F98C-4284-A536-F3608D429D7E}" dt="2022-12-06T08:16:07.369" v="12" actId="20577"/>
        <pc:sldMkLst>
          <pc:docMk/>
          <pc:sldMk cId="3230653498" sldId="336"/>
        </pc:sldMkLst>
        <pc:spChg chg="mod">
          <ac:chgData name="Stine Rauff Bommersholdt" userId="bb454674-bbcb-4315-8711-7c6e7a96d6c8" providerId="ADAL" clId="{5FBBCC51-F98C-4284-A536-F3608D429D7E}" dt="2022-12-06T08:16:05.180" v="11" actId="20577"/>
          <ac:spMkLst>
            <pc:docMk/>
            <pc:sldMk cId="3230653498" sldId="336"/>
            <ac:spMk id="14" creationId="{777909A1-F8C6-40F1-9E3E-CB3E06556E5B}"/>
          </ac:spMkLst>
        </pc:spChg>
        <pc:spChg chg="mod">
          <ac:chgData name="Stine Rauff Bommersholdt" userId="bb454674-bbcb-4315-8711-7c6e7a96d6c8" providerId="ADAL" clId="{5FBBCC51-F98C-4284-A536-F3608D429D7E}" dt="2022-12-06T08:16:07.369" v="12" actId="20577"/>
          <ac:spMkLst>
            <pc:docMk/>
            <pc:sldMk cId="3230653498" sldId="336"/>
            <ac:spMk id="16" creationId="{2EB15270-045B-4092-AABD-006EB2C62316}"/>
          </ac:spMkLst>
        </pc:spChg>
      </pc:sldChg>
      <pc:sldChg chg="mod modShow">
        <pc:chgData name="Stine Rauff Bommersholdt" userId="bb454674-bbcb-4315-8711-7c6e7a96d6c8" providerId="ADAL" clId="{5FBBCC51-F98C-4284-A536-F3608D429D7E}" dt="2022-12-06T11:51:49.028" v="69" actId="729"/>
        <pc:sldMkLst>
          <pc:docMk/>
          <pc:sldMk cId="1970458706" sldId="344"/>
        </pc:sldMkLst>
      </pc:sldChg>
      <pc:sldChg chg="mod modShow">
        <pc:chgData name="Stine Rauff Bommersholdt" userId="bb454674-bbcb-4315-8711-7c6e7a96d6c8" providerId="ADAL" clId="{5FBBCC51-F98C-4284-A536-F3608D429D7E}" dt="2022-12-06T11:51:27.041" v="65" actId="729"/>
        <pc:sldMkLst>
          <pc:docMk/>
          <pc:sldMk cId="2085250317" sldId="347"/>
        </pc:sldMkLst>
      </pc:sldChg>
      <pc:sldChg chg="mod modShow">
        <pc:chgData name="Stine Rauff Bommersholdt" userId="bb454674-bbcb-4315-8711-7c6e7a96d6c8" providerId="ADAL" clId="{5FBBCC51-F98C-4284-A536-F3608D429D7E}" dt="2022-12-06T11:51:31.094" v="66" actId="729"/>
        <pc:sldMkLst>
          <pc:docMk/>
          <pc:sldMk cId="3860365020" sldId="348"/>
        </pc:sldMkLst>
      </pc:sldChg>
      <pc:sldChg chg="mod modShow">
        <pc:chgData name="Stine Rauff Bommersholdt" userId="bb454674-bbcb-4315-8711-7c6e7a96d6c8" providerId="ADAL" clId="{5FBBCC51-F98C-4284-A536-F3608D429D7E}" dt="2022-12-06T11:51:36.670" v="67" actId="729"/>
        <pc:sldMkLst>
          <pc:docMk/>
          <pc:sldMk cId="2523447034" sldId="349"/>
        </pc:sldMkLst>
      </pc:sldChg>
      <pc:sldChg chg="modSp mod">
        <pc:chgData name="Stine Rauff Bommersholdt" userId="bb454674-bbcb-4315-8711-7c6e7a96d6c8" providerId="ADAL" clId="{5FBBCC51-F98C-4284-A536-F3608D429D7E}" dt="2022-12-06T08:16:57.326" v="64" actId="20577"/>
        <pc:sldMkLst>
          <pc:docMk/>
          <pc:sldMk cId="3328935215" sldId="356"/>
        </pc:sldMkLst>
        <pc:spChg chg="mod">
          <ac:chgData name="Stine Rauff Bommersholdt" userId="bb454674-bbcb-4315-8711-7c6e7a96d6c8" providerId="ADAL" clId="{5FBBCC51-F98C-4284-A536-F3608D429D7E}" dt="2022-12-06T08:16:57.326" v="64" actId="20577"/>
          <ac:spMkLst>
            <pc:docMk/>
            <pc:sldMk cId="3328935215" sldId="356"/>
            <ac:spMk id="4" creationId="{5AED0789-4D1B-4A34-BBD0-9E505DCD61A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61ADCD-0986-466F-BCF4-F14037440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AD45B1-DDA3-4823-B57F-398ED6D7CE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2B987-EC31-4746-B4E6-062CD7AA3A1A}" type="datetime1">
              <a:rPr lang="en-GB" smtClean="0"/>
              <a:t>18/04/2023</a:t>
            </a:fld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B3C53-DC75-4A5C-81E7-5D7CB96E12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6EE6-6533-46A0-A8FB-DBC252423243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B013-C79C-4BAB-9591-CE1E1BF2A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838611-CB23-4A11-B466-01829FB3E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1D025B-ACD2-45C1-B156-1DDB470CE319}" type="slidenum">
              <a:rPr lang="en-GB" smtClean="0"/>
              <a:t>‹#›</a:t>
            </a:fld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F8BE06-C1AD-4FF4-9212-678516BAB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10225-CB48-4A2A-9739-463AD2DBC3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25BBF7-0B0C-48D4-ABAA-EF360EF241C5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668863D3-1D0C-412C-99BB-873840116A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5E44B7E2-ED93-42BE-81A6-FE398D91C1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691570-C65F-4C66-9CB2-8798BF7E89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1D025B-ACD2-45C1-B156-1DDB470CE3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5BBF7-0B0C-48D4-ABAA-EF360EF241C5}" type="datetime1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/04/20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250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469570-FFC1-4312-9D9B-935692D88289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2780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1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>
            <a:extLst>
              <a:ext uri="{FF2B5EF4-FFF2-40B4-BE49-F238E27FC236}">
                <a16:creationId xmlns:a16="http://schemas.microsoft.com/office/drawing/2014/main" id="{A100C677-B418-4EDF-ABC6-CE08CDC69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936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8" name="Object 67" hidden="1">
                        <a:extLst>
                          <a:ext uri="{FF2B5EF4-FFF2-40B4-BE49-F238E27FC236}">
                            <a16:creationId xmlns:a16="http://schemas.microsoft.com/office/drawing/2014/main" id="{A100C677-B418-4EDF-ABC6-CE08CDC69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oogle Shape;437;p8">
            <a:extLst>
              <a:ext uri="{FF2B5EF4-FFF2-40B4-BE49-F238E27FC236}">
                <a16:creationId xmlns:a16="http://schemas.microsoft.com/office/drawing/2014/main" id="{DFA3D236-3486-4F19-A7C5-E133BD55CE1C}"/>
              </a:ext>
            </a:extLst>
          </p:cNvPr>
          <p:cNvGrpSpPr/>
          <p:nvPr userDrawn="1"/>
        </p:nvGrpSpPr>
        <p:grpSpPr>
          <a:xfrm>
            <a:off x="-85616" y="5833206"/>
            <a:ext cx="12363231" cy="1214388"/>
            <a:chOff x="-45603" y="440026"/>
            <a:chExt cx="9272423" cy="910791"/>
          </a:xfrm>
        </p:grpSpPr>
        <p:sp>
          <p:nvSpPr>
            <p:cNvPr id="8" name="Google Shape;438;p8">
              <a:extLst>
                <a:ext uri="{FF2B5EF4-FFF2-40B4-BE49-F238E27FC236}">
                  <a16:creationId xmlns:a16="http://schemas.microsoft.com/office/drawing/2014/main" id="{52DDEDDC-15D2-4E4C-901E-42E502E2A8B1}"/>
                </a:ext>
              </a:extLst>
            </p:cNvPr>
            <p:cNvSpPr/>
            <p:nvPr/>
          </p:nvSpPr>
          <p:spPr>
            <a:xfrm>
              <a:off x="2176354" y="708034"/>
              <a:ext cx="281779" cy="397462"/>
            </a:xfrm>
            <a:custGeom>
              <a:avLst/>
              <a:gdLst/>
              <a:ahLst/>
              <a:cxnLst/>
              <a:rect l="l" t="t" r="r" b="b"/>
              <a:pathLst>
                <a:path w="580988" h="819510" extrusionOk="0">
                  <a:moveTo>
                    <a:pt x="261759" y="635000"/>
                  </a:moveTo>
                  <a:cubicBezTo>
                    <a:pt x="260489" y="670560"/>
                    <a:pt x="259854" y="707390"/>
                    <a:pt x="258584" y="743585"/>
                  </a:cubicBezTo>
                  <a:cubicBezTo>
                    <a:pt x="292874" y="774065"/>
                    <a:pt x="337324" y="753745"/>
                    <a:pt x="370344" y="778510"/>
                  </a:cubicBezTo>
                  <a:cubicBezTo>
                    <a:pt x="388124" y="796290"/>
                    <a:pt x="360184" y="805815"/>
                    <a:pt x="345579" y="806450"/>
                  </a:cubicBezTo>
                  <a:cubicBezTo>
                    <a:pt x="281444" y="810895"/>
                    <a:pt x="120154" y="844550"/>
                    <a:pt x="84594" y="782320"/>
                  </a:cubicBezTo>
                  <a:cubicBezTo>
                    <a:pt x="104914" y="743585"/>
                    <a:pt x="160159" y="739140"/>
                    <a:pt x="200164" y="733425"/>
                  </a:cubicBezTo>
                  <a:cubicBezTo>
                    <a:pt x="208419" y="702310"/>
                    <a:pt x="212229" y="670560"/>
                    <a:pt x="214769" y="636905"/>
                  </a:cubicBezTo>
                  <a:cubicBezTo>
                    <a:pt x="180479" y="630555"/>
                    <a:pt x="21729" y="575945"/>
                    <a:pt x="35064" y="537210"/>
                  </a:cubicBezTo>
                  <a:cubicBezTo>
                    <a:pt x="45859" y="514985"/>
                    <a:pt x="66179" y="514985"/>
                    <a:pt x="85864" y="524510"/>
                  </a:cubicBezTo>
                  <a:cubicBezTo>
                    <a:pt x="101739" y="527685"/>
                    <a:pt x="102374" y="527685"/>
                    <a:pt x="110629" y="506730"/>
                  </a:cubicBezTo>
                  <a:cubicBezTo>
                    <a:pt x="-130036" y="377825"/>
                    <a:pt x="62369" y="18415"/>
                    <a:pt x="303034" y="81280"/>
                  </a:cubicBezTo>
                  <a:cubicBezTo>
                    <a:pt x="336054" y="60325"/>
                    <a:pt x="301764" y="19050"/>
                    <a:pt x="337959" y="0"/>
                  </a:cubicBezTo>
                  <a:cubicBezTo>
                    <a:pt x="712609" y="106045"/>
                    <a:pt x="628154" y="591820"/>
                    <a:pt x="261759" y="635000"/>
                  </a:cubicBezTo>
                  <a:close/>
                  <a:moveTo>
                    <a:pt x="499884" y="133350"/>
                  </a:moveTo>
                  <a:cubicBezTo>
                    <a:pt x="496709" y="130810"/>
                    <a:pt x="494169" y="128905"/>
                    <a:pt x="490994" y="126365"/>
                  </a:cubicBezTo>
                  <a:cubicBezTo>
                    <a:pt x="486549" y="104775"/>
                    <a:pt x="434479" y="60960"/>
                    <a:pt x="410349" y="62865"/>
                  </a:cubicBezTo>
                  <a:cubicBezTo>
                    <a:pt x="432574" y="86360"/>
                    <a:pt x="460514" y="116205"/>
                    <a:pt x="490994" y="125730"/>
                  </a:cubicBezTo>
                  <a:cubicBezTo>
                    <a:pt x="496074" y="130810"/>
                    <a:pt x="508774" y="133350"/>
                    <a:pt x="503694" y="142240"/>
                  </a:cubicBezTo>
                  <a:cubicBezTo>
                    <a:pt x="556399" y="230505"/>
                    <a:pt x="555764" y="327025"/>
                    <a:pt x="531634" y="424815"/>
                  </a:cubicBezTo>
                  <a:cubicBezTo>
                    <a:pt x="461784" y="501650"/>
                    <a:pt x="409079" y="557530"/>
                    <a:pt x="303669" y="596265"/>
                  </a:cubicBezTo>
                  <a:cubicBezTo>
                    <a:pt x="379869" y="597535"/>
                    <a:pt x="484644" y="531495"/>
                    <a:pt x="502424" y="456565"/>
                  </a:cubicBezTo>
                  <a:cubicBezTo>
                    <a:pt x="528459" y="450850"/>
                    <a:pt x="532904" y="424180"/>
                    <a:pt x="534174" y="401955"/>
                  </a:cubicBezTo>
                  <a:cubicBezTo>
                    <a:pt x="576719" y="365760"/>
                    <a:pt x="577354" y="186055"/>
                    <a:pt x="515759" y="169545"/>
                  </a:cubicBezTo>
                  <a:cubicBezTo>
                    <a:pt x="510679" y="167005"/>
                    <a:pt x="506234" y="163830"/>
                    <a:pt x="508774" y="156845"/>
                  </a:cubicBezTo>
                  <a:cubicBezTo>
                    <a:pt x="506234" y="149225"/>
                    <a:pt x="503694" y="140970"/>
                    <a:pt x="499884" y="133350"/>
                  </a:cubicBezTo>
                  <a:close/>
                  <a:moveTo>
                    <a:pt x="436384" y="353060"/>
                  </a:moveTo>
                  <a:cubicBezTo>
                    <a:pt x="407174" y="354330"/>
                    <a:pt x="381774" y="360680"/>
                    <a:pt x="357009" y="374650"/>
                  </a:cubicBezTo>
                  <a:cubicBezTo>
                    <a:pt x="315099" y="355600"/>
                    <a:pt x="231914" y="308610"/>
                    <a:pt x="218579" y="382905"/>
                  </a:cubicBezTo>
                  <a:cubicBezTo>
                    <a:pt x="273824" y="443230"/>
                    <a:pt x="255409" y="433070"/>
                    <a:pt x="251599" y="511175"/>
                  </a:cubicBezTo>
                  <a:cubicBezTo>
                    <a:pt x="299224" y="529590"/>
                    <a:pt x="336689" y="398145"/>
                    <a:pt x="367169" y="370205"/>
                  </a:cubicBezTo>
                  <a:cubicBezTo>
                    <a:pt x="385584" y="381635"/>
                    <a:pt x="386854" y="407035"/>
                    <a:pt x="405269" y="418465"/>
                  </a:cubicBezTo>
                  <a:cubicBezTo>
                    <a:pt x="433844" y="408305"/>
                    <a:pt x="393204" y="377190"/>
                    <a:pt x="412254" y="367030"/>
                  </a:cubicBezTo>
                  <a:cubicBezTo>
                    <a:pt x="416699" y="370840"/>
                    <a:pt x="421144" y="375285"/>
                    <a:pt x="424954" y="379095"/>
                  </a:cubicBezTo>
                  <a:cubicBezTo>
                    <a:pt x="441464" y="362585"/>
                    <a:pt x="432574" y="347345"/>
                    <a:pt x="445909" y="325755"/>
                  </a:cubicBezTo>
                  <a:cubicBezTo>
                    <a:pt x="430034" y="335280"/>
                    <a:pt x="435114" y="344805"/>
                    <a:pt x="436384" y="353060"/>
                  </a:cubicBezTo>
                  <a:close/>
                  <a:moveTo>
                    <a:pt x="230009" y="513715"/>
                  </a:moveTo>
                  <a:cubicBezTo>
                    <a:pt x="255409" y="407035"/>
                    <a:pt x="231279" y="448310"/>
                    <a:pt x="205244" y="394335"/>
                  </a:cubicBezTo>
                  <a:cubicBezTo>
                    <a:pt x="189369" y="314325"/>
                    <a:pt x="283349" y="313055"/>
                    <a:pt x="332879" y="344805"/>
                  </a:cubicBezTo>
                  <a:cubicBezTo>
                    <a:pt x="358914" y="363855"/>
                    <a:pt x="376694" y="337820"/>
                    <a:pt x="403364" y="332105"/>
                  </a:cubicBezTo>
                  <a:cubicBezTo>
                    <a:pt x="402094" y="320675"/>
                    <a:pt x="411619" y="307975"/>
                    <a:pt x="402094" y="296545"/>
                  </a:cubicBezTo>
                  <a:cubicBezTo>
                    <a:pt x="353199" y="279400"/>
                    <a:pt x="317004" y="340360"/>
                    <a:pt x="268109" y="302260"/>
                  </a:cubicBezTo>
                  <a:cubicBezTo>
                    <a:pt x="269379" y="285115"/>
                    <a:pt x="264934" y="267335"/>
                    <a:pt x="270649" y="250190"/>
                  </a:cubicBezTo>
                  <a:cubicBezTo>
                    <a:pt x="300494" y="255270"/>
                    <a:pt x="300494" y="255270"/>
                    <a:pt x="325894" y="247650"/>
                  </a:cubicBezTo>
                  <a:cubicBezTo>
                    <a:pt x="323989" y="200025"/>
                    <a:pt x="376694" y="215265"/>
                    <a:pt x="358279" y="186055"/>
                  </a:cubicBezTo>
                  <a:cubicBezTo>
                    <a:pt x="304939" y="220345"/>
                    <a:pt x="315099" y="162560"/>
                    <a:pt x="344944" y="137795"/>
                  </a:cubicBezTo>
                  <a:cubicBezTo>
                    <a:pt x="302399" y="85725"/>
                    <a:pt x="217944" y="74930"/>
                    <a:pt x="165239" y="116205"/>
                  </a:cubicBezTo>
                  <a:cubicBezTo>
                    <a:pt x="174129" y="136525"/>
                    <a:pt x="202704" y="120650"/>
                    <a:pt x="210324" y="145415"/>
                  </a:cubicBezTo>
                  <a:cubicBezTo>
                    <a:pt x="183019" y="164465"/>
                    <a:pt x="149364" y="167640"/>
                    <a:pt x="120154" y="178435"/>
                  </a:cubicBezTo>
                  <a:cubicBezTo>
                    <a:pt x="119519" y="249555"/>
                    <a:pt x="77609" y="200660"/>
                    <a:pt x="53479" y="242570"/>
                  </a:cubicBezTo>
                  <a:cubicBezTo>
                    <a:pt x="52844" y="280670"/>
                    <a:pt x="111899" y="318770"/>
                    <a:pt x="89674" y="349885"/>
                  </a:cubicBezTo>
                  <a:cubicBezTo>
                    <a:pt x="61734" y="365760"/>
                    <a:pt x="50939" y="386080"/>
                    <a:pt x="61734" y="417830"/>
                  </a:cubicBezTo>
                  <a:cubicBezTo>
                    <a:pt x="66814" y="497840"/>
                    <a:pt x="167779" y="506730"/>
                    <a:pt x="230009" y="513715"/>
                  </a:cubicBezTo>
                  <a:close/>
                  <a:moveTo>
                    <a:pt x="146824" y="548005"/>
                  </a:moveTo>
                  <a:cubicBezTo>
                    <a:pt x="246519" y="612140"/>
                    <a:pt x="365264" y="559435"/>
                    <a:pt x="444639" y="488315"/>
                  </a:cubicBezTo>
                  <a:cubicBezTo>
                    <a:pt x="592594" y="370205"/>
                    <a:pt x="534809" y="123190"/>
                    <a:pt x="361454" y="66040"/>
                  </a:cubicBezTo>
                  <a:cubicBezTo>
                    <a:pt x="356374" y="76200"/>
                    <a:pt x="351929" y="86995"/>
                    <a:pt x="347484" y="97155"/>
                  </a:cubicBezTo>
                  <a:cubicBezTo>
                    <a:pt x="399554" y="145415"/>
                    <a:pt x="445274" y="203835"/>
                    <a:pt x="470039" y="269875"/>
                  </a:cubicBezTo>
                  <a:cubicBezTo>
                    <a:pt x="482739" y="398145"/>
                    <a:pt x="370979" y="535940"/>
                    <a:pt x="239534" y="533400"/>
                  </a:cubicBezTo>
                  <a:cubicBezTo>
                    <a:pt x="208419" y="534670"/>
                    <a:pt x="155714" y="500380"/>
                    <a:pt x="146824" y="548005"/>
                  </a:cubicBezTo>
                  <a:close/>
                  <a:moveTo>
                    <a:pt x="349389" y="258445"/>
                  </a:moveTo>
                  <a:cubicBezTo>
                    <a:pt x="328434" y="275590"/>
                    <a:pt x="303034" y="261620"/>
                    <a:pt x="280174" y="271145"/>
                  </a:cubicBezTo>
                  <a:cubicBezTo>
                    <a:pt x="280809" y="276225"/>
                    <a:pt x="280809" y="282575"/>
                    <a:pt x="281444" y="287655"/>
                  </a:cubicBezTo>
                  <a:cubicBezTo>
                    <a:pt x="318909" y="297815"/>
                    <a:pt x="320814" y="297815"/>
                    <a:pt x="345579" y="276225"/>
                  </a:cubicBezTo>
                  <a:cubicBezTo>
                    <a:pt x="369709" y="259080"/>
                    <a:pt x="380504" y="287655"/>
                    <a:pt x="414159" y="257175"/>
                  </a:cubicBezTo>
                  <a:cubicBezTo>
                    <a:pt x="501154" y="334010"/>
                    <a:pt x="394474" y="136525"/>
                    <a:pt x="369709" y="156845"/>
                  </a:cubicBezTo>
                  <a:cubicBezTo>
                    <a:pt x="384314" y="175895"/>
                    <a:pt x="384314" y="196850"/>
                    <a:pt x="379234" y="217805"/>
                  </a:cubicBezTo>
                  <a:cubicBezTo>
                    <a:pt x="368439" y="223520"/>
                    <a:pt x="359549" y="227965"/>
                    <a:pt x="349389" y="233045"/>
                  </a:cubicBezTo>
                  <a:cubicBezTo>
                    <a:pt x="349389" y="241935"/>
                    <a:pt x="349389" y="250190"/>
                    <a:pt x="349389" y="258445"/>
                  </a:cubicBezTo>
                  <a:close/>
                  <a:moveTo>
                    <a:pt x="311289" y="781685"/>
                  </a:moveTo>
                  <a:cubicBezTo>
                    <a:pt x="221754" y="765175"/>
                    <a:pt x="239534" y="797560"/>
                    <a:pt x="234454" y="698500"/>
                  </a:cubicBezTo>
                  <a:cubicBezTo>
                    <a:pt x="219214" y="720090"/>
                    <a:pt x="230644" y="746125"/>
                    <a:pt x="213499" y="765175"/>
                  </a:cubicBezTo>
                  <a:cubicBezTo>
                    <a:pt x="205244" y="761365"/>
                    <a:pt x="196989" y="756920"/>
                    <a:pt x="189369" y="753745"/>
                  </a:cubicBezTo>
                  <a:cubicBezTo>
                    <a:pt x="132854" y="764540"/>
                    <a:pt x="122694" y="769620"/>
                    <a:pt x="115709" y="788035"/>
                  </a:cubicBezTo>
                  <a:cubicBezTo>
                    <a:pt x="178574" y="794385"/>
                    <a:pt x="254774" y="810895"/>
                    <a:pt x="311289" y="781685"/>
                  </a:cubicBezTo>
                  <a:close/>
                  <a:moveTo>
                    <a:pt x="34429" y="252095"/>
                  </a:moveTo>
                  <a:cubicBezTo>
                    <a:pt x="6489" y="302895"/>
                    <a:pt x="9664" y="356870"/>
                    <a:pt x="39509" y="404495"/>
                  </a:cubicBezTo>
                  <a:cubicBezTo>
                    <a:pt x="31889" y="368935"/>
                    <a:pt x="53479" y="352425"/>
                    <a:pt x="78879" y="331470"/>
                  </a:cubicBezTo>
                  <a:cubicBezTo>
                    <a:pt x="64909" y="305435"/>
                    <a:pt x="50939" y="281305"/>
                    <a:pt x="34429" y="252095"/>
                  </a:cubicBezTo>
                  <a:close/>
                  <a:moveTo>
                    <a:pt x="259854" y="602615"/>
                  </a:moveTo>
                  <a:cubicBezTo>
                    <a:pt x="205879" y="591185"/>
                    <a:pt x="151269" y="582930"/>
                    <a:pt x="104279" y="551815"/>
                  </a:cubicBezTo>
                  <a:cubicBezTo>
                    <a:pt x="93484" y="545465"/>
                    <a:pt x="82689" y="538480"/>
                    <a:pt x="66179" y="544195"/>
                  </a:cubicBezTo>
                  <a:cubicBezTo>
                    <a:pt x="116979" y="590550"/>
                    <a:pt x="191909" y="628650"/>
                    <a:pt x="259854" y="602615"/>
                  </a:cubicBezTo>
                  <a:close/>
                  <a:moveTo>
                    <a:pt x="372249" y="408940"/>
                  </a:moveTo>
                  <a:cubicBezTo>
                    <a:pt x="360184" y="434975"/>
                    <a:pt x="317639" y="460375"/>
                    <a:pt x="330974" y="486410"/>
                  </a:cubicBezTo>
                  <a:cubicBezTo>
                    <a:pt x="354469" y="474345"/>
                    <a:pt x="376059" y="459105"/>
                    <a:pt x="390029" y="434975"/>
                  </a:cubicBezTo>
                  <a:cubicBezTo>
                    <a:pt x="387489" y="422910"/>
                    <a:pt x="383044" y="414020"/>
                    <a:pt x="372249" y="408940"/>
                  </a:cubicBezTo>
                  <a:close/>
                  <a:moveTo>
                    <a:pt x="172859" y="144145"/>
                  </a:moveTo>
                  <a:cubicBezTo>
                    <a:pt x="151904" y="118745"/>
                    <a:pt x="120154" y="129540"/>
                    <a:pt x="109994" y="155575"/>
                  </a:cubicBezTo>
                  <a:cubicBezTo>
                    <a:pt x="132854" y="161925"/>
                    <a:pt x="150634" y="152400"/>
                    <a:pt x="172859" y="144145"/>
                  </a:cubicBezTo>
                  <a:close/>
                  <a:moveTo>
                    <a:pt x="92214" y="161290"/>
                  </a:moveTo>
                  <a:cubicBezTo>
                    <a:pt x="76339" y="176530"/>
                    <a:pt x="62369" y="186690"/>
                    <a:pt x="59829" y="206375"/>
                  </a:cubicBezTo>
                  <a:cubicBezTo>
                    <a:pt x="106184" y="216535"/>
                    <a:pt x="99834" y="196215"/>
                    <a:pt x="92214" y="161290"/>
                  </a:cubicBezTo>
                  <a:close/>
                  <a:moveTo>
                    <a:pt x="342404" y="28575"/>
                  </a:moveTo>
                  <a:cubicBezTo>
                    <a:pt x="351294" y="37465"/>
                    <a:pt x="362089" y="39370"/>
                    <a:pt x="374154" y="41910"/>
                  </a:cubicBezTo>
                  <a:cubicBezTo>
                    <a:pt x="362089" y="22860"/>
                    <a:pt x="362089" y="22860"/>
                    <a:pt x="342404" y="28575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9" name="Google Shape;439;p8">
              <a:extLst>
                <a:ext uri="{FF2B5EF4-FFF2-40B4-BE49-F238E27FC236}">
                  <a16:creationId xmlns:a16="http://schemas.microsoft.com/office/drawing/2014/main" id="{CA5C13E6-5A09-4E57-8AA5-E627EC086C2F}"/>
                </a:ext>
              </a:extLst>
            </p:cNvPr>
            <p:cNvSpPr/>
            <p:nvPr/>
          </p:nvSpPr>
          <p:spPr>
            <a:xfrm>
              <a:off x="552323" y="912340"/>
              <a:ext cx="339086" cy="309912"/>
            </a:xfrm>
            <a:custGeom>
              <a:avLst/>
              <a:gdLst/>
              <a:ahLst/>
              <a:cxnLst/>
              <a:rect l="l" t="t" r="r" b="b"/>
              <a:pathLst>
                <a:path w="699146" h="638994" extrusionOk="0">
                  <a:moveTo>
                    <a:pt x="334626" y="637812"/>
                  </a:moveTo>
                  <a:cubicBezTo>
                    <a:pt x="189211" y="651782"/>
                    <a:pt x="48876" y="540022"/>
                    <a:pt x="13317" y="404132"/>
                  </a:cubicBezTo>
                  <a:cubicBezTo>
                    <a:pt x="-46374" y="233317"/>
                    <a:pt x="105392" y="76472"/>
                    <a:pt x="253981" y="15512"/>
                  </a:cubicBezTo>
                  <a:cubicBezTo>
                    <a:pt x="395586" y="-39733"/>
                    <a:pt x="599422" y="61232"/>
                    <a:pt x="675622" y="181882"/>
                  </a:cubicBezTo>
                  <a:cubicBezTo>
                    <a:pt x="770236" y="397782"/>
                    <a:pt x="563861" y="655592"/>
                    <a:pt x="334626" y="637812"/>
                  </a:cubicBezTo>
                  <a:close/>
                  <a:moveTo>
                    <a:pt x="613392" y="131082"/>
                  </a:moveTo>
                  <a:lnTo>
                    <a:pt x="611486" y="131082"/>
                  </a:lnTo>
                  <a:lnTo>
                    <a:pt x="613392" y="131082"/>
                  </a:lnTo>
                  <a:cubicBezTo>
                    <a:pt x="570211" y="82187"/>
                    <a:pt x="497822" y="81552"/>
                    <a:pt x="458451" y="32657"/>
                  </a:cubicBezTo>
                  <a:cubicBezTo>
                    <a:pt x="373361" y="9162"/>
                    <a:pt x="331451" y="164102"/>
                    <a:pt x="314306" y="226967"/>
                  </a:cubicBezTo>
                  <a:cubicBezTo>
                    <a:pt x="346056" y="228872"/>
                    <a:pt x="373997" y="225697"/>
                    <a:pt x="403206" y="239667"/>
                  </a:cubicBezTo>
                  <a:cubicBezTo>
                    <a:pt x="474961" y="249192"/>
                    <a:pt x="436226" y="145052"/>
                    <a:pt x="613392" y="131082"/>
                  </a:cubicBezTo>
                  <a:close/>
                  <a:moveTo>
                    <a:pt x="497822" y="580662"/>
                  </a:moveTo>
                  <a:cubicBezTo>
                    <a:pt x="403206" y="503192"/>
                    <a:pt x="376536" y="373017"/>
                    <a:pt x="411461" y="262527"/>
                  </a:cubicBezTo>
                  <a:cubicBezTo>
                    <a:pt x="356217" y="241572"/>
                    <a:pt x="351136" y="240937"/>
                    <a:pt x="305417" y="250462"/>
                  </a:cubicBezTo>
                  <a:cubicBezTo>
                    <a:pt x="280017" y="369207"/>
                    <a:pt x="273667" y="510812"/>
                    <a:pt x="327006" y="621937"/>
                  </a:cubicBezTo>
                  <a:cubicBezTo>
                    <a:pt x="389236" y="628922"/>
                    <a:pt x="468611" y="609872"/>
                    <a:pt x="497822" y="580662"/>
                  </a:cubicBezTo>
                  <a:close/>
                  <a:moveTo>
                    <a:pt x="224136" y="244747"/>
                  </a:moveTo>
                  <a:cubicBezTo>
                    <a:pt x="207626" y="345077"/>
                    <a:pt x="129522" y="414927"/>
                    <a:pt x="60306" y="475887"/>
                  </a:cubicBezTo>
                  <a:cubicBezTo>
                    <a:pt x="118726" y="541927"/>
                    <a:pt x="194926" y="632732"/>
                    <a:pt x="292717" y="618762"/>
                  </a:cubicBezTo>
                  <a:cubicBezTo>
                    <a:pt x="262872" y="495572"/>
                    <a:pt x="258426" y="366667"/>
                    <a:pt x="280017" y="240937"/>
                  </a:cubicBezTo>
                  <a:cubicBezTo>
                    <a:pt x="259697" y="230142"/>
                    <a:pt x="242551" y="238397"/>
                    <a:pt x="224136" y="244747"/>
                  </a:cubicBezTo>
                  <a:close/>
                  <a:moveTo>
                    <a:pt x="634347" y="444137"/>
                  </a:moveTo>
                  <a:cubicBezTo>
                    <a:pt x="599422" y="357142"/>
                    <a:pt x="534017" y="297452"/>
                    <a:pt x="445117" y="264432"/>
                  </a:cubicBezTo>
                  <a:cubicBezTo>
                    <a:pt x="379711" y="353332"/>
                    <a:pt x="426067" y="494937"/>
                    <a:pt x="506076" y="560342"/>
                  </a:cubicBezTo>
                  <a:cubicBezTo>
                    <a:pt x="565767" y="583202"/>
                    <a:pt x="602597" y="482237"/>
                    <a:pt x="634347" y="444137"/>
                  </a:cubicBezTo>
                  <a:close/>
                  <a:moveTo>
                    <a:pt x="647681" y="409847"/>
                  </a:moveTo>
                  <a:cubicBezTo>
                    <a:pt x="694672" y="340632"/>
                    <a:pt x="688956" y="242207"/>
                    <a:pt x="647681" y="173627"/>
                  </a:cubicBezTo>
                  <a:cubicBezTo>
                    <a:pt x="591167" y="110762"/>
                    <a:pt x="481947" y="178072"/>
                    <a:pt x="458451" y="242842"/>
                  </a:cubicBezTo>
                  <a:cubicBezTo>
                    <a:pt x="527667" y="293642"/>
                    <a:pt x="607677" y="325392"/>
                    <a:pt x="647681" y="409847"/>
                  </a:cubicBezTo>
                  <a:close/>
                  <a:moveTo>
                    <a:pt x="290176" y="219982"/>
                  </a:moveTo>
                  <a:cubicBezTo>
                    <a:pt x="307956" y="145052"/>
                    <a:pt x="356851" y="82187"/>
                    <a:pt x="383522" y="14877"/>
                  </a:cubicBezTo>
                  <a:cubicBezTo>
                    <a:pt x="335261" y="-4808"/>
                    <a:pt x="213976" y="38372"/>
                    <a:pt x="172701" y="84092"/>
                  </a:cubicBezTo>
                  <a:cubicBezTo>
                    <a:pt x="215881" y="116477"/>
                    <a:pt x="213976" y="171087"/>
                    <a:pt x="222231" y="219982"/>
                  </a:cubicBezTo>
                  <a:cubicBezTo>
                    <a:pt x="244456" y="219982"/>
                    <a:pt x="265411" y="219982"/>
                    <a:pt x="290176" y="219982"/>
                  </a:cubicBezTo>
                  <a:close/>
                  <a:moveTo>
                    <a:pt x="194292" y="240302"/>
                  </a:moveTo>
                  <a:cubicBezTo>
                    <a:pt x="140317" y="229507"/>
                    <a:pt x="82531" y="254907"/>
                    <a:pt x="34906" y="279037"/>
                  </a:cubicBezTo>
                  <a:cubicBezTo>
                    <a:pt x="-1924" y="324122"/>
                    <a:pt x="29192" y="402227"/>
                    <a:pt x="50781" y="449217"/>
                  </a:cubicBezTo>
                  <a:cubicBezTo>
                    <a:pt x="120631" y="414927"/>
                    <a:pt x="199372" y="320947"/>
                    <a:pt x="194292" y="240302"/>
                  </a:cubicBezTo>
                  <a:close/>
                  <a:moveTo>
                    <a:pt x="147936" y="100602"/>
                  </a:moveTo>
                  <a:cubicBezTo>
                    <a:pt x="98406" y="135527"/>
                    <a:pt x="46972" y="193947"/>
                    <a:pt x="38081" y="253637"/>
                  </a:cubicBezTo>
                  <a:cubicBezTo>
                    <a:pt x="88881" y="228237"/>
                    <a:pt x="141586" y="224427"/>
                    <a:pt x="193656" y="217442"/>
                  </a:cubicBezTo>
                  <a:cubicBezTo>
                    <a:pt x="200642" y="176167"/>
                    <a:pt x="195561" y="112032"/>
                    <a:pt x="147936" y="100602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0" name="Google Shape;440;p8">
              <a:extLst>
                <a:ext uri="{FF2B5EF4-FFF2-40B4-BE49-F238E27FC236}">
                  <a16:creationId xmlns:a16="http://schemas.microsoft.com/office/drawing/2014/main" id="{DAF7605A-6C97-4A29-A6C4-D0BCB41B7E04}"/>
                </a:ext>
              </a:extLst>
            </p:cNvPr>
            <p:cNvSpPr/>
            <p:nvPr/>
          </p:nvSpPr>
          <p:spPr>
            <a:xfrm rot="-2700000">
              <a:off x="4913658" y="470447"/>
              <a:ext cx="181249" cy="400170"/>
            </a:xfrm>
            <a:custGeom>
              <a:avLst/>
              <a:gdLst/>
              <a:ahLst/>
              <a:cxnLst/>
              <a:rect l="l" t="t" r="r" b="b"/>
              <a:pathLst>
                <a:path w="374196" h="826169" extrusionOk="0">
                  <a:moveTo>
                    <a:pt x="319578" y="542496"/>
                  </a:moveTo>
                  <a:cubicBezTo>
                    <a:pt x="337993" y="538051"/>
                    <a:pt x="360853" y="525986"/>
                    <a:pt x="365933" y="549481"/>
                  </a:cubicBezTo>
                  <a:cubicBezTo>
                    <a:pt x="372283" y="584406"/>
                    <a:pt x="389428" y="625046"/>
                    <a:pt x="341803" y="634571"/>
                  </a:cubicBezTo>
                  <a:cubicBezTo>
                    <a:pt x="344978" y="696801"/>
                    <a:pt x="374823" y="756491"/>
                    <a:pt x="362758" y="819356"/>
                  </a:cubicBezTo>
                  <a:cubicBezTo>
                    <a:pt x="256078" y="683466"/>
                    <a:pt x="252268" y="452961"/>
                    <a:pt x="169718" y="289131"/>
                  </a:cubicBezTo>
                  <a:cubicBezTo>
                    <a:pt x="120823" y="395176"/>
                    <a:pt x="-22052" y="1176861"/>
                    <a:pt x="34463" y="639016"/>
                  </a:cubicBezTo>
                  <a:cubicBezTo>
                    <a:pt x="31288" y="635206"/>
                    <a:pt x="30018" y="632666"/>
                    <a:pt x="28113" y="632666"/>
                  </a:cubicBezTo>
                  <a:cubicBezTo>
                    <a:pt x="-23957" y="623141"/>
                    <a:pt x="12873" y="572341"/>
                    <a:pt x="9698" y="536146"/>
                  </a:cubicBezTo>
                  <a:cubicBezTo>
                    <a:pt x="20493" y="531066"/>
                    <a:pt x="35098" y="532336"/>
                    <a:pt x="47163" y="534241"/>
                  </a:cubicBezTo>
                  <a:cubicBezTo>
                    <a:pt x="79548" y="416131"/>
                    <a:pt x="89708" y="287226"/>
                    <a:pt x="105583" y="164036"/>
                  </a:cubicBezTo>
                  <a:cubicBezTo>
                    <a:pt x="103043" y="132286"/>
                    <a:pt x="128443" y="141811"/>
                    <a:pt x="150033" y="136731"/>
                  </a:cubicBezTo>
                  <a:cubicBezTo>
                    <a:pt x="148128" y="119586"/>
                    <a:pt x="111933" y="3381"/>
                    <a:pt x="143683" y="4016"/>
                  </a:cubicBezTo>
                  <a:cubicBezTo>
                    <a:pt x="226868" y="-22019"/>
                    <a:pt x="207183" y="85296"/>
                    <a:pt x="187498" y="131651"/>
                  </a:cubicBezTo>
                  <a:cubicBezTo>
                    <a:pt x="214168" y="144351"/>
                    <a:pt x="240838" y="139906"/>
                    <a:pt x="242743" y="179911"/>
                  </a:cubicBezTo>
                  <a:cubicBezTo>
                    <a:pt x="263063" y="301196"/>
                    <a:pt x="290368" y="422481"/>
                    <a:pt x="319578" y="542496"/>
                  </a:cubicBezTo>
                  <a:close/>
                  <a:moveTo>
                    <a:pt x="311323" y="649811"/>
                  </a:moveTo>
                  <a:cubicBezTo>
                    <a:pt x="294178" y="503126"/>
                    <a:pt x="253538" y="351996"/>
                    <a:pt x="217978" y="207851"/>
                  </a:cubicBezTo>
                  <a:cubicBezTo>
                    <a:pt x="200833" y="217376"/>
                    <a:pt x="197658" y="242776"/>
                    <a:pt x="186228" y="258651"/>
                  </a:cubicBezTo>
                  <a:cubicBezTo>
                    <a:pt x="236393" y="387556"/>
                    <a:pt x="258618" y="523446"/>
                    <a:pt x="311323" y="649811"/>
                  </a:cubicBezTo>
                  <a:close/>
                  <a:moveTo>
                    <a:pt x="77643" y="517731"/>
                  </a:moveTo>
                  <a:cubicBezTo>
                    <a:pt x="112568" y="444071"/>
                    <a:pt x="112568" y="363426"/>
                    <a:pt x="141778" y="288496"/>
                  </a:cubicBezTo>
                  <a:cubicBezTo>
                    <a:pt x="153208" y="259921"/>
                    <a:pt x="143048" y="230711"/>
                    <a:pt x="123998" y="208486"/>
                  </a:cubicBezTo>
                  <a:cubicBezTo>
                    <a:pt x="100503" y="312626"/>
                    <a:pt x="94788" y="412956"/>
                    <a:pt x="77643" y="517731"/>
                  </a:cubicBezTo>
                  <a:close/>
                  <a:moveTo>
                    <a:pt x="166543" y="240871"/>
                  </a:moveTo>
                  <a:cubicBezTo>
                    <a:pt x="183053" y="211026"/>
                    <a:pt x="205913" y="190706"/>
                    <a:pt x="204008" y="160861"/>
                  </a:cubicBezTo>
                  <a:cubicBezTo>
                    <a:pt x="175433" y="152606"/>
                    <a:pt x="167813" y="152606"/>
                    <a:pt x="141778" y="164671"/>
                  </a:cubicBezTo>
                  <a:cubicBezTo>
                    <a:pt x="145588" y="188801"/>
                    <a:pt x="154478" y="211661"/>
                    <a:pt x="166543" y="240871"/>
                  </a:cubicBezTo>
                  <a:close/>
                  <a:moveTo>
                    <a:pt x="171623" y="104346"/>
                  </a:moveTo>
                  <a:cubicBezTo>
                    <a:pt x="183053" y="73231"/>
                    <a:pt x="181783" y="45291"/>
                    <a:pt x="167813" y="21796"/>
                  </a:cubicBezTo>
                  <a:cubicBezTo>
                    <a:pt x="152573" y="37036"/>
                    <a:pt x="148128" y="94821"/>
                    <a:pt x="171623" y="104346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1" name="Google Shape;441;p8">
              <a:extLst>
                <a:ext uri="{FF2B5EF4-FFF2-40B4-BE49-F238E27FC236}">
                  <a16:creationId xmlns:a16="http://schemas.microsoft.com/office/drawing/2014/main" id="{95F694D8-E89D-4F85-B965-6ABB0FD294C9}"/>
                </a:ext>
              </a:extLst>
            </p:cNvPr>
            <p:cNvSpPr/>
            <p:nvPr/>
          </p:nvSpPr>
          <p:spPr>
            <a:xfrm rot="-1967309">
              <a:off x="27613" y="549243"/>
              <a:ext cx="142154" cy="312221"/>
            </a:xfrm>
            <a:custGeom>
              <a:avLst/>
              <a:gdLst/>
              <a:ahLst/>
              <a:cxnLst/>
              <a:rect l="l" t="t" r="r" b="b"/>
              <a:pathLst>
                <a:path w="293264" h="644114" extrusionOk="0">
                  <a:moveTo>
                    <a:pt x="192317" y="238399"/>
                  </a:moveTo>
                  <a:cubicBezTo>
                    <a:pt x="164377" y="222524"/>
                    <a:pt x="132627" y="214904"/>
                    <a:pt x="98972" y="219349"/>
                  </a:cubicBezTo>
                  <a:cubicBezTo>
                    <a:pt x="129452" y="294914"/>
                    <a:pt x="237402" y="315234"/>
                    <a:pt x="251372" y="404769"/>
                  </a:cubicBezTo>
                  <a:cubicBezTo>
                    <a:pt x="252642" y="460649"/>
                    <a:pt x="311697" y="543834"/>
                    <a:pt x="261532" y="586379"/>
                  </a:cubicBezTo>
                  <a:cubicBezTo>
                    <a:pt x="224067" y="575584"/>
                    <a:pt x="258357" y="527959"/>
                    <a:pt x="234227" y="507004"/>
                  </a:cubicBezTo>
                  <a:cubicBezTo>
                    <a:pt x="194222" y="529864"/>
                    <a:pt x="63412" y="557804"/>
                    <a:pt x="62142" y="603524"/>
                  </a:cubicBezTo>
                  <a:cubicBezTo>
                    <a:pt x="62777" y="619399"/>
                    <a:pt x="64682" y="648609"/>
                    <a:pt x="41187" y="643529"/>
                  </a:cubicBezTo>
                  <a:cubicBezTo>
                    <a:pt x="-4533" y="623209"/>
                    <a:pt x="16422" y="457474"/>
                    <a:pt x="36107" y="414929"/>
                  </a:cubicBezTo>
                  <a:cubicBezTo>
                    <a:pt x="50077" y="373654"/>
                    <a:pt x="121832" y="296819"/>
                    <a:pt x="102782" y="394609"/>
                  </a:cubicBezTo>
                  <a:cubicBezTo>
                    <a:pt x="127547" y="386989"/>
                    <a:pt x="143422" y="371749"/>
                    <a:pt x="161202" y="357779"/>
                  </a:cubicBezTo>
                  <a:cubicBezTo>
                    <a:pt x="144692" y="329204"/>
                    <a:pt x="111037" y="319044"/>
                    <a:pt x="85637" y="299994"/>
                  </a:cubicBezTo>
                  <a:cubicBezTo>
                    <a:pt x="547" y="235859"/>
                    <a:pt x="-10248" y="106954"/>
                    <a:pt x="6897" y="8529"/>
                  </a:cubicBezTo>
                  <a:cubicBezTo>
                    <a:pt x="22772" y="-996"/>
                    <a:pt x="36742" y="-1631"/>
                    <a:pt x="53887" y="2179"/>
                  </a:cubicBezTo>
                  <a:cubicBezTo>
                    <a:pt x="55792" y="13609"/>
                    <a:pt x="57062" y="23769"/>
                    <a:pt x="58332" y="35834"/>
                  </a:cubicBezTo>
                  <a:cubicBezTo>
                    <a:pt x="118022" y="49169"/>
                    <a:pt x="178347" y="68219"/>
                    <a:pt x="239307" y="69489"/>
                  </a:cubicBezTo>
                  <a:cubicBezTo>
                    <a:pt x="248197" y="52344"/>
                    <a:pt x="239942" y="35199"/>
                    <a:pt x="241847" y="16784"/>
                  </a:cubicBezTo>
                  <a:cubicBezTo>
                    <a:pt x="338367" y="-44176"/>
                    <a:pt x="278042" y="223159"/>
                    <a:pt x="230417" y="240939"/>
                  </a:cubicBezTo>
                  <a:cubicBezTo>
                    <a:pt x="215812" y="249829"/>
                    <a:pt x="209462" y="267609"/>
                    <a:pt x="193587" y="273959"/>
                  </a:cubicBezTo>
                  <a:cubicBezTo>
                    <a:pt x="163107" y="281579"/>
                    <a:pt x="175807" y="250464"/>
                    <a:pt x="192317" y="238399"/>
                  </a:cubicBezTo>
                  <a:close/>
                  <a:moveTo>
                    <a:pt x="59602" y="64409"/>
                  </a:moveTo>
                  <a:cubicBezTo>
                    <a:pt x="51347" y="143149"/>
                    <a:pt x="151677" y="122829"/>
                    <a:pt x="202477" y="142514"/>
                  </a:cubicBezTo>
                  <a:cubicBezTo>
                    <a:pt x="236767" y="152039"/>
                    <a:pt x="234862" y="150769"/>
                    <a:pt x="241212" y="114574"/>
                  </a:cubicBezTo>
                  <a:cubicBezTo>
                    <a:pt x="245657" y="81554"/>
                    <a:pt x="196127" y="91079"/>
                    <a:pt x="175172" y="82189"/>
                  </a:cubicBezTo>
                  <a:cubicBezTo>
                    <a:pt x="136437" y="77744"/>
                    <a:pt x="98337" y="58059"/>
                    <a:pt x="59602" y="64409"/>
                  </a:cubicBezTo>
                  <a:close/>
                  <a:moveTo>
                    <a:pt x="217082" y="436519"/>
                  </a:moveTo>
                  <a:cubicBezTo>
                    <a:pt x="169457" y="446044"/>
                    <a:pt x="128182" y="479064"/>
                    <a:pt x="83097" y="497479"/>
                  </a:cubicBezTo>
                  <a:cubicBezTo>
                    <a:pt x="58967" y="507004"/>
                    <a:pt x="61507" y="531134"/>
                    <a:pt x="65317" y="553359"/>
                  </a:cubicBezTo>
                  <a:cubicBezTo>
                    <a:pt x="122467" y="537484"/>
                    <a:pt x="180887" y="512719"/>
                    <a:pt x="229782" y="479699"/>
                  </a:cubicBezTo>
                  <a:cubicBezTo>
                    <a:pt x="232322" y="462554"/>
                    <a:pt x="225972" y="448584"/>
                    <a:pt x="217082" y="436519"/>
                  </a:cubicBezTo>
                  <a:close/>
                  <a:moveTo>
                    <a:pt x="78017" y="185694"/>
                  </a:moveTo>
                  <a:cubicBezTo>
                    <a:pt x="120562" y="199029"/>
                    <a:pt x="173267" y="219349"/>
                    <a:pt x="214542" y="207919"/>
                  </a:cubicBezTo>
                  <a:cubicBezTo>
                    <a:pt x="232957" y="186964"/>
                    <a:pt x="227877" y="167914"/>
                    <a:pt x="201207" y="160929"/>
                  </a:cubicBezTo>
                  <a:cubicBezTo>
                    <a:pt x="158027" y="153944"/>
                    <a:pt x="114847" y="138069"/>
                    <a:pt x="71032" y="136164"/>
                  </a:cubicBezTo>
                  <a:cubicBezTo>
                    <a:pt x="69127" y="160929"/>
                    <a:pt x="69127" y="160929"/>
                    <a:pt x="78017" y="185694"/>
                  </a:cubicBezTo>
                  <a:close/>
                  <a:moveTo>
                    <a:pt x="72302" y="477159"/>
                  </a:moveTo>
                  <a:cubicBezTo>
                    <a:pt x="123102" y="460649"/>
                    <a:pt x="162472" y="436519"/>
                    <a:pt x="205652" y="414294"/>
                  </a:cubicBezTo>
                  <a:cubicBezTo>
                    <a:pt x="202477" y="377464"/>
                    <a:pt x="173902" y="366034"/>
                    <a:pt x="148502" y="391434"/>
                  </a:cubicBezTo>
                  <a:cubicBezTo>
                    <a:pt x="113577" y="415564"/>
                    <a:pt x="72937" y="425089"/>
                    <a:pt x="72302" y="477159"/>
                  </a:cubicBezTo>
                  <a:close/>
                  <a:moveTo>
                    <a:pt x="105322" y="284119"/>
                  </a:moveTo>
                  <a:cubicBezTo>
                    <a:pt x="105957" y="282849"/>
                    <a:pt x="107227" y="282214"/>
                    <a:pt x="107862" y="280944"/>
                  </a:cubicBezTo>
                  <a:cubicBezTo>
                    <a:pt x="40552" y="217444"/>
                    <a:pt x="52617" y="132989"/>
                    <a:pt x="27852" y="52979"/>
                  </a:cubicBezTo>
                  <a:cubicBezTo>
                    <a:pt x="18962" y="131719"/>
                    <a:pt x="35472" y="237129"/>
                    <a:pt x="105322" y="284119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2" name="Google Shape;442;p8">
              <a:extLst>
                <a:ext uri="{FF2B5EF4-FFF2-40B4-BE49-F238E27FC236}">
                  <a16:creationId xmlns:a16="http://schemas.microsoft.com/office/drawing/2014/main" id="{42F9A808-20E2-4D0D-BC85-EA2AD4EE89EA}"/>
                </a:ext>
              </a:extLst>
            </p:cNvPr>
            <p:cNvSpPr/>
            <p:nvPr/>
          </p:nvSpPr>
          <p:spPr>
            <a:xfrm>
              <a:off x="6508977" y="1054156"/>
              <a:ext cx="212880" cy="143991"/>
            </a:xfrm>
            <a:custGeom>
              <a:avLst/>
              <a:gdLst/>
              <a:ahLst/>
              <a:cxnLst/>
              <a:rect l="l" t="t" r="r" b="b"/>
              <a:pathLst>
                <a:path w="575352" h="389164" extrusionOk="0">
                  <a:moveTo>
                    <a:pt x="575352" y="173355"/>
                  </a:moveTo>
                  <a:cubicBezTo>
                    <a:pt x="489627" y="224155"/>
                    <a:pt x="287063" y="336550"/>
                    <a:pt x="285793" y="356235"/>
                  </a:cubicBezTo>
                  <a:cubicBezTo>
                    <a:pt x="285158" y="365760"/>
                    <a:pt x="273093" y="372745"/>
                    <a:pt x="263568" y="368935"/>
                  </a:cubicBezTo>
                  <a:cubicBezTo>
                    <a:pt x="189273" y="366395"/>
                    <a:pt x="106088" y="378460"/>
                    <a:pt x="31793" y="385445"/>
                  </a:cubicBezTo>
                  <a:cubicBezTo>
                    <a:pt x="9568" y="398145"/>
                    <a:pt x="-9482" y="375920"/>
                    <a:pt x="5123" y="354965"/>
                  </a:cubicBezTo>
                  <a:cubicBezTo>
                    <a:pt x="34333" y="295275"/>
                    <a:pt x="47033" y="213995"/>
                    <a:pt x="97198" y="170180"/>
                  </a:cubicBezTo>
                  <a:cubicBezTo>
                    <a:pt x="198163" y="112395"/>
                    <a:pt x="294683" y="47625"/>
                    <a:pt x="400727" y="0"/>
                  </a:cubicBezTo>
                  <a:cubicBezTo>
                    <a:pt x="583608" y="18415"/>
                    <a:pt x="570273" y="-16510"/>
                    <a:pt x="575352" y="173355"/>
                  </a:cubicBezTo>
                  <a:close/>
                  <a:moveTo>
                    <a:pt x="292777" y="199390"/>
                  </a:moveTo>
                  <a:cubicBezTo>
                    <a:pt x="223563" y="208915"/>
                    <a:pt x="154983" y="208280"/>
                    <a:pt x="86402" y="220980"/>
                  </a:cubicBezTo>
                  <a:cubicBezTo>
                    <a:pt x="70527" y="268605"/>
                    <a:pt x="27983" y="310515"/>
                    <a:pt x="32427" y="359410"/>
                  </a:cubicBezTo>
                  <a:cubicBezTo>
                    <a:pt x="98468" y="358775"/>
                    <a:pt x="165143" y="359410"/>
                    <a:pt x="229913" y="343535"/>
                  </a:cubicBezTo>
                  <a:cubicBezTo>
                    <a:pt x="285793" y="323215"/>
                    <a:pt x="275633" y="250190"/>
                    <a:pt x="292777" y="199390"/>
                  </a:cubicBezTo>
                  <a:close/>
                  <a:moveTo>
                    <a:pt x="398188" y="146685"/>
                  </a:moveTo>
                  <a:cubicBezTo>
                    <a:pt x="374693" y="151765"/>
                    <a:pt x="340402" y="168910"/>
                    <a:pt x="320083" y="186055"/>
                  </a:cubicBezTo>
                  <a:cubicBezTo>
                    <a:pt x="314368" y="225425"/>
                    <a:pt x="288968" y="274320"/>
                    <a:pt x="292143" y="320040"/>
                  </a:cubicBezTo>
                  <a:cubicBezTo>
                    <a:pt x="327702" y="303530"/>
                    <a:pt x="361993" y="272415"/>
                    <a:pt x="392473" y="250825"/>
                  </a:cubicBezTo>
                  <a:cubicBezTo>
                    <a:pt x="389933" y="213995"/>
                    <a:pt x="397552" y="181610"/>
                    <a:pt x="398188" y="146685"/>
                  </a:cubicBezTo>
                  <a:close/>
                  <a:moveTo>
                    <a:pt x="115613" y="186055"/>
                  </a:moveTo>
                  <a:cubicBezTo>
                    <a:pt x="167683" y="207010"/>
                    <a:pt x="302302" y="179705"/>
                    <a:pt x="346118" y="135890"/>
                  </a:cubicBezTo>
                  <a:cubicBezTo>
                    <a:pt x="266743" y="97155"/>
                    <a:pt x="180383" y="131445"/>
                    <a:pt x="115613" y="186055"/>
                  </a:cubicBezTo>
                  <a:close/>
                  <a:moveTo>
                    <a:pt x="417238" y="231775"/>
                  </a:moveTo>
                  <a:cubicBezTo>
                    <a:pt x="433748" y="227330"/>
                    <a:pt x="435018" y="226060"/>
                    <a:pt x="435018" y="215265"/>
                  </a:cubicBezTo>
                  <a:cubicBezTo>
                    <a:pt x="431843" y="191135"/>
                    <a:pt x="440733" y="163195"/>
                    <a:pt x="429302" y="140970"/>
                  </a:cubicBezTo>
                  <a:cubicBezTo>
                    <a:pt x="415333" y="166370"/>
                    <a:pt x="410252" y="204470"/>
                    <a:pt x="417238" y="231775"/>
                  </a:cubicBezTo>
                  <a:close/>
                  <a:moveTo>
                    <a:pt x="506138" y="85090"/>
                  </a:moveTo>
                  <a:cubicBezTo>
                    <a:pt x="509948" y="120650"/>
                    <a:pt x="498518" y="147955"/>
                    <a:pt x="507408" y="184785"/>
                  </a:cubicBezTo>
                  <a:cubicBezTo>
                    <a:pt x="526458" y="157480"/>
                    <a:pt x="517568" y="111125"/>
                    <a:pt x="506138" y="85090"/>
                  </a:cubicBezTo>
                  <a:close/>
                  <a:moveTo>
                    <a:pt x="482643" y="190500"/>
                  </a:moveTo>
                  <a:cubicBezTo>
                    <a:pt x="480738" y="159385"/>
                    <a:pt x="497883" y="125095"/>
                    <a:pt x="481373" y="101600"/>
                  </a:cubicBezTo>
                  <a:cubicBezTo>
                    <a:pt x="473118" y="125730"/>
                    <a:pt x="473118" y="147955"/>
                    <a:pt x="482643" y="190500"/>
                  </a:cubicBezTo>
                  <a:close/>
                  <a:moveTo>
                    <a:pt x="453433" y="168275"/>
                  </a:moveTo>
                  <a:cubicBezTo>
                    <a:pt x="445177" y="182880"/>
                    <a:pt x="440098" y="203200"/>
                    <a:pt x="457877" y="212090"/>
                  </a:cubicBezTo>
                  <a:cubicBezTo>
                    <a:pt x="462323" y="194945"/>
                    <a:pt x="461052" y="181610"/>
                    <a:pt x="453433" y="168275"/>
                  </a:cubicBezTo>
                  <a:close/>
                  <a:moveTo>
                    <a:pt x="408348" y="66675"/>
                  </a:moveTo>
                  <a:cubicBezTo>
                    <a:pt x="412158" y="80645"/>
                    <a:pt x="437558" y="79375"/>
                    <a:pt x="453433" y="74930"/>
                  </a:cubicBezTo>
                  <a:cubicBezTo>
                    <a:pt x="437558" y="62865"/>
                    <a:pt x="422952" y="67945"/>
                    <a:pt x="408348" y="66675"/>
                  </a:cubicBezTo>
                  <a:close/>
                  <a:moveTo>
                    <a:pt x="495343" y="48895"/>
                  </a:moveTo>
                  <a:cubicBezTo>
                    <a:pt x="479468" y="37465"/>
                    <a:pt x="471213" y="36195"/>
                    <a:pt x="442638" y="40640"/>
                  </a:cubicBezTo>
                  <a:cubicBezTo>
                    <a:pt x="464227" y="42545"/>
                    <a:pt x="478833" y="53340"/>
                    <a:pt x="495343" y="48895"/>
                  </a:cubicBezTo>
                  <a:close/>
                  <a:moveTo>
                    <a:pt x="335958" y="89535"/>
                  </a:moveTo>
                  <a:cubicBezTo>
                    <a:pt x="321352" y="76200"/>
                    <a:pt x="305477" y="73025"/>
                    <a:pt x="293413" y="88900"/>
                  </a:cubicBezTo>
                  <a:cubicBezTo>
                    <a:pt x="308652" y="92710"/>
                    <a:pt x="320718" y="92710"/>
                    <a:pt x="335958" y="89535"/>
                  </a:cubicBezTo>
                  <a:close/>
                  <a:moveTo>
                    <a:pt x="539793" y="65405"/>
                  </a:moveTo>
                  <a:cubicBezTo>
                    <a:pt x="527727" y="76200"/>
                    <a:pt x="528363" y="81280"/>
                    <a:pt x="540427" y="92075"/>
                  </a:cubicBezTo>
                  <a:cubicBezTo>
                    <a:pt x="543602" y="83185"/>
                    <a:pt x="544873" y="74295"/>
                    <a:pt x="539793" y="65405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3" name="Google Shape;443;p8">
              <a:extLst>
                <a:ext uri="{FF2B5EF4-FFF2-40B4-BE49-F238E27FC236}">
                  <a16:creationId xmlns:a16="http://schemas.microsoft.com/office/drawing/2014/main" id="{0172F219-15C9-4DE3-85DB-880E95DE5D8E}"/>
                </a:ext>
              </a:extLst>
            </p:cNvPr>
            <p:cNvSpPr/>
            <p:nvPr/>
          </p:nvSpPr>
          <p:spPr>
            <a:xfrm>
              <a:off x="4683118" y="1001445"/>
              <a:ext cx="272854" cy="185024"/>
            </a:xfrm>
            <a:custGeom>
              <a:avLst/>
              <a:gdLst/>
              <a:ahLst/>
              <a:cxnLst/>
              <a:rect l="l" t="t" r="r" b="b"/>
              <a:pathLst>
                <a:path w="620122" h="420510" extrusionOk="0">
                  <a:moveTo>
                    <a:pt x="1362" y="54610"/>
                  </a:moveTo>
                  <a:cubicBezTo>
                    <a:pt x="-31023" y="-68580"/>
                    <a:pt x="523967" y="55245"/>
                    <a:pt x="605247" y="54610"/>
                  </a:cubicBezTo>
                  <a:cubicBezTo>
                    <a:pt x="675732" y="78740"/>
                    <a:pt x="469992" y="177800"/>
                    <a:pt x="522062" y="355600"/>
                  </a:cubicBezTo>
                  <a:cubicBezTo>
                    <a:pt x="492217" y="360045"/>
                    <a:pt x="461102" y="331470"/>
                    <a:pt x="433162" y="323850"/>
                  </a:cubicBezTo>
                  <a:cubicBezTo>
                    <a:pt x="398237" y="328930"/>
                    <a:pt x="342992" y="455930"/>
                    <a:pt x="327752" y="410845"/>
                  </a:cubicBezTo>
                  <a:cubicBezTo>
                    <a:pt x="228057" y="287020"/>
                    <a:pt x="113757" y="169545"/>
                    <a:pt x="1362" y="54610"/>
                  </a:cubicBezTo>
                  <a:close/>
                  <a:moveTo>
                    <a:pt x="591277" y="78740"/>
                  </a:moveTo>
                  <a:cubicBezTo>
                    <a:pt x="418557" y="50800"/>
                    <a:pt x="245837" y="13335"/>
                    <a:pt x="69942" y="28575"/>
                  </a:cubicBezTo>
                  <a:cubicBezTo>
                    <a:pt x="217262" y="83820"/>
                    <a:pt x="363947" y="134620"/>
                    <a:pt x="513807" y="186055"/>
                  </a:cubicBezTo>
                  <a:cubicBezTo>
                    <a:pt x="542382" y="154305"/>
                    <a:pt x="569052" y="120650"/>
                    <a:pt x="591277" y="78740"/>
                  </a:cubicBezTo>
                  <a:close/>
                  <a:moveTo>
                    <a:pt x="443957" y="267335"/>
                  </a:moveTo>
                  <a:cubicBezTo>
                    <a:pt x="319497" y="199390"/>
                    <a:pt x="185512" y="113665"/>
                    <a:pt x="57242" y="74930"/>
                  </a:cubicBezTo>
                  <a:cubicBezTo>
                    <a:pt x="154397" y="174625"/>
                    <a:pt x="238852" y="289560"/>
                    <a:pt x="344897" y="379095"/>
                  </a:cubicBezTo>
                  <a:cubicBezTo>
                    <a:pt x="380457" y="344170"/>
                    <a:pt x="414747" y="311150"/>
                    <a:pt x="443957" y="267335"/>
                  </a:cubicBezTo>
                  <a:close/>
                  <a:moveTo>
                    <a:pt x="494122" y="207010"/>
                  </a:moveTo>
                  <a:cubicBezTo>
                    <a:pt x="380457" y="167640"/>
                    <a:pt x="263617" y="100330"/>
                    <a:pt x="146777" y="87630"/>
                  </a:cubicBezTo>
                  <a:cubicBezTo>
                    <a:pt x="262347" y="134620"/>
                    <a:pt x="363947" y="216535"/>
                    <a:pt x="484597" y="246380"/>
                  </a:cubicBezTo>
                  <a:cubicBezTo>
                    <a:pt x="480787" y="264795"/>
                    <a:pt x="472532" y="281305"/>
                    <a:pt x="490947" y="292735"/>
                  </a:cubicBezTo>
                  <a:cubicBezTo>
                    <a:pt x="503012" y="251460"/>
                    <a:pt x="502377" y="238125"/>
                    <a:pt x="494122" y="207010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4" name="Google Shape;444;p8">
              <a:extLst>
                <a:ext uri="{FF2B5EF4-FFF2-40B4-BE49-F238E27FC236}">
                  <a16:creationId xmlns:a16="http://schemas.microsoft.com/office/drawing/2014/main" id="{59F8DCF2-19C0-4EC9-AB80-F9304608F1A7}"/>
                </a:ext>
              </a:extLst>
            </p:cNvPr>
            <p:cNvSpPr/>
            <p:nvPr/>
          </p:nvSpPr>
          <p:spPr>
            <a:xfrm rot="3663599">
              <a:off x="5966469" y="976075"/>
              <a:ext cx="204754" cy="377157"/>
            </a:xfrm>
            <a:custGeom>
              <a:avLst/>
              <a:gdLst/>
              <a:ahLst/>
              <a:cxnLst/>
              <a:rect l="l" t="t" r="r" b="b"/>
              <a:pathLst>
                <a:path w="421613" h="776612" extrusionOk="0">
                  <a:moveTo>
                    <a:pt x="99839" y="349282"/>
                  </a:moveTo>
                  <a:cubicBezTo>
                    <a:pt x="-9381" y="246412"/>
                    <a:pt x="19194" y="15272"/>
                    <a:pt x="189374" y="32"/>
                  </a:cubicBezTo>
                  <a:cubicBezTo>
                    <a:pt x="381144" y="-3143"/>
                    <a:pt x="497984" y="232442"/>
                    <a:pt x="363999" y="377222"/>
                  </a:cubicBezTo>
                  <a:cubicBezTo>
                    <a:pt x="448453" y="504222"/>
                    <a:pt x="402734" y="743617"/>
                    <a:pt x="235728" y="773462"/>
                  </a:cubicBezTo>
                  <a:cubicBezTo>
                    <a:pt x="125874" y="796957"/>
                    <a:pt x="24909" y="684562"/>
                    <a:pt x="4589" y="585502"/>
                  </a:cubicBezTo>
                  <a:cubicBezTo>
                    <a:pt x="-17001" y="491522"/>
                    <a:pt x="41419" y="414052"/>
                    <a:pt x="99839" y="349282"/>
                  </a:cubicBezTo>
                  <a:close/>
                  <a:moveTo>
                    <a:pt x="113174" y="363887"/>
                  </a:moveTo>
                  <a:cubicBezTo>
                    <a:pt x="60469" y="429927"/>
                    <a:pt x="-6206" y="502317"/>
                    <a:pt x="28084" y="594392"/>
                  </a:cubicBezTo>
                  <a:cubicBezTo>
                    <a:pt x="55389" y="680117"/>
                    <a:pt x="137939" y="773462"/>
                    <a:pt x="236999" y="755047"/>
                  </a:cubicBezTo>
                  <a:cubicBezTo>
                    <a:pt x="372253" y="724567"/>
                    <a:pt x="403369" y="568357"/>
                    <a:pt x="375428" y="450247"/>
                  </a:cubicBezTo>
                  <a:cubicBezTo>
                    <a:pt x="371619" y="427387"/>
                    <a:pt x="367809" y="403257"/>
                    <a:pt x="340503" y="395002"/>
                  </a:cubicBezTo>
                  <a:cubicBezTo>
                    <a:pt x="330344" y="400082"/>
                    <a:pt x="316374" y="404527"/>
                    <a:pt x="306214" y="412782"/>
                  </a:cubicBezTo>
                  <a:cubicBezTo>
                    <a:pt x="292244" y="424212"/>
                    <a:pt x="276369" y="408337"/>
                    <a:pt x="263669" y="418497"/>
                  </a:cubicBezTo>
                  <a:cubicBezTo>
                    <a:pt x="206519" y="425482"/>
                    <a:pt x="159528" y="398177"/>
                    <a:pt x="113174" y="363887"/>
                  </a:cubicBezTo>
                  <a:close/>
                  <a:moveTo>
                    <a:pt x="343678" y="364522"/>
                  </a:moveTo>
                  <a:cubicBezTo>
                    <a:pt x="427499" y="287052"/>
                    <a:pt x="415434" y="127032"/>
                    <a:pt x="317009" y="67342"/>
                  </a:cubicBezTo>
                  <a:cubicBezTo>
                    <a:pt x="218584" y="-10128"/>
                    <a:pt x="108728" y="4477"/>
                    <a:pt x="61739" y="125762"/>
                  </a:cubicBezTo>
                  <a:cubicBezTo>
                    <a:pt x="49039" y="190532"/>
                    <a:pt x="59199" y="321977"/>
                    <a:pt x="138574" y="332772"/>
                  </a:cubicBezTo>
                  <a:cubicBezTo>
                    <a:pt x="207789" y="290227"/>
                    <a:pt x="282719" y="322612"/>
                    <a:pt x="343678" y="364522"/>
                  </a:cubicBezTo>
                  <a:close/>
                  <a:moveTo>
                    <a:pt x="318914" y="379127"/>
                  </a:moveTo>
                  <a:cubicBezTo>
                    <a:pt x="306849" y="365792"/>
                    <a:pt x="294784" y="353727"/>
                    <a:pt x="273828" y="349282"/>
                  </a:cubicBezTo>
                  <a:cubicBezTo>
                    <a:pt x="280178" y="372777"/>
                    <a:pt x="291609" y="400717"/>
                    <a:pt x="318914" y="379127"/>
                  </a:cubicBezTo>
                  <a:close/>
                  <a:moveTo>
                    <a:pt x="211599" y="382302"/>
                  </a:moveTo>
                  <a:cubicBezTo>
                    <a:pt x="208424" y="357537"/>
                    <a:pt x="203344" y="315627"/>
                    <a:pt x="179849" y="340392"/>
                  </a:cubicBezTo>
                  <a:cubicBezTo>
                    <a:pt x="191278" y="353092"/>
                    <a:pt x="196994" y="369602"/>
                    <a:pt x="211599" y="382302"/>
                  </a:cubicBezTo>
                  <a:close/>
                  <a:moveTo>
                    <a:pt x="265574" y="395637"/>
                  </a:moveTo>
                  <a:cubicBezTo>
                    <a:pt x="251603" y="373412"/>
                    <a:pt x="248428" y="351822"/>
                    <a:pt x="233189" y="341027"/>
                  </a:cubicBezTo>
                  <a:cubicBezTo>
                    <a:pt x="229378" y="361982"/>
                    <a:pt x="236999" y="377222"/>
                    <a:pt x="265574" y="395637"/>
                  </a:cubicBezTo>
                  <a:close/>
                  <a:moveTo>
                    <a:pt x="167784" y="366427"/>
                  </a:moveTo>
                  <a:cubicBezTo>
                    <a:pt x="165244" y="354997"/>
                    <a:pt x="156989" y="341027"/>
                    <a:pt x="146828" y="349917"/>
                  </a:cubicBezTo>
                  <a:cubicBezTo>
                    <a:pt x="147464" y="361347"/>
                    <a:pt x="156989" y="368332"/>
                    <a:pt x="167784" y="366427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5" name="Google Shape;445;p8">
              <a:extLst>
                <a:ext uri="{FF2B5EF4-FFF2-40B4-BE49-F238E27FC236}">
                  <a16:creationId xmlns:a16="http://schemas.microsoft.com/office/drawing/2014/main" id="{B918CB4E-9A2D-4280-B8D6-EAE731751A45}"/>
                </a:ext>
              </a:extLst>
            </p:cNvPr>
            <p:cNvSpPr/>
            <p:nvPr/>
          </p:nvSpPr>
          <p:spPr>
            <a:xfrm rot="-3368760">
              <a:off x="5437768" y="638636"/>
              <a:ext cx="351278" cy="93987"/>
            </a:xfrm>
            <a:custGeom>
              <a:avLst/>
              <a:gdLst/>
              <a:ahLst/>
              <a:cxnLst/>
              <a:rect l="l" t="t" r="r" b="b"/>
              <a:pathLst>
                <a:path w="724776" h="193920" extrusionOk="0">
                  <a:moveTo>
                    <a:pt x="536612" y="138058"/>
                  </a:moveTo>
                  <a:cubicBezTo>
                    <a:pt x="412787" y="137423"/>
                    <a:pt x="278168" y="171713"/>
                    <a:pt x="151168" y="192033"/>
                  </a:cubicBezTo>
                  <a:cubicBezTo>
                    <a:pt x="124497" y="199653"/>
                    <a:pt x="-29807" y="184413"/>
                    <a:pt x="5118" y="142503"/>
                  </a:cubicBezTo>
                  <a:cubicBezTo>
                    <a:pt x="118783" y="37093"/>
                    <a:pt x="265468" y="56778"/>
                    <a:pt x="408978" y="32013"/>
                  </a:cubicBezTo>
                  <a:cubicBezTo>
                    <a:pt x="490258" y="33283"/>
                    <a:pt x="579158" y="-16882"/>
                    <a:pt x="655358" y="5978"/>
                  </a:cubicBezTo>
                  <a:cubicBezTo>
                    <a:pt x="675043" y="28203"/>
                    <a:pt x="713143" y="-12437"/>
                    <a:pt x="722033" y="26933"/>
                  </a:cubicBezTo>
                  <a:cubicBezTo>
                    <a:pt x="725208" y="40268"/>
                    <a:pt x="727747" y="54238"/>
                    <a:pt x="716953" y="68208"/>
                  </a:cubicBezTo>
                  <a:cubicBezTo>
                    <a:pt x="673137" y="67573"/>
                    <a:pt x="667422" y="106943"/>
                    <a:pt x="643928" y="137423"/>
                  </a:cubicBezTo>
                  <a:cubicBezTo>
                    <a:pt x="555662" y="152663"/>
                    <a:pt x="452793" y="199653"/>
                    <a:pt x="367068" y="192033"/>
                  </a:cubicBezTo>
                  <a:cubicBezTo>
                    <a:pt x="370878" y="153933"/>
                    <a:pt x="501053" y="157108"/>
                    <a:pt x="536612" y="138058"/>
                  </a:cubicBezTo>
                  <a:close/>
                  <a:moveTo>
                    <a:pt x="388658" y="121548"/>
                  </a:moveTo>
                  <a:cubicBezTo>
                    <a:pt x="450887" y="124723"/>
                    <a:pt x="612812" y="113928"/>
                    <a:pt x="651547" y="66303"/>
                  </a:cubicBezTo>
                  <a:cubicBezTo>
                    <a:pt x="658533" y="42808"/>
                    <a:pt x="636943" y="18043"/>
                    <a:pt x="613447" y="21218"/>
                  </a:cubicBezTo>
                  <a:cubicBezTo>
                    <a:pt x="537883" y="43443"/>
                    <a:pt x="438822" y="31378"/>
                    <a:pt x="374053" y="70748"/>
                  </a:cubicBezTo>
                  <a:cubicBezTo>
                    <a:pt x="377862" y="86623"/>
                    <a:pt x="382943" y="103133"/>
                    <a:pt x="388658" y="121548"/>
                  </a:cubicBezTo>
                  <a:close/>
                  <a:moveTo>
                    <a:pt x="347383" y="65668"/>
                  </a:moveTo>
                  <a:cubicBezTo>
                    <a:pt x="275628" y="73288"/>
                    <a:pt x="201968" y="68843"/>
                    <a:pt x="133387" y="91703"/>
                  </a:cubicBezTo>
                  <a:cubicBezTo>
                    <a:pt x="131483" y="119008"/>
                    <a:pt x="132753" y="145678"/>
                    <a:pt x="144818" y="169808"/>
                  </a:cubicBezTo>
                  <a:cubicBezTo>
                    <a:pt x="207047" y="142503"/>
                    <a:pt x="415962" y="182508"/>
                    <a:pt x="347383" y="65668"/>
                  </a:cubicBezTo>
                  <a:close/>
                  <a:moveTo>
                    <a:pt x="106083" y="110118"/>
                  </a:moveTo>
                  <a:cubicBezTo>
                    <a:pt x="81318" y="115198"/>
                    <a:pt x="37503" y="132978"/>
                    <a:pt x="52743" y="161553"/>
                  </a:cubicBezTo>
                  <a:cubicBezTo>
                    <a:pt x="71158" y="167903"/>
                    <a:pt x="90208" y="171078"/>
                    <a:pt x="111797" y="169808"/>
                  </a:cubicBezTo>
                  <a:cubicBezTo>
                    <a:pt x="115608" y="148218"/>
                    <a:pt x="114972" y="129803"/>
                    <a:pt x="106083" y="110118"/>
                  </a:cubicBezTo>
                  <a:close/>
                  <a:moveTo>
                    <a:pt x="680122" y="49793"/>
                  </a:moveTo>
                  <a:cubicBezTo>
                    <a:pt x="687743" y="47253"/>
                    <a:pt x="701712" y="49158"/>
                    <a:pt x="699172" y="37728"/>
                  </a:cubicBezTo>
                  <a:cubicBezTo>
                    <a:pt x="692187" y="30743"/>
                    <a:pt x="679487" y="37093"/>
                    <a:pt x="680122" y="49793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6" name="Google Shape;446;p8">
              <a:extLst>
                <a:ext uri="{FF2B5EF4-FFF2-40B4-BE49-F238E27FC236}">
                  <a16:creationId xmlns:a16="http://schemas.microsoft.com/office/drawing/2014/main" id="{37435EF2-1CCA-4464-9F09-3ECBC1399B9C}"/>
                </a:ext>
              </a:extLst>
            </p:cNvPr>
            <p:cNvSpPr/>
            <p:nvPr/>
          </p:nvSpPr>
          <p:spPr>
            <a:xfrm rot="3013936">
              <a:off x="1856192" y="906044"/>
              <a:ext cx="112704" cy="289910"/>
            </a:xfrm>
            <a:custGeom>
              <a:avLst/>
              <a:gdLst/>
              <a:ahLst/>
              <a:cxnLst/>
              <a:rect l="l" t="t" r="r" b="b"/>
              <a:pathLst>
                <a:path w="232561" h="598221" extrusionOk="0">
                  <a:moveTo>
                    <a:pt x="113282" y="495986"/>
                  </a:moveTo>
                  <a:cubicBezTo>
                    <a:pt x="77722" y="519481"/>
                    <a:pt x="56132" y="585521"/>
                    <a:pt x="22477" y="598221"/>
                  </a:cubicBezTo>
                  <a:cubicBezTo>
                    <a:pt x="-37848" y="484556"/>
                    <a:pt x="39622" y="335966"/>
                    <a:pt x="64388" y="215316"/>
                  </a:cubicBezTo>
                  <a:cubicBezTo>
                    <a:pt x="82802" y="153086"/>
                    <a:pt x="100582" y="90856"/>
                    <a:pt x="115822" y="27991"/>
                  </a:cubicBezTo>
                  <a:cubicBezTo>
                    <a:pt x="125982" y="-24714"/>
                    <a:pt x="192657" y="10846"/>
                    <a:pt x="223772" y="23546"/>
                  </a:cubicBezTo>
                  <a:cubicBezTo>
                    <a:pt x="247268" y="47041"/>
                    <a:pt x="216788" y="92761"/>
                    <a:pt x="211707" y="121971"/>
                  </a:cubicBezTo>
                  <a:cubicBezTo>
                    <a:pt x="177418" y="245161"/>
                    <a:pt x="139952" y="370891"/>
                    <a:pt x="113282" y="495986"/>
                  </a:cubicBezTo>
                  <a:close/>
                  <a:moveTo>
                    <a:pt x="45338" y="459156"/>
                  </a:moveTo>
                  <a:cubicBezTo>
                    <a:pt x="74547" y="330886"/>
                    <a:pt x="116457" y="203886"/>
                    <a:pt x="145668" y="76886"/>
                  </a:cubicBezTo>
                  <a:cubicBezTo>
                    <a:pt x="109472" y="78156"/>
                    <a:pt x="92963" y="222301"/>
                    <a:pt x="77088" y="257861"/>
                  </a:cubicBezTo>
                  <a:cubicBezTo>
                    <a:pt x="76452" y="295961"/>
                    <a:pt x="252" y="454076"/>
                    <a:pt x="45972" y="458521"/>
                  </a:cubicBezTo>
                  <a:cubicBezTo>
                    <a:pt x="56768" y="469316"/>
                    <a:pt x="69468" y="475666"/>
                    <a:pt x="85977" y="474396"/>
                  </a:cubicBezTo>
                  <a:cubicBezTo>
                    <a:pt x="99313" y="448996"/>
                    <a:pt x="223772" y="55296"/>
                    <a:pt x="175513" y="85776"/>
                  </a:cubicBezTo>
                  <a:cubicBezTo>
                    <a:pt x="122807" y="140386"/>
                    <a:pt x="105027" y="464871"/>
                    <a:pt x="45338" y="459156"/>
                  </a:cubicBezTo>
                  <a:close/>
                  <a:moveTo>
                    <a:pt x="202818" y="67361"/>
                  </a:moveTo>
                  <a:cubicBezTo>
                    <a:pt x="204722" y="55296"/>
                    <a:pt x="205357" y="47676"/>
                    <a:pt x="206627" y="40691"/>
                  </a:cubicBezTo>
                  <a:cubicBezTo>
                    <a:pt x="183768" y="22276"/>
                    <a:pt x="139318" y="7671"/>
                    <a:pt x="136777" y="48311"/>
                  </a:cubicBezTo>
                  <a:cubicBezTo>
                    <a:pt x="156463" y="61011"/>
                    <a:pt x="178052" y="61646"/>
                    <a:pt x="202818" y="67361"/>
                  </a:cubicBezTo>
                  <a:close/>
                  <a:moveTo>
                    <a:pt x="28193" y="481381"/>
                  </a:moveTo>
                  <a:cubicBezTo>
                    <a:pt x="20572" y="551231"/>
                    <a:pt x="45338" y="558216"/>
                    <a:pt x="77088" y="497891"/>
                  </a:cubicBezTo>
                  <a:cubicBezTo>
                    <a:pt x="61847" y="488366"/>
                    <a:pt x="45972" y="487096"/>
                    <a:pt x="28193" y="481381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7" name="Google Shape;447;p8">
              <a:extLst>
                <a:ext uri="{FF2B5EF4-FFF2-40B4-BE49-F238E27FC236}">
                  <a16:creationId xmlns:a16="http://schemas.microsoft.com/office/drawing/2014/main" id="{F7A74B35-E181-4700-99FD-FFD1E7C070B6}"/>
                </a:ext>
              </a:extLst>
            </p:cNvPr>
            <p:cNvSpPr/>
            <p:nvPr/>
          </p:nvSpPr>
          <p:spPr>
            <a:xfrm rot="2198047">
              <a:off x="3510054" y="793341"/>
              <a:ext cx="140231" cy="367055"/>
            </a:xfrm>
            <a:custGeom>
              <a:avLst/>
              <a:gdLst/>
              <a:ahLst/>
              <a:cxnLst/>
              <a:rect l="l" t="t" r="r" b="b"/>
              <a:pathLst>
                <a:path w="288538" h="755251" extrusionOk="0">
                  <a:moveTo>
                    <a:pt x="159385" y="203835"/>
                  </a:moveTo>
                  <a:cubicBezTo>
                    <a:pt x="135890" y="116840"/>
                    <a:pt x="239395" y="74295"/>
                    <a:pt x="262890" y="0"/>
                  </a:cubicBezTo>
                  <a:cubicBezTo>
                    <a:pt x="320675" y="52070"/>
                    <a:pt x="269240" y="174625"/>
                    <a:pt x="222250" y="224155"/>
                  </a:cubicBezTo>
                  <a:cubicBezTo>
                    <a:pt x="234950" y="327660"/>
                    <a:pt x="174625" y="408305"/>
                    <a:pt x="143510" y="500380"/>
                  </a:cubicBezTo>
                  <a:cubicBezTo>
                    <a:pt x="127635" y="528955"/>
                    <a:pt x="31750" y="815975"/>
                    <a:pt x="0" y="743585"/>
                  </a:cubicBezTo>
                  <a:cubicBezTo>
                    <a:pt x="43180" y="565150"/>
                    <a:pt x="33020" y="346710"/>
                    <a:pt x="159385" y="203835"/>
                  </a:cubicBezTo>
                  <a:close/>
                  <a:moveTo>
                    <a:pt x="43180" y="661035"/>
                  </a:moveTo>
                  <a:cubicBezTo>
                    <a:pt x="103505" y="576580"/>
                    <a:pt x="121920" y="466725"/>
                    <a:pt x="172085" y="375285"/>
                  </a:cubicBezTo>
                  <a:cubicBezTo>
                    <a:pt x="180340" y="353060"/>
                    <a:pt x="195580" y="327025"/>
                    <a:pt x="191135" y="303530"/>
                  </a:cubicBezTo>
                  <a:cubicBezTo>
                    <a:pt x="171450" y="297815"/>
                    <a:pt x="151765" y="292735"/>
                    <a:pt x="130810" y="287020"/>
                  </a:cubicBezTo>
                  <a:cubicBezTo>
                    <a:pt x="74295" y="403225"/>
                    <a:pt x="55880" y="534035"/>
                    <a:pt x="43180" y="661035"/>
                  </a:cubicBezTo>
                  <a:close/>
                  <a:moveTo>
                    <a:pt x="261620" y="67945"/>
                  </a:moveTo>
                  <a:cubicBezTo>
                    <a:pt x="259715" y="67310"/>
                    <a:pt x="257175" y="66040"/>
                    <a:pt x="255270" y="65405"/>
                  </a:cubicBezTo>
                  <a:cubicBezTo>
                    <a:pt x="223520" y="100965"/>
                    <a:pt x="139700" y="176530"/>
                    <a:pt x="197485" y="217805"/>
                  </a:cubicBezTo>
                  <a:cubicBezTo>
                    <a:pt x="239395" y="175260"/>
                    <a:pt x="261620" y="126365"/>
                    <a:pt x="261620" y="67945"/>
                  </a:cubicBezTo>
                  <a:close/>
                  <a:moveTo>
                    <a:pt x="194945" y="281305"/>
                  </a:moveTo>
                  <a:cubicBezTo>
                    <a:pt x="201295" y="267970"/>
                    <a:pt x="201930" y="255905"/>
                    <a:pt x="198120" y="244475"/>
                  </a:cubicBezTo>
                  <a:cubicBezTo>
                    <a:pt x="167640" y="227330"/>
                    <a:pt x="156210" y="233045"/>
                    <a:pt x="146685" y="267335"/>
                  </a:cubicBezTo>
                  <a:cubicBezTo>
                    <a:pt x="158750" y="282575"/>
                    <a:pt x="175260" y="283210"/>
                    <a:pt x="194945" y="281305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8" name="Google Shape;448;p8">
              <a:extLst>
                <a:ext uri="{FF2B5EF4-FFF2-40B4-BE49-F238E27FC236}">
                  <a16:creationId xmlns:a16="http://schemas.microsoft.com/office/drawing/2014/main" id="{062EB108-DA8F-4CAA-A021-2FB10C1EC4F1}"/>
                </a:ext>
              </a:extLst>
            </p:cNvPr>
            <p:cNvSpPr/>
            <p:nvPr/>
          </p:nvSpPr>
          <p:spPr>
            <a:xfrm rot="9906392">
              <a:off x="7295836" y="1033664"/>
              <a:ext cx="191420" cy="182909"/>
            </a:xfrm>
            <a:custGeom>
              <a:avLst/>
              <a:gdLst/>
              <a:ahLst/>
              <a:cxnLst/>
              <a:rect l="l" t="t" r="r" b="b"/>
              <a:pathLst>
                <a:path w="393594" h="376095" extrusionOk="0">
                  <a:moveTo>
                    <a:pt x="214418" y="305042"/>
                  </a:moveTo>
                  <a:cubicBezTo>
                    <a:pt x="268393" y="256783"/>
                    <a:pt x="326179" y="286627"/>
                    <a:pt x="373168" y="327902"/>
                  </a:cubicBezTo>
                  <a:cubicBezTo>
                    <a:pt x="334433" y="348222"/>
                    <a:pt x="287443" y="358383"/>
                    <a:pt x="242358" y="352667"/>
                  </a:cubicBezTo>
                  <a:cubicBezTo>
                    <a:pt x="242358" y="360922"/>
                    <a:pt x="242358" y="367908"/>
                    <a:pt x="242358" y="374892"/>
                  </a:cubicBezTo>
                  <a:cubicBezTo>
                    <a:pt x="208704" y="387592"/>
                    <a:pt x="190289" y="296152"/>
                    <a:pt x="189654" y="269483"/>
                  </a:cubicBezTo>
                  <a:cubicBezTo>
                    <a:pt x="-846" y="341237"/>
                    <a:pt x="-74507" y="101208"/>
                    <a:pt x="94404" y="17387"/>
                  </a:cubicBezTo>
                  <a:cubicBezTo>
                    <a:pt x="178858" y="4052"/>
                    <a:pt x="289983" y="-24523"/>
                    <a:pt x="357293" y="44058"/>
                  </a:cubicBezTo>
                  <a:cubicBezTo>
                    <a:pt x="419523" y="101208"/>
                    <a:pt x="399839" y="240272"/>
                    <a:pt x="312843" y="258687"/>
                  </a:cubicBezTo>
                  <a:cubicBezTo>
                    <a:pt x="260139" y="256147"/>
                    <a:pt x="199179" y="220587"/>
                    <a:pt x="214418" y="305042"/>
                  </a:cubicBezTo>
                  <a:close/>
                  <a:moveTo>
                    <a:pt x="369993" y="131687"/>
                  </a:moveTo>
                  <a:cubicBezTo>
                    <a:pt x="377614" y="58662"/>
                    <a:pt x="298873" y="-2298"/>
                    <a:pt x="229658" y="22467"/>
                  </a:cubicBezTo>
                  <a:cubicBezTo>
                    <a:pt x="215054" y="28817"/>
                    <a:pt x="199179" y="30722"/>
                    <a:pt x="183304" y="23737"/>
                  </a:cubicBezTo>
                  <a:cubicBezTo>
                    <a:pt x="79164" y="3417"/>
                    <a:pt x="-14182" y="120258"/>
                    <a:pt x="37254" y="217412"/>
                  </a:cubicBezTo>
                  <a:cubicBezTo>
                    <a:pt x="86148" y="318377"/>
                    <a:pt x="176954" y="218047"/>
                    <a:pt x="249979" y="231383"/>
                  </a:cubicBezTo>
                  <a:cubicBezTo>
                    <a:pt x="321098" y="265037"/>
                    <a:pt x="372533" y="203442"/>
                    <a:pt x="369993" y="131687"/>
                  </a:cubicBezTo>
                  <a:close/>
                  <a:moveTo>
                    <a:pt x="329354" y="320283"/>
                  </a:moveTo>
                  <a:cubicBezTo>
                    <a:pt x="316654" y="302502"/>
                    <a:pt x="260773" y="284087"/>
                    <a:pt x="255693" y="313297"/>
                  </a:cubicBezTo>
                  <a:cubicBezTo>
                    <a:pt x="266489" y="313297"/>
                    <a:pt x="288714" y="301233"/>
                    <a:pt x="289348" y="318377"/>
                  </a:cubicBezTo>
                  <a:cubicBezTo>
                    <a:pt x="289348" y="327902"/>
                    <a:pt x="272839" y="324092"/>
                    <a:pt x="275379" y="337427"/>
                  </a:cubicBezTo>
                  <a:cubicBezTo>
                    <a:pt x="293158" y="336158"/>
                    <a:pt x="310304" y="333617"/>
                    <a:pt x="329354" y="320283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9" name="Google Shape;449;p8">
              <a:extLst>
                <a:ext uri="{FF2B5EF4-FFF2-40B4-BE49-F238E27FC236}">
                  <a16:creationId xmlns:a16="http://schemas.microsoft.com/office/drawing/2014/main" id="{73D1FC50-BAC9-4E63-B3C2-BC7032F81AAD}"/>
                </a:ext>
              </a:extLst>
            </p:cNvPr>
            <p:cNvSpPr/>
            <p:nvPr/>
          </p:nvSpPr>
          <p:spPr>
            <a:xfrm>
              <a:off x="301831" y="611168"/>
              <a:ext cx="314135" cy="349552"/>
            </a:xfrm>
            <a:custGeom>
              <a:avLst/>
              <a:gdLst/>
              <a:ahLst/>
              <a:cxnLst/>
              <a:rect l="l" t="t" r="r" b="b"/>
              <a:pathLst>
                <a:path w="647700" h="720725" extrusionOk="0">
                  <a:moveTo>
                    <a:pt x="513080" y="323850"/>
                  </a:moveTo>
                  <a:cubicBezTo>
                    <a:pt x="517525" y="130810"/>
                    <a:pt x="228600" y="72390"/>
                    <a:pt x="142240" y="236220"/>
                  </a:cubicBezTo>
                  <a:cubicBezTo>
                    <a:pt x="74930" y="348615"/>
                    <a:pt x="219075" y="481330"/>
                    <a:pt x="144145" y="591820"/>
                  </a:cubicBezTo>
                  <a:cubicBezTo>
                    <a:pt x="140970" y="600710"/>
                    <a:pt x="146685" y="608965"/>
                    <a:pt x="156210" y="609600"/>
                  </a:cubicBezTo>
                  <a:cubicBezTo>
                    <a:pt x="183515" y="603250"/>
                    <a:pt x="471170" y="659130"/>
                    <a:pt x="370205" y="597535"/>
                  </a:cubicBezTo>
                  <a:cubicBezTo>
                    <a:pt x="366395" y="480695"/>
                    <a:pt x="525780" y="439420"/>
                    <a:pt x="513080" y="323850"/>
                  </a:cubicBezTo>
                  <a:close/>
                  <a:moveTo>
                    <a:pt x="249555" y="588010"/>
                  </a:moveTo>
                  <a:cubicBezTo>
                    <a:pt x="230505" y="510540"/>
                    <a:pt x="259080" y="430530"/>
                    <a:pt x="233680" y="354965"/>
                  </a:cubicBezTo>
                  <a:cubicBezTo>
                    <a:pt x="264795" y="384175"/>
                    <a:pt x="260985" y="381635"/>
                    <a:pt x="294640" y="368300"/>
                  </a:cubicBezTo>
                  <a:cubicBezTo>
                    <a:pt x="311785" y="385445"/>
                    <a:pt x="311785" y="385445"/>
                    <a:pt x="334010" y="392430"/>
                  </a:cubicBezTo>
                  <a:cubicBezTo>
                    <a:pt x="320675" y="454660"/>
                    <a:pt x="300355" y="514985"/>
                    <a:pt x="284480" y="576580"/>
                  </a:cubicBezTo>
                  <a:cubicBezTo>
                    <a:pt x="281305" y="594995"/>
                    <a:pt x="267335" y="597535"/>
                    <a:pt x="249555" y="588010"/>
                  </a:cubicBezTo>
                  <a:close/>
                  <a:moveTo>
                    <a:pt x="340360" y="595630"/>
                  </a:moveTo>
                  <a:cubicBezTo>
                    <a:pt x="326390" y="598805"/>
                    <a:pt x="316865" y="598805"/>
                    <a:pt x="306070" y="589280"/>
                  </a:cubicBezTo>
                  <a:cubicBezTo>
                    <a:pt x="324485" y="520065"/>
                    <a:pt x="330200" y="430530"/>
                    <a:pt x="379730" y="377825"/>
                  </a:cubicBezTo>
                  <a:cubicBezTo>
                    <a:pt x="368300" y="346075"/>
                    <a:pt x="354965" y="335915"/>
                    <a:pt x="327025" y="359410"/>
                  </a:cubicBezTo>
                  <a:cubicBezTo>
                    <a:pt x="293370" y="341630"/>
                    <a:pt x="296545" y="333375"/>
                    <a:pt x="266700" y="354330"/>
                  </a:cubicBezTo>
                  <a:cubicBezTo>
                    <a:pt x="259715" y="342900"/>
                    <a:pt x="253365" y="331470"/>
                    <a:pt x="246380" y="320040"/>
                  </a:cubicBezTo>
                  <a:cubicBezTo>
                    <a:pt x="173355" y="307975"/>
                    <a:pt x="207010" y="382905"/>
                    <a:pt x="216535" y="386715"/>
                  </a:cubicBezTo>
                  <a:cubicBezTo>
                    <a:pt x="220345" y="452120"/>
                    <a:pt x="218440" y="519430"/>
                    <a:pt x="220980" y="584835"/>
                  </a:cubicBezTo>
                  <a:cubicBezTo>
                    <a:pt x="203200" y="588645"/>
                    <a:pt x="203200" y="589280"/>
                    <a:pt x="184785" y="581660"/>
                  </a:cubicBezTo>
                  <a:cubicBezTo>
                    <a:pt x="217170" y="478790"/>
                    <a:pt x="132080" y="381635"/>
                    <a:pt x="150495" y="281305"/>
                  </a:cubicBezTo>
                  <a:cubicBezTo>
                    <a:pt x="176530" y="188595"/>
                    <a:pt x="277495" y="156210"/>
                    <a:pt x="364490" y="170180"/>
                  </a:cubicBezTo>
                  <a:cubicBezTo>
                    <a:pt x="437515" y="178435"/>
                    <a:pt x="478155" y="247650"/>
                    <a:pt x="485140" y="314325"/>
                  </a:cubicBezTo>
                  <a:cubicBezTo>
                    <a:pt x="493395" y="430530"/>
                    <a:pt x="337820" y="475615"/>
                    <a:pt x="340360" y="595630"/>
                  </a:cubicBezTo>
                  <a:close/>
                  <a:moveTo>
                    <a:pt x="325755" y="644525"/>
                  </a:moveTo>
                  <a:cubicBezTo>
                    <a:pt x="270510" y="646430"/>
                    <a:pt x="215900" y="626745"/>
                    <a:pt x="161925" y="631190"/>
                  </a:cubicBezTo>
                  <a:cubicBezTo>
                    <a:pt x="137795" y="666750"/>
                    <a:pt x="304165" y="661035"/>
                    <a:pt x="325120" y="671195"/>
                  </a:cubicBezTo>
                  <a:cubicBezTo>
                    <a:pt x="360680" y="675640"/>
                    <a:pt x="353695" y="645160"/>
                    <a:pt x="325755" y="644525"/>
                  </a:cubicBezTo>
                  <a:close/>
                  <a:moveTo>
                    <a:pt x="176530" y="681990"/>
                  </a:moveTo>
                  <a:cubicBezTo>
                    <a:pt x="167005" y="729615"/>
                    <a:pt x="273050" y="708025"/>
                    <a:pt x="304165" y="720725"/>
                  </a:cubicBezTo>
                  <a:cubicBezTo>
                    <a:pt x="378460" y="691515"/>
                    <a:pt x="199390" y="686435"/>
                    <a:pt x="176530" y="681990"/>
                  </a:cubicBezTo>
                  <a:close/>
                  <a:moveTo>
                    <a:pt x="555625" y="214630"/>
                  </a:moveTo>
                  <a:cubicBezTo>
                    <a:pt x="588010" y="198755"/>
                    <a:pt x="614045" y="179705"/>
                    <a:pt x="647700" y="162560"/>
                  </a:cubicBezTo>
                  <a:cubicBezTo>
                    <a:pt x="629285" y="140335"/>
                    <a:pt x="513080" y="196850"/>
                    <a:pt x="555625" y="214630"/>
                  </a:cubicBezTo>
                  <a:close/>
                  <a:moveTo>
                    <a:pt x="0" y="465455"/>
                  </a:moveTo>
                  <a:cubicBezTo>
                    <a:pt x="14605" y="500380"/>
                    <a:pt x="64135" y="459105"/>
                    <a:pt x="78105" y="439420"/>
                  </a:cubicBezTo>
                  <a:cubicBezTo>
                    <a:pt x="49530" y="413385"/>
                    <a:pt x="29210" y="454660"/>
                    <a:pt x="0" y="465455"/>
                  </a:cubicBezTo>
                  <a:close/>
                  <a:moveTo>
                    <a:pt x="30480" y="86360"/>
                  </a:moveTo>
                  <a:cubicBezTo>
                    <a:pt x="35560" y="98425"/>
                    <a:pt x="99060" y="177800"/>
                    <a:pt x="105410" y="149860"/>
                  </a:cubicBezTo>
                  <a:cubicBezTo>
                    <a:pt x="90170" y="130175"/>
                    <a:pt x="60325" y="67945"/>
                    <a:pt x="30480" y="86360"/>
                  </a:cubicBezTo>
                  <a:close/>
                  <a:moveTo>
                    <a:pt x="351790" y="76200"/>
                  </a:moveTo>
                  <a:cubicBezTo>
                    <a:pt x="374015" y="69215"/>
                    <a:pt x="363220" y="30480"/>
                    <a:pt x="369570" y="11430"/>
                  </a:cubicBezTo>
                  <a:cubicBezTo>
                    <a:pt x="370205" y="5080"/>
                    <a:pt x="364490" y="0"/>
                    <a:pt x="357505" y="0"/>
                  </a:cubicBezTo>
                  <a:cubicBezTo>
                    <a:pt x="335915" y="635"/>
                    <a:pt x="345440" y="30480"/>
                    <a:pt x="342265" y="45085"/>
                  </a:cubicBezTo>
                  <a:cubicBezTo>
                    <a:pt x="342265" y="45085"/>
                    <a:pt x="342265" y="45085"/>
                    <a:pt x="342900" y="45085"/>
                  </a:cubicBezTo>
                  <a:cubicBezTo>
                    <a:pt x="342265" y="55245"/>
                    <a:pt x="336550" y="75565"/>
                    <a:pt x="351790" y="76200"/>
                  </a:cubicBezTo>
                  <a:close/>
                  <a:moveTo>
                    <a:pt x="519430" y="487045"/>
                  </a:moveTo>
                  <a:cubicBezTo>
                    <a:pt x="540385" y="495935"/>
                    <a:pt x="566420" y="540385"/>
                    <a:pt x="589280" y="520700"/>
                  </a:cubicBezTo>
                  <a:cubicBezTo>
                    <a:pt x="585470" y="502920"/>
                    <a:pt x="500380" y="438785"/>
                    <a:pt x="519430" y="487045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0" name="Google Shape;450;p8">
              <a:extLst>
                <a:ext uri="{FF2B5EF4-FFF2-40B4-BE49-F238E27FC236}">
                  <a16:creationId xmlns:a16="http://schemas.microsoft.com/office/drawing/2014/main" id="{5F9B7FB3-35F4-4CBE-A09C-F66F590CFFE8}"/>
                </a:ext>
              </a:extLst>
            </p:cNvPr>
            <p:cNvSpPr/>
            <p:nvPr/>
          </p:nvSpPr>
          <p:spPr>
            <a:xfrm>
              <a:off x="5200465" y="821938"/>
              <a:ext cx="313748" cy="356086"/>
            </a:xfrm>
            <a:custGeom>
              <a:avLst/>
              <a:gdLst/>
              <a:ahLst/>
              <a:cxnLst/>
              <a:rect l="l" t="t" r="r" b="b"/>
              <a:pathLst>
                <a:path w="646904" h="734197" extrusionOk="0">
                  <a:moveTo>
                    <a:pt x="624840" y="487872"/>
                  </a:moveTo>
                  <a:cubicBezTo>
                    <a:pt x="596265" y="353252"/>
                    <a:pt x="540386" y="227522"/>
                    <a:pt x="497840" y="97347"/>
                  </a:cubicBezTo>
                  <a:cubicBezTo>
                    <a:pt x="482600" y="59247"/>
                    <a:pt x="474345" y="-1078"/>
                    <a:pt x="420370" y="28132"/>
                  </a:cubicBezTo>
                  <a:cubicBezTo>
                    <a:pt x="389255" y="44007"/>
                    <a:pt x="387986" y="-11238"/>
                    <a:pt x="354330" y="2097"/>
                  </a:cubicBezTo>
                  <a:cubicBezTo>
                    <a:pt x="234315" y="31307"/>
                    <a:pt x="104775" y="90362"/>
                    <a:pt x="0" y="151322"/>
                  </a:cubicBezTo>
                  <a:cubicBezTo>
                    <a:pt x="163195" y="779972"/>
                    <a:pt x="226061" y="866332"/>
                    <a:pt x="21590" y="162117"/>
                  </a:cubicBezTo>
                  <a:cubicBezTo>
                    <a:pt x="130811" y="105602"/>
                    <a:pt x="241300" y="40832"/>
                    <a:pt x="364490" y="23687"/>
                  </a:cubicBezTo>
                  <a:cubicBezTo>
                    <a:pt x="395605" y="56707"/>
                    <a:pt x="396240" y="56072"/>
                    <a:pt x="402590" y="79567"/>
                  </a:cubicBezTo>
                  <a:cubicBezTo>
                    <a:pt x="463550" y="226252"/>
                    <a:pt x="509905" y="375477"/>
                    <a:pt x="556261" y="526607"/>
                  </a:cubicBezTo>
                  <a:cubicBezTo>
                    <a:pt x="426086" y="593917"/>
                    <a:pt x="282575" y="667577"/>
                    <a:pt x="134620" y="680912"/>
                  </a:cubicBezTo>
                  <a:cubicBezTo>
                    <a:pt x="128270" y="680912"/>
                    <a:pt x="125095" y="689167"/>
                    <a:pt x="130175" y="693612"/>
                  </a:cubicBezTo>
                  <a:cubicBezTo>
                    <a:pt x="151765" y="709487"/>
                    <a:pt x="182245" y="690437"/>
                    <a:pt x="204470" y="688532"/>
                  </a:cubicBezTo>
                  <a:cubicBezTo>
                    <a:pt x="226061" y="700597"/>
                    <a:pt x="211455" y="728537"/>
                    <a:pt x="238125" y="732982"/>
                  </a:cubicBezTo>
                  <a:cubicBezTo>
                    <a:pt x="331470" y="744412"/>
                    <a:pt x="414655" y="672022"/>
                    <a:pt x="503555" y="649162"/>
                  </a:cubicBezTo>
                  <a:cubicBezTo>
                    <a:pt x="545465" y="633922"/>
                    <a:pt x="589280" y="623762"/>
                    <a:pt x="627380" y="599632"/>
                  </a:cubicBezTo>
                  <a:cubicBezTo>
                    <a:pt x="671830" y="579312"/>
                    <a:pt x="626745" y="524067"/>
                    <a:pt x="624840" y="487872"/>
                  </a:cubicBezTo>
                  <a:close/>
                  <a:moveTo>
                    <a:pt x="504825" y="628842"/>
                  </a:moveTo>
                  <a:cubicBezTo>
                    <a:pt x="418465" y="663132"/>
                    <a:pt x="337186" y="702502"/>
                    <a:pt x="245745" y="724092"/>
                  </a:cubicBezTo>
                  <a:cubicBezTo>
                    <a:pt x="241936" y="710122"/>
                    <a:pt x="238761" y="698057"/>
                    <a:pt x="234950" y="684087"/>
                  </a:cubicBezTo>
                  <a:cubicBezTo>
                    <a:pt x="339725" y="641542"/>
                    <a:pt x="449580" y="602172"/>
                    <a:pt x="553086" y="554547"/>
                  </a:cubicBezTo>
                  <a:cubicBezTo>
                    <a:pt x="556261" y="557087"/>
                    <a:pt x="591820" y="542482"/>
                    <a:pt x="588645" y="522797"/>
                  </a:cubicBezTo>
                  <a:cubicBezTo>
                    <a:pt x="537211" y="472632"/>
                    <a:pt x="544830" y="386907"/>
                    <a:pt x="516255" y="324677"/>
                  </a:cubicBezTo>
                  <a:cubicBezTo>
                    <a:pt x="488315" y="235142"/>
                    <a:pt x="447040" y="152592"/>
                    <a:pt x="418465" y="62422"/>
                  </a:cubicBezTo>
                  <a:cubicBezTo>
                    <a:pt x="469900" y="-53148"/>
                    <a:pt x="604520" y="513272"/>
                    <a:pt x="619761" y="552642"/>
                  </a:cubicBezTo>
                  <a:cubicBezTo>
                    <a:pt x="631825" y="607887"/>
                    <a:pt x="539750" y="607887"/>
                    <a:pt x="504825" y="628842"/>
                  </a:cubicBezTo>
                  <a:close/>
                  <a:moveTo>
                    <a:pt x="180975" y="522162"/>
                  </a:moveTo>
                  <a:cubicBezTo>
                    <a:pt x="182880" y="565977"/>
                    <a:pt x="377825" y="458027"/>
                    <a:pt x="415925" y="453582"/>
                  </a:cubicBezTo>
                  <a:cubicBezTo>
                    <a:pt x="636270" y="342457"/>
                    <a:pt x="215265" y="507557"/>
                    <a:pt x="180975" y="522162"/>
                  </a:cubicBezTo>
                  <a:close/>
                  <a:moveTo>
                    <a:pt x="90170" y="144972"/>
                  </a:moveTo>
                  <a:cubicBezTo>
                    <a:pt x="73661" y="159577"/>
                    <a:pt x="67945" y="299277"/>
                    <a:pt x="104140" y="277687"/>
                  </a:cubicBezTo>
                  <a:cubicBezTo>
                    <a:pt x="104775" y="271337"/>
                    <a:pt x="105411" y="264987"/>
                    <a:pt x="106045" y="258637"/>
                  </a:cubicBezTo>
                  <a:cubicBezTo>
                    <a:pt x="122555" y="253557"/>
                    <a:pt x="137795" y="248477"/>
                    <a:pt x="151765" y="244032"/>
                  </a:cubicBezTo>
                  <a:cubicBezTo>
                    <a:pt x="161290" y="252287"/>
                    <a:pt x="167640" y="270702"/>
                    <a:pt x="180975" y="258637"/>
                  </a:cubicBezTo>
                  <a:cubicBezTo>
                    <a:pt x="158115" y="219902"/>
                    <a:pt x="127000" y="169102"/>
                    <a:pt x="90170" y="144972"/>
                  </a:cubicBezTo>
                  <a:close/>
                  <a:moveTo>
                    <a:pt x="137161" y="222442"/>
                  </a:moveTo>
                  <a:cubicBezTo>
                    <a:pt x="128905" y="233872"/>
                    <a:pt x="118745" y="235777"/>
                    <a:pt x="105411" y="233872"/>
                  </a:cubicBezTo>
                  <a:cubicBezTo>
                    <a:pt x="100965" y="218632"/>
                    <a:pt x="99061" y="204662"/>
                    <a:pt x="104140" y="188152"/>
                  </a:cubicBezTo>
                  <a:cubicBezTo>
                    <a:pt x="121286" y="195137"/>
                    <a:pt x="127636" y="209742"/>
                    <a:pt x="137161" y="222442"/>
                  </a:cubicBezTo>
                  <a:close/>
                  <a:moveTo>
                    <a:pt x="400050" y="245937"/>
                  </a:moveTo>
                  <a:cubicBezTo>
                    <a:pt x="407670" y="200852"/>
                    <a:pt x="140336" y="324677"/>
                    <a:pt x="111761" y="337377"/>
                  </a:cubicBezTo>
                  <a:cubicBezTo>
                    <a:pt x="191136" y="350712"/>
                    <a:pt x="314325" y="265622"/>
                    <a:pt x="400050" y="245937"/>
                  </a:cubicBezTo>
                  <a:close/>
                  <a:moveTo>
                    <a:pt x="462915" y="478347"/>
                  </a:moveTo>
                  <a:cubicBezTo>
                    <a:pt x="382905" y="475807"/>
                    <a:pt x="304165" y="539942"/>
                    <a:pt x="224155" y="558357"/>
                  </a:cubicBezTo>
                  <a:cubicBezTo>
                    <a:pt x="88900" y="640907"/>
                    <a:pt x="455930" y="496127"/>
                    <a:pt x="462915" y="478347"/>
                  </a:cubicBezTo>
                  <a:close/>
                  <a:moveTo>
                    <a:pt x="168275" y="373572"/>
                  </a:moveTo>
                  <a:cubicBezTo>
                    <a:pt x="155575" y="376747"/>
                    <a:pt x="143511" y="387542"/>
                    <a:pt x="154940" y="399607"/>
                  </a:cubicBezTo>
                  <a:cubicBezTo>
                    <a:pt x="441325" y="299277"/>
                    <a:pt x="540386" y="220537"/>
                    <a:pt x="168275" y="373572"/>
                  </a:cubicBezTo>
                  <a:close/>
                  <a:moveTo>
                    <a:pt x="262890" y="426912"/>
                  </a:moveTo>
                  <a:cubicBezTo>
                    <a:pt x="226695" y="428817"/>
                    <a:pt x="195580" y="449772"/>
                    <a:pt x="158750" y="459297"/>
                  </a:cubicBezTo>
                  <a:cubicBezTo>
                    <a:pt x="159386" y="473902"/>
                    <a:pt x="169545" y="479617"/>
                    <a:pt x="182245" y="473902"/>
                  </a:cubicBezTo>
                  <a:cubicBezTo>
                    <a:pt x="198120" y="463742"/>
                    <a:pt x="290830" y="451042"/>
                    <a:pt x="262890" y="426912"/>
                  </a:cubicBezTo>
                  <a:close/>
                  <a:moveTo>
                    <a:pt x="179070" y="182437"/>
                  </a:moveTo>
                  <a:cubicBezTo>
                    <a:pt x="177165" y="163387"/>
                    <a:pt x="179705" y="157672"/>
                    <a:pt x="190500" y="141797"/>
                  </a:cubicBezTo>
                  <a:cubicBezTo>
                    <a:pt x="161290" y="150687"/>
                    <a:pt x="162561" y="113857"/>
                    <a:pt x="143511" y="124017"/>
                  </a:cubicBezTo>
                  <a:cubicBezTo>
                    <a:pt x="144145" y="146877"/>
                    <a:pt x="144145" y="146877"/>
                    <a:pt x="137161" y="163387"/>
                  </a:cubicBezTo>
                  <a:cubicBezTo>
                    <a:pt x="150495" y="169102"/>
                    <a:pt x="163195" y="175452"/>
                    <a:pt x="179070" y="182437"/>
                  </a:cubicBezTo>
                  <a:close/>
                  <a:moveTo>
                    <a:pt x="372111" y="153227"/>
                  </a:moveTo>
                  <a:cubicBezTo>
                    <a:pt x="307340" y="148147"/>
                    <a:pt x="240665" y="219902"/>
                    <a:pt x="346711" y="174817"/>
                  </a:cubicBezTo>
                  <a:cubicBezTo>
                    <a:pt x="358775" y="169737"/>
                    <a:pt x="368936" y="169737"/>
                    <a:pt x="372111" y="153227"/>
                  </a:cubicBezTo>
                  <a:close/>
                  <a:moveTo>
                    <a:pt x="304800" y="228792"/>
                  </a:moveTo>
                  <a:cubicBezTo>
                    <a:pt x="324486" y="222442"/>
                    <a:pt x="358775" y="224347"/>
                    <a:pt x="360045" y="197042"/>
                  </a:cubicBezTo>
                  <a:cubicBezTo>
                    <a:pt x="343536" y="202757"/>
                    <a:pt x="276861" y="207837"/>
                    <a:pt x="304800" y="228792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1" name="Google Shape;451;p8">
              <a:extLst>
                <a:ext uri="{FF2B5EF4-FFF2-40B4-BE49-F238E27FC236}">
                  <a16:creationId xmlns:a16="http://schemas.microsoft.com/office/drawing/2014/main" id="{D916FBB6-384D-4771-8641-58BD9CD17907}"/>
                </a:ext>
              </a:extLst>
            </p:cNvPr>
            <p:cNvSpPr/>
            <p:nvPr/>
          </p:nvSpPr>
          <p:spPr>
            <a:xfrm rot="-988374">
              <a:off x="8793699" y="981136"/>
              <a:ext cx="395858" cy="320125"/>
            </a:xfrm>
            <a:custGeom>
              <a:avLst/>
              <a:gdLst/>
              <a:ahLst/>
              <a:cxnLst/>
              <a:rect l="l" t="t" r="r" b="b"/>
              <a:pathLst>
                <a:path w="816364" h="660184" extrusionOk="0">
                  <a:moveTo>
                    <a:pt x="816263" y="506476"/>
                  </a:moveTo>
                  <a:cubicBezTo>
                    <a:pt x="711488" y="-86613"/>
                    <a:pt x="921672" y="-14858"/>
                    <a:pt x="306357" y="27051"/>
                  </a:cubicBezTo>
                  <a:cubicBezTo>
                    <a:pt x="279052" y="-13588"/>
                    <a:pt x="225077" y="19432"/>
                    <a:pt x="186342" y="20701"/>
                  </a:cubicBezTo>
                  <a:cubicBezTo>
                    <a:pt x="182532" y="28957"/>
                    <a:pt x="179357" y="35942"/>
                    <a:pt x="174912" y="45467"/>
                  </a:cubicBezTo>
                  <a:cubicBezTo>
                    <a:pt x="147607" y="9907"/>
                    <a:pt x="110142" y="29592"/>
                    <a:pt x="73312" y="35307"/>
                  </a:cubicBezTo>
                  <a:cubicBezTo>
                    <a:pt x="70137" y="42292"/>
                    <a:pt x="67597" y="48007"/>
                    <a:pt x="65057" y="54357"/>
                  </a:cubicBezTo>
                  <a:cubicBezTo>
                    <a:pt x="7272" y="56897"/>
                    <a:pt x="-8603" y="109601"/>
                    <a:pt x="4097" y="159132"/>
                  </a:cubicBezTo>
                  <a:cubicBezTo>
                    <a:pt x="10447" y="316612"/>
                    <a:pt x="42832" y="472822"/>
                    <a:pt x="51722" y="630301"/>
                  </a:cubicBezTo>
                  <a:cubicBezTo>
                    <a:pt x="86647" y="676657"/>
                    <a:pt x="126652" y="659512"/>
                    <a:pt x="171737" y="642367"/>
                  </a:cubicBezTo>
                  <a:cubicBezTo>
                    <a:pt x="243492" y="636017"/>
                    <a:pt x="313977" y="620142"/>
                    <a:pt x="385732" y="615062"/>
                  </a:cubicBezTo>
                  <a:cubicBezTo>
                    <a:pt x="477172" y="610617"/>
                    <a:pt x="567342" y="594742"/>
                    <a:pt x="657513" y="588392"/>
                  </a:cubicBezTo>
                  <a:cubicBezTo>
                    <a:pt x="715933" y="571247"/>
                    <a:pt x="820072" y="597282"/>
                    <a:pt x="816263" y="506476"/>
                  </a:cubicBezTo>
                  <a:close/>
                  <a:moveTo>
                    <a:pt x="761652" y="549022"/>
                  </a:moveTo>
                  <a:cubicBezTo>
                    <a:pt x="573692" y="583947"/>
                    <a:pt x="382557" y="591567"/>
                    <a:pt x="193962" y="618872"/>
                  </a:cubicBezTo>
                  <a:cubicBezTo>
                    <a:pt x="156497" y="613792"/>
                    <a:pt x="82202" y="665226"/>
                    <a:pt x="73312" y="606172"/>
                  </a:cubicBezTo>
                  <a:cubicBezTo>
                    <a:pt x="59977" y="492507"/>
                    <a:pt x="45372" y="378842"/>
                    <a:pt x="32037" y="265176"/>
                  </a:cubicBezTo>
                  <a:cubicBezTo>
                    <a:pt x="36482" y="210567"/>
                    <a:pt x="-8603" y="112142"/>
                    <a:pt x="52357" y="82297"/>
                  </a:cubicBezTo>
                  <a:cubicBezTo>
                    <a:pt x="189517" y="63247"/>
                    <a:pt x="327312" y="41022"/>
                    <a:pt x="466377" y="38482"/>
                  </a:cubicBezTo>
                  <a:cubicBezTo>
                    <a:pt x="769272" y="14351"/>
                    <a:pt x="740697" y="-41528"/>
                    <a:pt x="764192" y="281687"/>
                  </a:cubicBezTo>
                  <a:cubicBezTo>
                    <a:pt x="755302" y="281051"/>
                    <a:pt x="757842" y="274067"/>
                    <a:pt x="755302" y="270257"/>
                  </a:cubicBezTo>
                  <a:cubicBezTo>
                    <a:pt x="741967" y="249301"/>
                    <a:pt x="721647" y="263272"/>
                    <a:pt x="709583" y="277242"/>
                  </a:cubicBezTo>
                  <a:cubicBezTo>
                    <a:pt x="686088" y="242317"/>
                    <a:pt x="697517" y="60707"/>
                    <a:pt x="653702" y="63882"/>
                  </a:cubicBezTo>
                  <a:cubicBezTo>
                    <a:pt x="461297" y="91187"/>
                    <a:pt x="268257" y="108967"/>
                    <a:pt x="75217" y="126747"/>
                  </a:cubicBezTo>
                  <a:cubicBezTo>
                    <a:pt x="87917" y="245492"/>
                    <a:pt x="110777" y="356617"/>
                    <a:pt x="119667" y="474726"/>
                  </a:cubicBezTo>
                  <a:cubicBezTo>
                    <a:pt x="127287" y="501397"/>
                    <a:pt x="109507" y="568072"/>
                    <a:pt x="150782" y="565532"/>
                  </a:cubicBezTo>
                  <a:cubicBezTo>
                    <a:pt x="333027" y="540767"/>
                    <a:pt x="519717" y="557276"/>
                    <a:pt x="700058" y="507112"/>
                  </a:cubicBezTo>
                  <a:cubicBezTo>
                    <a:pt x="759747" y="495047"/>
                    <a:pt x="701327" y="358522"/>
                    <a:pt x="705138" y="312167"/>
                  </a:cubicBezTo>
                  <a:cubicBezTo>
                    <a:pt x="729267" y="306451"/>
                    <a:pt x="721647" y="345187"/>
                    <a:pt x="761652" y="308357"/>
                  </a:cubicBezTo>
                  <a:cubicBezTo>
                    <a:pt x="775622" y="349632"/>
                    <a:pt x="820072" y="536957"/>
                    <a:pt x="761652" y="549022"/>
                  </a:cubicBezTo>
                  <a:close/>
                  <a:moveTo>
                    <a:pt x="700692" y="478537"/>
                  </a:moveTo>
                  <a:cubicBezTo>
                    <a:pt x="522892" y="538862"/>
                    <a:pt x="337472" y="526162"/>
                    <a:pt x="152687" y="542037"/>
                  </a:cubicBezTo>
                  <a:cubicBezTo>
                    <a:pt x="130462" y="412497"/>
                    <a:pt x="112682" y="276607"/>
                    <a:pt x="102522" y="144526"/>
                  </a:cubicBezTo>
                  <a:cubicBezTo>
                    <a:pt x="282227" y="127382"/>
                    <a:pt x="467012" y="96901"/>
                    <a:pt x="647988" y="93726"/>
                  </a:cubicBezTo>
                  <a:cubicBezTo>
                    <a:pt x="682913" y="218187"/>
                    <a:pt x="694342" y="348997"/>
                    <a:pt x="700692" y="478537"/>
                  </a:cubicBezTo>
                  <a:close/>
                  <a:moveTo>
                    <a:pt x="502572" y="293751"/>
                  </a:moveTo>
                  <a:cubicBezTo>
                    <a:pt x="436532" y="277876"/>
                    <a:pt x="374937" y="230251"/>
                    <a:pt x="307627" y="228982"/>
                  </a:cubicBezTo>
                  <a:cubicBezTo>
                    <a:pt x="338107" y="506476"/>
                    <a:pt x="291752" y="420117"/>
                    <a:pt x="515907" y="325501"/>
                  </a:cubicBezTo>
                  <a:cubicBezTo>
                    <a:pt x="562263" y="307722"/>
                    <a:pt x="538132" y="292482"/>
                    <a:pt x="502572" y="293751"/>
                  </a:cubicBezTo>
                  <a:close/>
                  <a:moveTo>
                    <a:pt x="352077" y="378207"/>
                  </a:moveTo>
                  <a:cubicBezTo>
                    <a:pt x="345727" y="360426"/>
                    <a:pt x="329217" y="301372"/>
                    <a:pt x="334297" y="258192"/>
                  </a:cubicBezTo>
                  <a:cubicBezTo>
                    <a:pt x="382557" y="262637"/>
                    <a:pt x="445422" y="296292"/>
                    <a:pt x="497492" y="306451"/>
                  </a:cubicBezTo>
                  <a:cubicBezTo>
                    <a:pt x="467012" y="341376"/>
                    <a:pt x="396527" y="363601"/>
                    <a:pt x="352077" y="378207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2" name="Google Shape;452;p8">
              <a:extLst>
                <a:ext uri="{FF2B5EF4-FFF2-40B4-BE49-F238E27FC236}">
                  <a16:creationId xmlns:a16="http://schemas.microsoft.com/office/drawing/2014/main" id="{71BF65B1-EDAE-48BD-9611-9B3FAF80BFC6}"/>
                </a:ext>
              </a:extLst>
            </p:cNvPr>
            <p:cNvSpPr/>
            <p:nvPr/>
          </p:nvSpPr>
          <p:spPr>
            <a:xfrm rot="1179229">
              <a:off x="6978602" y="547675"/>
              <a:ext cx="347146" cy="378286"/>
            </a:xfrm>
            <a:custGeom>
              <a:avLst/>
              <a:gdLst/>
              <a:ahLst/>
              <a:cxnLst/>
              <a:rect l="l" t="t" r="r" b="b"/>
              <a:pathLst>
                <a:path w="718509" h="782962" extrusionOk="0">
                  <a:moveTo>
                    <a:pt x="707390" y="178442"/>
                  </a:moveTo>
                  <a:cubicBezTo>
                    <a:pt x="705485" y="163837"/>
                    <a:pt x="700405" y="154947"/>
                    <a:pt x="683895" y="153042"/>
                  </a:cubicBezTo>
                  <a:cubicBezTo>
                    <a:pt x="685800" y="135897"/>
                    <a:pt x="673100" y="127642"/>
                    <a:pt x="665480" y="114942"/>
                  </a:cubicBezTo>
                  <a:cubicBezTo>
                    <a:pt x="664845" y="85097"/>
                    <a:pt x="638810" y="88907"/>
                    <a:pt x="618490" y="95257"/>
                  </a:cubicBezTo>
                  <a:cubicBezTo>
                    <a:pt x="595630" y="74302"/>
                    <a:pt x="582295" y="68587"/>
                    <a:pt x="555625" y="88272"/>
                  </a:cubicBezTo>
                  <a:cubicBezTo>
                    <a:pt x="523875" y="100972"/>
                    <a:pt x="523240" y="30487"/>
                    <a:pt x="488315" y="60332"/>
                  </a:cubicBezTo>
                  <a:cubicBezTo>
                    <a:pt x="445135" y="96527"/>
                    <a:pt x="462915" y="-3803"/>
                    <a:pt x="385445" y="42552"/>
                  </a:cubicBezTo>
                  <a:cubicBezTo>
                    <a:pt x="359410" y="-34918"/>
                    <a:pt x="319405" y="13977"/>
                    <a:pt x="274320" y="29852"/>
                  </a:cubicBezTo>
                  <a:cubicBezTo>
                    <a:pt x="182245" y="239402"/>
                    <a:pt x="65405" y="447047"/>
                    <a:pt x="0" y="662312"/>
                  </a:cubicBezTo>
                  <a:cubicBezTo>
                    <a:pt x="161925" y="678822"/>
                    <a:pt x="313055" y="747402"/>
                    <a:pt x="471170" y="782962"/>
                  </a:cubicBezTo>
                  <a:cubicBezTo>
                    <a:pt x="532130" y="658502"/>
                    <a:pt x="575310" y="535947"/>
                    <a:pt x="636905" y="413392"/>
                  </a:cubicBezTo>
                  <a:cubicBezTo>
                    <a:pt x="664210" y="349892"/>
                    <a:pt x="688975" y="285757"/>
                    <a:pt x="714375" y="221622"/>
                  </a:cubicBezTo>
                  <a:cubicBezTo>
                    <a:pt x="718185" y="205747"/>
                    <a:pt x="723900" y="190507"/>
                    <a:pt x="707390" y="178442"/>
                  </a:cubicBezTo>
                  <a:close/>
                  <a:moveTo>
                    <a:pt x="655955" y="152407"/>
                  </a:moveTo>
                  <a:cubicBezTo>
                    <a:pt x="652780" y="161297"/>
                    <a:pt x="650240" y="170187"/>
                    <a:pt x="646430" y="180347"/>
                  </a:cubicBezTo>
                  <a:cubicBezTo>
                    <a:pt x="604520" y="162567"/>
                    <a:pt x="608330" y="116847"/>
                    <a:pt x="655955" y="152407"/>
                  </a:cubicBezTo>
                  <a:close/>
                  <a:moveTo>
                    <a:pt x="561975" y="127642"/>
                  </a:moveTo>
                  <a:cubicBezTo>
                    <a:pt x="572770" y="118117"/>
                    <a:pt x="577850" y="125737"/>
                    <a:pt x="590550" y="133992"/>
                  </a:cubicBezTo>
                  <a:cubicBezTo>
                    <a:pt x="576580" y="138437"/>
                    <a:pt x="558800" y="146057"/>
                    <a:pt x="561975" y="127642"/>
                  </a:cubicBezTo>
                  <a:close/>
                  <a:moveTo>
                    <a:pt x="353695" y="33027"/>
                  </a:moveTo>
                  <a:cubicBezTo>
                    <a:pt x="351155" y="47632"/>
                    <a:pt x="334010" y="34297"/>
                    <a:pt x="323215" y="31757"/>
                  </a:cubicBezTo>
                  <a:cubicBezTo>
                    <a:pt x="334010" y="17152"/>
                    <a:pt x="350520" y="17787"/>
                    <a:pt x="353695" y="33027"/>
                  </a:cubicBezTo>
                  <a:close/>
                  <a:moveTo>
                    <a:pt x="43180" y="618497"/>
                  </a:moveTo>
                  <a:cubicBezTo>
                    <a:pt x="46990" y="609607"/>
                    <a:pt x="54610" y="612147"/>
                    <a:pt x="59055" y="613417"/>
                  </a:cubicBezTo>
                  <a:cubicBezTo>
                    <a:pt x="99060" y="635642"/>
                    <a:pt x="160020" y="625482"/>
                    <a:pt x="189865" y="659137"/>
                  </a:cubicBezTo>
                  <a:cubicBezTo>
                    <a:pt x="140970" y="652152"/>
                    <a:pt x="87630" y="638817"/>
                    <a:pt x="43180" y="618497"/>
                  </a:cubicBezTo>
                  <a:close/>
                  <a:moveTo>
                    <a:pt x="201295" y="663582"/>
                  </a:moveTo>
                  <a:cubicBezTo>
                    <a:pt x="198755" y="662312"/>
                    <a:pt x="196215" y="661677"/>
                    <a:pt x="193675" y="660407"/>
                  </a:cubicBezTo>
                  <a:cubicBezTo>
                    <a:pt x="196215" y="660407"/>
                    <a:pt x="199390" y="659772"/>
                    <a:pt x="201930" y="659772"/>
                  </a:cubicBezTo>
                  <a:cubicBezTo>
                    <a:pt x="201295" y="661042"/>
                    <a:pt x="201295" y="662312"/>
                    <a:pt x="201295" y="663582"/>
                  </a:cubicBezTo>
                  <a:close/>
                  <a:moveTo>
                    <a:pt x="228600" y="667392"/>
                  </a:moveTo>
                  <a:cubicBezTo>
                    <a:pt x="246380" y="662312"/>
                    <a:pt x="262255" y="666122"/>
                    <a:pt x="276860" y="680727"/>
                  </a:cubicBezTo>
                  <a:cubicBezTo>
                    <a:pt x="256540" y="687077"/>
                    <a:pt x="242570" y="678822"/>
                    <a:pt x="228600" y="667392"/>
                  </a:cubicBezTo>
                  <a:close/>
                  <a:moveTo>
                    <a:pt x="434975" y="704222"/>
                  </a:moveTo>
                  <a:cubicBezTo>
                    <a:pt x="306070" y="664852"/>
                    <a:pt x="177800" y="628657"/>
                    <a:pt x="47625" y="588652"/>
                  </a:cubicBezTo>
                  <a:cubicBezTo>
                    <a:pt x="114935" y="409582"/>
                    <a:pt x="198120" y="233052"/>
                    <a:pt x="284480" y="61602"/>
                  </a:cubicBezTo>
                  <a:cubicBezTo>
                    <a:pt x="314960" y="97162"/>
                    <a:pt x="369570" y="94622"/>
                    <a:pt x="323215" y="62872"/>
                  </a:cubicBezTo>
                  <a:cubicBezTo>
                    <a:pt x="340995" y="59697"/>
                    <a:pt x="354330" y="64777"/>
                    <a:pt x="369570" y="70492"/>
                  </a:cubicBezTo>
                  <a:cubicBezTo>
                    <a:pt x="377825" y="143517"/>
                    <a:pt x="474980" y="111132"/>
                    <a:pt x="398145" y="86367"/>
                  </a:cubicBezTo>
                  <a:cubicBezTo>
                    <a:pt x="411480" y="67952"/>
                    <a:pt x="439420" y="83827"/>
                    <a:pt x="457200" y="89542"/>
                  </a:cubicBezTo>
                  <a:cubicBezTo>
                    <a:pt x="461010" y="179712"/>
                    <a:pt x="532130" y="156852"/>
                    <a:pt x="506095" y="131452"/>
                  </a:cubicBezTo>
                  <a:cubicBezTo>
                    <a:pt x="485140" y="128912"/>
                    <a:pt x="480695" y="129547"/>
                    <a:pt x="483870" y="104147"/>
                  </a:cubicBezTo>
                  <a:cubicBezTo>
                    <a:pt x="501650" y="101607"/>
                    <a:pt x="518795" y="107957"/>
                    <a:pt x="536575" y="110497"/>
                  </a:cubicBezTo>
                  <a:cubicBezTo>
                    <a:pt x="542290" y="147327"/>
                    <a:pt x="556260" y="169552"/>
                    <a:pt x="595630" y="161932"/>
                  </a:cubicBezTo>
                  <a:cubicBezTo>
                    <a:pt x="610235" y="174632"/>
                    <a:pt x="624205" y="186697"/>
                    <a:pt x="638810" y="199397"/>
                  </a:cubicBezTo>
                  <a:cubicBezTo>
                    <a:pt x="590550" y="376562"/>
                    <a:pt x="498475" y="533407"/>
                    <a:pt x="434975" y="704222"/>
                  </a:cubicBezTo>
                  <a:close/>
                  <a:moveTo>
                    <a:pt x="560705" y="508642"/>
                  </a:moveTo>
                  <a:cubicBezTo>
                    <a:pt x="560705" y="508642"/>
                    <a:pt x="560705" y="508007"/>
                    <a:pt x="560705" y="508642"/>
                  </a:cubicBezTo>
                  <a:cubicBezTo>
                    <a:pt x="561340" y="509277"/>
                    <a:pt x="561975" y="509912"/>
                    <a:pt x="562610" y="509912"/>
                  </a:cubicBezTo>
                  <a:cubicBezTo>
                    <a:pt x="561975" y="509277"/>
                    <a:pt x="561340" y="509277"/>
                    <a:pt x="560705" y="508642"/>
                  </a:cubicBezTo>
                  <a:close/>
                  <a:moveTo>
                    <a:pt x="602615" y="438792"/>
                  </a:moveTo>
                  <a:cubicBezTo>
                    <a:pt x="588010" y="457842"/>
                    <a:pt x="586740" y="504832"/>
                    <a:pt x="561340" y="508007"/>
                  </a:cubicBezTo>
                  <a:cubicBezTo>
                    <a:pt x="607695" y="405772"/>
                    <a:pt x="632460" y="297822"/>
                    <a:pt x="690245" y="201302"/>
                  </a:cubicBezTo>
                  <a:cubicBezTo>
                    <a:pt x="678180" y="284487"/>
                    <a:pt x="633730" y="360052"/>
                    <a:pt x="602615" y="438792"/>
                  </a:cubicBezTo>
                  <a:close/>
                  <a:moveTo>
                    <a:pt x="313690" y="335287"/>
                  </a:moveTo>
                  <a:cubicBezTo>
                    <a:pt x="297815" y="333382"/>
                    <a:pt x="197485" y="287027"/>
                    <a:pt x="229870" y="330842"/>
                  </a:cubicBezTo>
                  <a:cubicBezTo>
                    <a:pt x="312420" y="365767"/>
                    <a:pt x="409575" y="363862"/>
                    <a:pt x="485775" y="412757"/>
                  </a:cubicBezTo>
                  <a:cubicBezTo>
                    <a:pt x="496570" y="419107"/>
                    <a:pt x="505460" y="426092"/>
                    <a:pt x="517525" y="415297"/>
                  </a:cubicBezTo>
                  <a:cubicBezTo>
                    <a:pt x="468630" y="357512"/>
                    <a:pt x="381000" y="360052"/>
                    <a:pt x="313690" y="335287"/>
                  </a:cubicBezTo>
                  <a:close/>
                  <a:moveTo>
                    <a:pt x="247650" y="245752"/>
                  </a:moveTo>
                  <a:cubicBezTo>
                    <a:pt x="237490" y="288932"/>
                    <a:pt x="370205" y="285757"/>
                    <a:pt x="402590" y="304172"/>
                  </a:cubicBezTo>
                  <a:cubicBezTo>
                    <a:pt x="441325" y="314332"/>
                    <a:pt x="480060" y="325762"/>
                    <a:pt x="514985" y="346717"/>
                  </a:cubicBezTo>
                  <a:cubicBezTo>
                    <a:pt x="520065" y="349892"/>
                    <a:pt x="526415" y="350527"/>
                    <a:pt x="528955" y="344812"/>
                  </a:cubicBezTo>
                  <a:cubicBezTo>
                    <a:pt x="528955" y="296552"/>
                    <a:pt x="299720" y="266072"/>
                    <a:pt x="247650" y="245752"/>
                  </a:cubicBezTo>
                  <a:close/>
                  <a:moveTo>
                    <a:pt x="190500" y="440062"/>
                  </a:moveTo>
                  <a:cubicBezTo>
                    <a:pt x="114300" y="454032"/>
                    <a:pt x="260350" y="477527"/>
                    <a:pt x="276860" y="483242"/>
                  </a:cubicBezTo>
                  <a:cubicBezTo>
                    <a:pt x="335915" y="490862"/>
                    <a:pt x="387350" y="520072"/>
                    <a:pt x="443230" y="535947"/>
                  </a:cubicBezTo>
                  <a:cubicBezTo>
                    <a:pt x="503555" y="508642"/>
                    <a:pt x="214630" y="446412"/>
                    <a:pt x="190500" y="440062"/>
                  </a:cubicBezTo>
                  <a:close/>
                  <a:moveTo>
                    <a:pt x="268605" y="189237"/>
                  </a:moveTo>
                  <a:cubicBezTo>
                    <a:pt x="246380" y="228607"/>
                    <a:pt x="356870" y="221622"/>
                    <a:pt x="381000" y="234322"/>
                  </a:cubicBezTo>
                  <a:cubicBezTo>
                    <a:pt x="434340" y="241307"/>
                    <a:pt x="481330" y="267977"/>
                    <a:pt x="532130" y="281312"/>
                  </a:cubicBezTo>
                  <a:cubicBezTo>
                    <a:pt x="610870" y="260992"/>
                    <a:pt x="292735" y="193047"/>
                    <a:pt x="268605" y="189237"/>
                  </a:cubicBezTo>
                  <a:close/>
                  <a:moveTo>
                    <a:pt x="529590" y="191777"/>
                  </a:moveTo>
                  <a:cubicBezTo>
                    <a:pt x="450215" y="181617"/>
                    <a:pt x="375920" y="153042"/>
                    <a:pt x="297815" y="136532"/>
                  </a:cubicBezTo>
                  <a:cubicBezTo>
                    <a:pt x="245745" y="161932"/>
                    <a:pt x="375920" y="169552"/>
                    <a:pt x="391795" y="180982"/>
                  </a:cubicBezTo>
                  <a:cubicBezTo>
                    <a:pt x="440055" y="196222"/>
                    <a:pt x="493395" y="197492"/>
                    <a:pt x="538480" y="220352"/>
                  </a:cubicBezTo>
                  <a:cubicBezTo>
                    <a:pt x="547370" y="224797"/>
                    <a:pt x="560070" y="217177"/>
                    <a:pt x="560070" y="205747"/>
                  </a:cubicBezTo>
                  <a:cubicBezTo>
                    <a:pt x="554990" y="193682"/>
                    <a:pt x="541020" y="193682"/>
                    <a:pt x="529590" y="191777"/>
                  </a:cubicBezTo>
                  <a:close/>
                  <a:moveTo>
                    <a:pt x="210185" y="381642"/>
                  </a:moveTo>
                  <a:cubicBezTo>
                    <a:pt x="205105" y="407677"/>
                    <a:pt x="219710" y="401327"/>
                    <a:pt x="234950" y="405137"/>
                  </a:cubicBezTo>
                  <a:cubicBezTo>
                    <a:pt x="308610" y="414027"/>
                    <a:pt x="380365" y="435617"/>
                    <a:pt x="449580" y="460382"/>
                  </a:cubicBezTo>
                  <a:cubicBezTo>
                    <a:pt x="534670" y="436887"/>
                    <a:pt x="233680" y="381007"/>
                    <a:pt x="210185" y="381642"/>
                  </a:cubicBezTo>
                  <a:close/>
                  <a:moveTo>
                    <a:pt x="158115" y="502292"/>
                  </a:moveTo>
                  <a:cubicBezTo>
                    <a:pt x="135890" y="498482"/>
                    <a:pt x="132080" y="519437"/>
                    <a:pt x="150495" y="523247"/>
                  </a:cubicBezTo>
                  <a:cubicBezTo>
                    <a:pt x="202565" y="528327"/>
                    <a:pt x="250190" y="551187"/>
                    <a:pt x="300355" y="561982"/>
                  </a:cubicBezTo>
                  <a:cubicBezTo>
                    <a:pt x="330200" y="530867"/>
                    <a:pt x="177165" y="511182"/>
                    <a:pt x="158115" y="502292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3" name="Google Shape;453;p8">
              <a:extLst>
                <a:ext uri="{FF2B5EF4-FFF2-40B4-BE49-F238E27FC236}">
                  <a16:creationId xmlns:a16="http://schemas.microsoft.com/office/drawing/2014/main" id="{9BA01FEA-2993-4024-825B-1DB626CB98BB}"/>
                </a:ext>
              </a:extLst>
            </p:cNvPr>
            <p:cNvSpPr/>
            <p:nvPr/>
          </p:nvSpPr>
          <p:spPr>
            <a:xfrm>
              <a:off x="980841" y="910413"/>
              <a:ext cx="326644" cy="367792"/>
            </a:xfrm>
            <a:custGeom>
              <a:avLst/>
              <a:gdLst/>
              <a:ahLst/>
              <a:cxnLst/>
              <a:rect l="l" t="t" r="r" b="b"/>
              <a:pathLst>
                <a:path w="673492" h="758335" extrusionOk="0">
                  <a:moveTo>
                    <a:pt x="673374" y="561486"/>
                  </a:moveTo>
                  <a:cubicBezTo>
                    <a:pt x="620034" y="462426"/>
                    <a:pt x="597174" y="341776"/>
                    <a:pt x="553359" y="235731"/>
                  </a:cubicBezTo>
                  <a:cubicBezTo>
                    <a:pt x="527959" y="165881"/>
                    <a:pt x="499384" y="97301"/>
                    <a:pt x="477794" y="26181"/>
                  </a:cubicBezTo>
                  <a:cubicBezTo>
                    <a:pt x="475254" y="15386"/>
                    <a:pt x="467634" y="-1759"/>
                    <a:pt x="454934" y="146"/>
                  </a:cubicBezTo>
                  <a:cubicBezTo>
                    <a:pt x="404769" y="24276"/>
                    <a:pt x="-2266" y="86506"/>
                    <a:pt x="34564" y="136036"/>
                  </a:cubicBezTo>
                  <a:cubicBezTo>
                    <a:pt x="28849" y="139846"/>
                    <a:pt x="23769" y="143656"/>
                    <a:pt x="17419" y="147466"/>
                  </a:cubicBezTo>
                  <a:cubicBezTo>
                    <a:pt x="22499" y="196996"/>
                    <a:pt x="-33381" y="231286"/>
                    <a:pt x="32024" y="268116"/>
                  </a:cubicBezTo>
                  <a:cubicBezTo>
                    <a:pt x="31389" y="291611"/>
                    <a:pt x="36469" y="315106"/>
                    <a:pt x="54884" y="332886"/>
                  </a:cubicBezTo>
                  <a:cubicBezTo>
                    <a:pt x="36469" y="370986"/>
                    <a:pt x="33929" y="384956"/>
                    <a:pt x="68854" y="435756"/>
                  </a:cubicBezTo>
                  <a:cubicBezTo>
                    <a:pt x="61234" y="452901"/>
                    <a:pt x="66314" y="470046"/>
                    <a:pt x="79014" y="484016"/>
                  </a:cubicBezTo>
                  <a:cubicBezTo>
                    <a:pt x="104414" y="513861"/>
                    <a:pt x="66314" y="558946"/>
                    <a:pt x="104414" y="580536"/>
                  </a:cubicBezTo>
                  <a:cubicBezTo>
                    <a:pt x="115209" y="625621"/>
                    <a:pt x="115209" y="689121"/>
                    <a:pt x="167914" y="701821"/>
                  </a:cubicBezTo>
                  <a:cubicBezTo>
                    <a:pt x="198394" y="706266"/>
                    <a:pt x="186964" y="743096"/>
                    <a:pt x="210459" y="758336"/>
                  </a:cubicBezTo>
                  <a:cubicBezTo>
                    <a:pt x="250464" y="731031"/>
                    <a:pt x="296184" y="718966"/>
                    <a:pt x="342539" y="708806"/>
                  </a:cubicBezTo>
                  <a:cubicBezTo>
                    <a:pt x="399054" y="687216"/>
                    <a:pt x="456839" y="670071"/>
                    <a:pt x="515894" y="651656"/>
                  </a:cubicBezTo>
                  <a:cubicBezTo>
                    <a:pt x="555899" y="628161"/>
                    <a:pt x="620669" y="634511"/>
                    <a:pt x="648609" y="599586"/>
                  </a:cubicBezTo>
                  <a:cubicBezTo>
                    <a:pt x="653689" y="581806"/>
                    <a:pt x="675279" y="581806"/>
                    <a:pt x="673374" y="561486"/>
                  </a:cubicBezTo>
                  <a:close/>
                  <a:moveTo>
                    <a:pt x="30754" y="205886"/>
                  </a:moveTo>
                  <a:cubicBezTo>
                    <a:pt x="33929" y="217951"/>
                    <a:pt x="36469" y="225571"/>
                    <a:pt x="37739" y="233191"/>
                  </a:cubicBezTo>
                  <a:cubicBezTo>
                    <a:pt x="28849" y="257956"/>
                    <a:pt x="5354" y="221761"/>
                    <a:pt x="30754" y="205886"/>
                  </a:cubicBezTo>
                  <a:close/>
                  <a:moveTo>
                    <a:pt x="59964" y="196996"/>
                  </a:moveTo>
                  <a:cubicBezTo>
                    <a:pt x="55519" y="196996"/>
                    <a:pt x="52979" y="196996"/>
                    <a:pt x="53614" y="191916"/>
                  </a:cubicBezTo>
                  <a:cubicBezTo>
                    <a:pt x="56789" y="192551"/>
                    <a:pt x="58694" y="195091"/>
                    <a:pt x="59964" y="196996"/>
                  </a:cubicBezTo>
                  <a:cubicBezTo>
                    <a:pt x="59964" y="200171"/>
                    <a:pt x="59329" y="202711"/>
                    <a:pt x="60599" y="205251"/>
                  </a:cubicBezTo>
                  <a:cubicBezTo>
                    <a:pt x="59329" y="202711"/>
                    <a:pt x="59964" y="199536"/>
                    <a:pt x="59964" y="196996"/>
                  </a:cubicBezTo>
                  <a:close/>
                  <a:moveTo>
                    <a:pt x="80284" y="409721"/>
                  </a:moveTo>
                  <a:cubicBezTo>
                    <a:pt x="61869" y="404641"/>
                    <a:pt x="59964" y="386226"/>
                    <a:pt x="68219" y="366541"/>
                  </a:cubicBezTo>
                  <a:cubicBezTo>
                    <a:pt x="81554" y="380511"/>
                    <a:pt x="84729" y="390036"/>
                    <a:pt x="80284" y="409721"/>
                  </a:cubicBezTo>
                  <a:close/>
                  <a:moveTo>
                    <a:pt x="72664" y="259226"/>
                  </a:moveTo>
                  <a:cubicBezTo>
                    <a:pt x="75204" y="259861"/>
                    <a:pt x="74569" y="260496"/>
                    <a:pt x="73934" y="262401"/>
                  </a:cubicBezTo>
                  <a:cubicBezTo>
                    <a:pt x="71394" y="262401"/>
                    <a:pt x="72029" y="261131"/>
                    <a:pt x="72664" y="259226"/>
                  </a:cubicBezTo>
                  <a:close/>
                  <a:moveTo>
                    <a:pt x="96159" y="445281"/>
                  </a:moveTo>
                  <a:cubicBezTo>
                    <a:pt x="106319" y="456711"/>
                    <a:pt x="113304" y="466236"/>
                    <a:pt x="105684" y="482746"/>
                  </a:cubicBezTo>
                  <a:cubicBezTo>
                    <a:pt x="92349" y="471316"/>
                    <a:pt x="81554" y="462426"/>
                    <a:pt x="96159" y="445281"/>
                  </a:cubicBezTo>
                  <a:close/>
                  <a:moveTo>
                    <a:pt x="98699" y="339236"/>
                  </a:moveTo>
                  <a:cubicBezTo>
                    <a:pt x="103144" y="352571"/>
                    <a:pt x="105684" y="362096"/>
                    <a:pt x="110129" y="376066"/>
                  </a:cubicBezTo>
                  <a:cubicBezTo>
                    <a:pt x="96159" y="359556"/>
                    <a:pt x="96159" y="359556"/>
                    <a:pt x="98699" y="339236"/>
                  </a:cubicBezTo>
                  <a:close/>
                  <a:moveTo>
                    <a:pt x="122829" y="558311"/>
                  </a:moveTo>
                  <a:cubicBezTo>
                    <a:pt x="94254" y="564026"/>
                    <a:pt x="106319" y="529736"/>
                    <a:pt x="119654" y="507511"/>
                  </a:cubicBezTo>
                  <a:cubicBezTo>
                    <a:pt x="126639" y="527196"/>
                    <a:pt x="143784" y="543706"/>
                    <a:pt x="122829" y="558311"/>
                  </a:cubicBezTo>
                  <a:close/>
                  <a:moveTo>
                    <a:pt x="136164" y="584981"/>
                  </a:moveTo>
                  <a:cubicBezTo>
                    <a:pt x="148864" y="589426"/>
                    <a:pt x="148229" y="597681"/>
                    <a:pt x="145689" y="606571"/>
                  </a:cubicBezTo>
                  <a:cubicBezTo>
                    <a:pt x="129814" y="626891"/>
                    <a:pt x="125369" y="595776"/>
                    <a:pt x="136164" y="584981"/>
                  </a:cubicBezTo>
                  <a:close/>
                  <a:moveTo>
                    <a:pt x="148864" y="645941"/>
                  </a:moveTo>
                  <a:cubicBezTo>
                    <a:pt x="166644" y="642131"/>
                    <a:pt x="169819" y="663086"/>
                    <a:pt x="171089" y="675786"/>
                  </a:cubicBezTo>
                  <a:cubicBezTo>
                    <a:pt x="155849" y="687851"/>
                    <a:pt x="141879" y="664356"/>
                    <a:pt x="148864" y="645941"/>
                  </a:cubicBezTo>
                  <a:close/>
                  <a:moveTo>
                    <a:pt x="222524" y="723411"/>
                  </a:moveTo>
                  <a:cubicBezTo>
                    <a:pt x="221889" y="722141"/>
                    <a:pt x="221254" y="720871"/>
                    <a:pt x="220619" y="719601"/>
                  </a:cubicBezTo>
                  <a:cubicBezTo>
                    <a:pt x="222524" y="718331"/>
                    <a:pt x="223794" y="718966"/>
                    <a:pt x="224429" y="721506"/>
                  </a:cubicBezTo>
                  <a:cubicBezTo>
                    <a:pt x="223159" y="722141"/>
                    <a:pt x="223159" y="722776"/>
                    <a:pt x="222524" y="723411"/>
                  </a:cubicBezTo>
                  <a:close/>
                  <a:moveTo>
                    <a:pt x="248559" y="709441"/>
                  </a:moveTo>
                  <a:cubicBezTo>
                    <a:pt x="251099" y="699281"/>
                    <a:pt x="261259" y="696106"/>
                    <a:pt x="269514" y="693566"/>
                  </a:cubicBezTo>
                  <a:cubicBezTo>
                    <a:pt x="355239" y="675151"/>
                    <a:pt x="435884" y="637051"/>
                    <a:pt x="520974" y="623716"/>
                  </a:cubicBezTo>
                  <a:cubicBezTo>
                    <a:pt x="502559" y="639591"/>
                    <a:pt x="282849" y="718966"/>
                    <a:pt x="248559" y="709441"/>
                  </a:cubicBezTo>
                  <a:close/>
                  <a:moveTo>
                    <a:pt x="523514" y="623081"/>
                  </a:moveTo>
                  <a:cubicBezTo>
                    <a:pt x="524784" y="622446"/>
                    <a:pt x="525419" y="621811"/>
                    <a:pt x="526689" y="621176"/>
                  </a:cubicBezTo>
                  <a:cubicBezTo>
                    <a:pt x="526054" y="622446"/>
                    <a:pt x="524784" y="623081"/>
                    <a:pt x="523514" y="623081"/>
                  </a:cubicBezTo>
                  <a:close/>
                  <a:moveTo>
                    <a:pt x="232684" y="682771"/>
                  </a:moveTo>
                  <a:cubicBezTo>
                    <a:pt x="222524" y="671341"/>
                    <a:pt x="222524" y="658006"/>
                    <a:pt x="216809" y="642766"/>
                  </a:cubicBezTo>
                  <a:cubicBezTo>
                    <a:pt x="254274" y="607841"/>
                    <a:pt x="182519" y="602126"/>
                    <a:pt x="206649" y="563391"/>
                  </a:cubicBezTo>
                  <a:cubicBezTo>
                    <a:pt x="190139" y="545611"/>
                    <a:pt x="173629" y="525926"/>
                    <a:pt x="174264" y="497986"/>
                  </a:cubicBezTo>
                  <a:cubicBezTo>
                    <a:pt x="237129" y="492906"/>
                    <a:pt x="139974" y="468141"/>
                    <a:pt x="148229" y="412261"/>
                  </a:cubicBezTo>
                  <a:cubicBezTo>
                    <a:pt x="155849" y="415436"/>
                    <a:pt x="162834" y="418611"/>
                    <a:pt x="172359" y="421786"/>
                  </a:cubicBezTo>
                  <a:cubicBezTo>
                    <a:pt x="172994" y="394481"/>
                    <a:pt x="151404" y="390671"/>
                    <a:pt x="136164" y="381781"/>
                  </a:cubicBezTo>
                  <a:cubicBezTo>
                    <a:pt x="132354" y="370351"/>
                    <a:pt x="127274" y="360191"/>
                    <a:pt x="128544" y="347491"/>
                  </a:cubicBezTo>
                  <a:cubicBezTo>
                    <a:pt x="134894" y="346856"/>
                    <a:pt x="139974" y="346221"/>
                    <a:pt x="145054" y="346221"/>
                  </a:cubicBezTo>
                  <a:cubicBezTo>
                    <a:pt x="160294" y="320821"/>
                    <a:pt x="97429" y="315741"/>
                    <a:pt x="103779" y="266211"/>
                  </a:cubicBezTo>
                  <a:cubicBezTo>
                    <a:pt x="110129" y="264941"/>
                    <a:pt x="115209" y="264306"/>
                    <a:pt x="122194" y="263036"/>
                  </a:cubicBezTo>
                  <a:cubicBezTo>
                    <a:pt x="119654" y="230651"/>
                    <a:pt x="87269" y="233826"/>
                    <a:pt x="84094" y="197631"/>
                  </a:cubicBezTo>
                  <a:cubicBezTo>
                    <a:pt x="89809" y="194456"/>
                    <a:pt x="95524" y="191281"/>
                    <a:pt x="103144" y="186836"/>
                  </a:cubicBezTo>
                  <a:cubicBezTo>
                    <a:pt x="84094" y="166516"/>
                    <a:pt x="63139" y="158261"/>
                    <a:pt x="62504" y="125876"/>
                  </a:cubicBezTo>
                  <a:cubicBezTo>
                    <a:pt x="184424" y="76346"/>
                    <a:pt x="322219" y="50946"/>
                    <a:pt x="451759" y="25546"/>
                  </a:cubicBezTo>
                  <a:cubicBezTo>
                    <a:pt x="519069" y="198266"/>
                    <a:pt x="592094" y="374796"/>
                    <a:pt x="635909" y="555771"/>
                  </a:cubicBezTo>
                  <a:cubicBezTo>
                    <a:pt x="508274" y="616096"/>
                    <a:pt x="366669" y="643401"/>
                    <a:pt x="232684" y="682771"/>
                  </a:cubicBezTo>
                  <a:close/>
                  <a:moveTo>
                    <a:pt x="397784" y="69361"/>
                  </a:moveTo>
                  <a:cubicBezTo>
                    <a:pt x="303804" y="94126"/>
                    <a:pt x="210459" y="117621"/>
                    <a:pt x="117114" y="145561"/>
                  </a:cubicBezTo>
                  <a:cubicBezTo>
                    <a:pt x="171724" y="303041"/>
                    <a:pt x="205379" y="466236"/>
                    <a:pt x="253004" y="625621"/>
                  </a:cubicBezTo>
                  <a:cubicBezTo>
                    <a:pt x="256179" y="635146"/>
                    <a:pt x="265069" y="638956"/>
                    <a:pt x="273324" y="633876"/>
                  </a:cubicBezTo>
                  <a:cubicBezTo>
                    <a:pt x="378734" y="598951"/>
                    <a:pt x="487954" y="572916"/>
                    <a:pt x="593999" y="537356"/>
                  </a:cubicBezTo>
                  <a:cubicBezTo>
                    <a:pt x="560344" y="406546"/>
                    <a:pt x="498749" y="280816"/>
                    <a:pt x="461919" y="148736"/>
                  </a:cubicBezTo>
                  <a:cubicBezTo>
                    <a:pt x="451124" y="116351"/>
                    <a:pt x="444774" y="54756"/>
                    <a:pt x="397784" y="69361"/>
                  </a:cubicBezTo>
                  <a:close/>
                  <a:moveTo>
                    <a:pt x="415564" y="90951"/>
                  </a:moveTo>
                  <a:cubicBezTo>
                    <a:pt x="425089" y="97936"/>
                    <a:pt x="427629" y="107461"/>
                    <a:pt x="426359" y="122066"/>
                  </a:cubicBezTo>
                  <a:cubicBezTo>
                    <a:pt x="375559" y="158896"/>
                    <a:pt x="350159" y="80156"/>
                    <a:pt x="415564" y="90951"/>
                  </a:cubicBezTo>
                  <a:close/>
                  <a:moveTo>
                    <a:pt x="433344" y="378606"/>
                  </a:moveTo>
                  <a:cubicBezTo>
                    <a:pt x="425724" y="381146"/>
                    <a:pt x="418739" y="383051"/>
                    <a:pt x="413024" y="384321"/>
                  </a:cubicBezTo>
                  <a:cubicBezTo>
                    <a:pt x="395879" y="367176"/>
                    <a:pt x="387624" y="339871"/>
                    <a:pt x="425089" y="339871"/>
                  </a:cubicBezTo>
                  <a:cubicBezTo>
                    <a:pt x="430804" y="350666"/>
                    <a:pt x="434614" y="362096"/>
                    <a:pt x="433344" y="378606"/>
                  </a:cubicBezTo>
                  <a:close/>
                  <a:moveTo>
                    <a:pt x="423819" y="437661"/>
                  </a:moveTo>
                  <a:cubicBezTo>
                    <a:pt x="419374" y="426866"/>
                    <a:pt x="416834" y="420516"/>
                    <a:pt x="414294" y="409086"/>
                  </a:cubicBezTo>
                  <a:cubicBezTo>
                    <a:pt x="453664" y="375431"/>
                    <a:pt x="471444" y="442741"/>
                    <a:pt x="423819" y="437661"/>
                  </a:cubicBezTo>
                  <a:close/>
                  <a:moveTo>
                    <a:pt x="284754" y="308756"/>
                  </a:moveTo>
                  <a:cubicBezTo>
                    <a:pt x="299359" y="319551"/>
                    <a:pt x="299994" y="334156"/>
                    <a:pt x="306344" y="350666"/>
                  </a:cubicBezTo>
                  <a:cubicBezTo>
                    <a:pt x="293009" y="362096"/>
                    <a:pt x="280309" y="362096"/>
                    <a:pt x="267609" y="365271"/>
                  </a:cubicBezTo>
                  <a:cubicBezTo>
                    <a:pt x="258719" y="351936"/>
                    <a:pt x="255544" y="338601"/>
                    <a:pt x="254909" y="322091"/>
                  </a:cubicBezTo>
                  <a:cubicBezTo>
                    <a:pt x="265069" y="317646"/>
                    <a:pt x="273959" y="313201"/>
                    <a:pt x="284754" y="308756"/>
                  </a:cubicBezTo>
                  <a:close/>
                  <a:moveTo>
                    <a:pt x="249194" y="297961"/>
                  </a:moveTo>
                  <a:cubicBezTo>
                    <a:pt x="244749" y="285896"/>
                    <a:pt x="240939" y="275101"/>
                    <a:pt x="237129" y="263671"/>
                  </a:cubicBezTo>
                  <a:cubicBezTo>
                    <a:pt x="248559" y="257321"/>
                    <a:pt x="258719" y="252876"/>
                    <a:pt x="272054" y="254146"/>
                  </a:cubicBezTo>
                  <a:cubicBezTo>
                    <a:pt x="287294" y="278276"/>
                    <a:pt x="289834" y="297961"/>
                    <a:pt x="249194" y="297961"/>
                  </a:cubicBezTo>
                  <a:close/>
                  <a:moveTo>
                    <a:pt x="312059" y="285261"/>
                  </a:moveTo>
                  <a:cubicBezTo>
                    <a:pt x="297454" y="273831"/>
                    <a:pt x="299359" y="260496"/>
                    <a:pt x="297454" y="248431"/>
                  </a:cubicBezTo>
                  <a:cubicBezTo>
                    <a:pt x="307614" y="236366"/>
                    <a:pt x="320949" y="233191"/>
                    <a:pt x="334284" y="230651"/>
                  </a:cubicBezTo>
                  <a:cubicBezTo>
                    <a:pt x="346984" y="240811"/>
                    <a:pt x="344444" y="256051"/>
                    <a:pt x="350159" y="268116"/>
                  </a:cubicBezTo>
                  <a:cubicBezTo>
                    <a:pt x="339999" y="283356"/>
                    <a:pt x="322854" y="278276"/>
                    <a:pt x="312059" y="285261"/>
                  </a:cubicBezTo>
                  <a:close/>
                  <a:moveTo>
                    <a:pt x="369209" y="328441"/>
                  </a:moveTo>
                  <a:cubicBezTo>
                    <a:pt x="357144" y="339871"/>
                    <a:pt x="343174" y="344316"/>
                    <a:pt x="327299" y="348126"/>
                  </a:cubicBezTo>
                  <a:cubicBezTo>
                    <a:pt x="322219" y="333521"/>
                    <a:pt x="317139" y="320186"/>
                    <a:pt x="310154" y="301771"/>
                  </a:cubicBezTo>
                  <a:cubicBezTo>
                    <a:pt x="326029" y="297326"/>
                    <a:pt x="338094" y="294151"/>
                    <a:pt x="349524" y="290976"/>
                  </a:cubicBezTo>
                  <a:cubicBezTo>
                    <a:pt x="364764" y="301136"/>
                    <a:pt x="364129" y="315741"/>
                    <a:pt x="369209" y="328441"/>
                  </a:cubicBezTo>
                  <a:close/>
                  <a:moveTo>
                    <a:pt x="308249" y="374796"/>
                  </a:moveTo>
                  <a:cubicBezTo>
                    <a:pt x="317139" y="386226"/>
                    <a:pt x="320949" y="398926"/>
                    <a:pt x="323489" y="416071"/>
                  </a:cubicBezTo>
                  <a:cubicBezTo>
                    <a:pt x="308884" y="420516"/>
                    <a:pt x="298724" y="428136"/>
                    <a:pt x="284119" y="423056"/>
                  </a:cubicBezTo>
                  <a:cubicBezTo>
                    <a:pt x="280944" y="412261"/>
                    <a:pt x="278404" y="401466"/>
                    <a:pt x="275229" y="390036"/>
                  </a:cubicBezTo>
                  <a:cubicBezTo>
                    <a:pt x="282849" y="378606"/>
                    <a:pt x="294914" y="375431"/>
                    <a:pt x="308249" y="374796"/>
                  </a:cubicBezTo>
                  <a:close/>
                  <a:moveTo>
                    <a:pt x="327934" y="435756"/>
                  </a:moveTo>
                  <a:cubicBezTo>
                    <a:pt x="338729" y="444011"/>
                    <a:pt x="340634" y="456076"/>
                    <a:pt x="343174" y="468141"/>
                  </a:cubicBezTo>
                  <a:cubicBezTo>
                    <a:pt x="334284" y="478936"/>
                    <a:pt x="322219" y="480206"/>
                    <a:pt x="310789" y="484016"/>
                  </a:cubicBezTo>
                  <a:cubicBezTo>
                    <a:pt x="298724" y="475761"/>
                    <a:pt x="292374" y="464331"/>
                    <a:pt x="291739" y="450361"/>
                  </a:cubicBezTo>
                  <a:cubicBezTo>
                    <a:pt x="308249" y="438296"/>
                    <a:pt x="308249" y="437661"/>
                    <a:pt x="327934" y="435756"/>
                  </a:cubicBezTo>
                  <a:close/>
                  <a:moveTo>
                    <a:pt x="332379" y="373526"/>
                  </a:moveTo>
                  <a:cubicBezTo>
                    <a:pt x="344444" y="361461"/>
                    <a:pt x="358414" y="357016"/>
                    <a:pt x="375559" y="353206"/>
                  </a:cubicBezTo>
                  <a:cubicBezTo>
                    <a:pt x="384449" y="366541"/>
                    <a:pt x="385084" y="377971"/>
                    <a:pt x="384449" y="390671"/>
                  </a:cubicBezTo>
                  <a:cubicBezTo>
                    <a:pt x="373654" y="401466"/>
                    <a:pt x="360319" y="405276"/>
                    <a:pt x="345714" y="406546"/>
                  </a:cubicBezTo>
                  <a:cubicBezTo>
                    <a:pt x="336189" y="397021"/>
                    <a:pt x="334919" y="385591"/>
                    <a:pt x="332379" y="373526"/>
                  </a:cubicBezTo>
                  <a:close/>
                  <a:moveTo>
                    <a:pt x="386989" y="414166"/>
                  </a:moveTo>
                  <a:cubicBezTo>
                    <a:pt x="398419" y="421786"/>
                    <a:pt x="399689" y="434486"/>
                    <a:pt x="402229" y="446551"/>
                  </a:cubicBezTo>
                  <a:cubicBezTo>
                    <a:pt x="392704" y="456076"/>
                    <a:pt x="381909" y="457981"/>
                    <a:pt x="369844" y="458616"/>
                  </a:cubicBezTo>
                  <a:cubicBezTo>
                    <a:pt x="360954" y="450361"/>
                    <a:pt x="358414" y="439566"/>
                    <a:pt x="355874" y="428771"/>
                  </a:cubicBezTo>
                  <a:cubicBezTo>
                    <a:pt x="363494" y="417341"/>
                    <a:pt x="375559" y="417976"/>
                    <a:pt x="386989" y="414166"/>
                  </a:cubicBezTo>
                  <a:close/>
                  <a:moveTo>
                    <a:pt x="404769" y="279546"/>
                  </a:moveTo>
                  <a:cubicBezTo>
                    <a:pt x="412389" y="289071"/>
                    <a:pt x="413024" y="302406"/>
                    <a:pt x="420009" y="314471"/>
                  </a:cubicBezTo>
                  <a:cubicBezTo>
                    <a:pt x="388894" y="350666"/>
                    <a:pt x="352699" y="279546"/>
                    <a:pt x="404769" y="279546"/>
                  </a:cubicBezTo>
                  <a:close/>
                  <a:moveTo>
                    <a:pt x="372384" y="263036"/>
                  </a:moveTo>
                  <a:cubicBezTo>
                    <a:pt x="363494" y="251606"/>
                    <a:pt x="361589" y="238906"/>
                    <a:pt x="363494" y="223031"/>
                  </a:cubicBezTo>
                  <a:cubicBezTo>
                    <a:pt x="370479" y="220491"/>
                    <a:pt x="376829" y="218586"/>
                    <a:pt x="382544" y="216681"/>
                  </a:cubicBezTo>
                  <a:cubicBezTo>
                    <a:pt x="400324" y="230016"/>
                    <a:pt x="413659" y="260496"/>
                    <a:pt x="372384" y="263036"/>
                  </a:cubicBezTo>
                  <a:close/>
                  <a:moveTo>
                    <a:pt x="354604" y="201441"/>
                  </a:moveTo>
                  <a:cubicBezTo>
                    <a:pt x="345714" y="193186"/>
                    <a:pt x="344444" y="181756"/>
                    <a:pt x="341904" y="168421"/>
                  </a:cubicBezTo>
                  <a:cubicBezTo>
                    <a:pt x="349524" y="165246"/>
                    <a:pt x="356509" y="161436"/>
                    <a:pt x="366669" y="156991"/>
                  </a:cubicBezTo>
                  <a:cubicBezTo>
                    <a:pt x="378099" y="179216"/>
                    <a:pt x="393339" y="203346"/>
                    <a:pt x="354604" y="201441"/>
                  </a:cubicBezTo>
                  <a:close/>
                  <a:moveTo>
                    <a:pt x="363494" y="137306"/>
                  </a:moveTo>
                  <a:cubicBezTo>
                    <a:pt x="354604" y="143656"/>
                    <a:pt x="346984" y="145561"/>
                    <a:pt x="337459" y="146831"/>
                  </a:cubicBezTo>
                  <a:cubicBezTo>
                    <a:pt x="299359" y="106826"/>
                    <a:pt x="355239" y="80791"/>
                    <a:pt x="363494" y="137306"/>
                  </a:cubicBezTo>
                  <a:close/>
                  <a:moveTo>
                    <a:pt x="328569" y="207791"/>
                  </a:moveTo>
                  <a:cubicBezTo>
                    <a:pt x="311424" y="219221"/>
                    <a:pt x="311424" y="219221"/>
                    <a:pt x="293009" y="221761"/>
                  </a:cubicBezTo>
                  <a:cubicBezTo>
                    <a:pt x="268879" y="193821"/>
                    <a:pt x="277134" y="170326"/>
                    <a:pt x="315869" y="174771"/>
                  </a:cubicBezTo>
                  <a:cubicBezTo>
                    <a:pt x="324759" y="187471"/>
                    <a:pt x="324759" y="187471"/>
                    <a:pt x="328569" y="207791"/>
                  </a:cubicBezTo>
                  <a:close/>
                  <a:moveTo>
                    <a:pt x="312694" y="154451"/>
                  </a:moveTo>
                  <a:cubicBezTo>
                    <a:pt x="299994" y="162706"/>
                    <a:pt x="289199" y="165246"/>
                    <a:pt x="276499" y="163341"/>
                  </a:cubicBezTo>
                  <a:cubicBezTo>
                    <a:pt x="267609" y="153816"/>
                    <a:pt x="265069" y="141751"/>
                    <a:pt x="261894" y="127781"/>
                  </a:cubicBezTo>
                  <a:cubicBezTo>
                    <a:pt x="290469" y="104286"/>
                    <a:pt x="308249" y="123336"/>
                    <a:pt x="312694" y="154451"/>
                  </a:cubicBezTo>
                  <a:close/>
                  <a:moveTo>
                    <a:pt x="269514" y="229381"/>
                  </a:moveTo>
                  <a:cubicBezTo>
                    <a:pt x="254909" y="238906"/>
                    <a:pt x="243479" y="242716"/>
                    <a:pt x="230144" y="238906"/>
                  </a:cubicBezTo>
                  <a:cubicBezTo>
                    <a:pt x="222524" y="226841"/>
                    <a:pt x="218714" y="214141"/>
                    <a:pt x="218714" y="200171"/>
                  </a:cubicBezTo>
                  <a:cubicBezTo>
                    <a:pt x="228239" y="191281"/>
                    <a:pt x="238399" y="188106"/>
                    <a:pt x="251734" y="189376"/>
                  </a:cubicBezTo>
                  <a:cubicBezTo>
                    <a:pt x="263799" y="198901"/>
                    <a:pt x="262529" y="214141"/>
                    <a:pt x="269514" y="229381"/>
                  </a:cubicBezTo>
                  <a:close/>
                  <a:moveTo>
                    <a:pt x="205379" y="139846"/>
                  </a:moveTo>
                  <a:cubicBezTo>
                    <a:pt x="241574" y="132861"/>
                    <a:pt x="244114" y="134131"/>
                    <a:pt x="248559" y="165881"/>
                  </a:cubicBezTo>
                  <a:cubicBezTo>
                    <a:pt x="233954" y="174771"/>
                    <a:pt x="233954" y="175406"/>
                    <a:pt x="212364" y="176041"/>
                  </a:cubicBezTo>
                  <a:cubicBezTo>
                    <a:pt x="205379" y="166516"/>
                    <a:pt x="202204" y="155086"/>
                    <a:pt x="205379" y="139846"/>
                  </a:cubicBezTo>
                  <a:close/>
                  <a:moveTo>
                    <a:pt x="146959" y="160166"/>
                  </a:moveTo>
                  <a:cubicBezTo>
                    <a:pt x="155849" y="153181"/>
                    <a:pt x="164739" y="148736"/>
                    <a:pt x="177439" y="151911"/>
                  </a:cubicBezTo>
                  <a:cubicBezTo>
                    <a:pt x="182519" y="162071"/>
                    <a:pt x="186964" y="172231"/>
                    <a:pt x="185694" y="184296"/>
                  </a:cubicBezTo>
                  <a:cubicBezTo>
                    <a:pt x="172359" y="193821"/>
                    <a:pt x="172359" y="193821"/>
                    <a:pt x="154579" y="195726"/>
                  </a:cubicBezTo>
                  <a:cubicBezTo>
                    <a:pt x="149499" y="183026"/>
                    <a:pt x="145689" y="172231"/>
                    <a:pt x="146959" y="160166"/>
                  </a:cubicBezTo>
                  <a:close/>
                  <a:moveTo>
                    <a:pt x="194584" y="209696"/>
                  </a:moveTo>
                  <a:cubicBezTo>
                    <a:pt x="204109" y="225571"/>
                    <a:pt x="203474" y="225571"/>
                    <a:pt x="204744" y="245891"/>
                  </a:cubicBezTo>
                  <a:cubicBezTo>
                    <a:pt x="199029" y="254781"/>
                    <a:pt x="189504" y="257956"/>
                    <a:pt x="176804" y="259861"/>
                  </a:cubicBezTo>
                  <a:cubicBezTo>
                    <a:pt x="160929" y="240811"/>
                    <a:pt x="160294" y="202076"/>
                    <a:pt x="194584" y="209696"/>
                  </a:cubicBezTo>
                  <a:close/>
                  <a:moveTo>
                    <a:pt x="181884" y="289071"/>
                  </a:moveTo>
                  <a:cubicBezTo>
                    <a:pt x="188869" y="277641"/>
                    <a:pt x="200299" y="273196"/>
                    <a:pt x="212999" y="271291"/>
                  </a:cubicBezTo>
                  <a:cubicBezTo>
                    <a:pt x="222524" y="281451"/>
                    <a:pt x="225699" y="292881"/>
                    <a:pt x="226334" y="305581"/>
                  </a:cubicBezTo>
                  <a:cubicBezTo>
                    <a:pt x="211729" y="316376"/>
                    <a:pt x="211729" y="316376"/>
                    <a:pt x="195219" y="317646"/>
                  </a:cubicBezTo>
                  <a:cubicBezTo>
                    <a:pt x="187599" y="310026"/>
                    <a:pt x="186964" y="299231"/>
                    <a:pt x="181884" y="289071"/>
                  </a:cubicBezTo>
                  <a:close/>
                  <a:moveTo>
                    <a:pt x="230779" y="331616"/>
                  </a:moveTo>
                  <a:cubicBezTo>
                    <a:pt x="240304" y="344316"/>
                    <a:pt x="254274" y="374161"/>
                    <a:pt x="232684" y="379876"/>
                  </a:cubicBezTo>
                  <a:cubicBezTo>
                    <a:pt x="193314" y="386226"/>
                    <a:pt x="192679" y="330981"/>
                    <a:pt x="230779" y="331616"/>
                  </a:cubicBezTo>
                  <a:close/>
                  <a:moveTo>
                    <a:pt x="217444" y="409721"/>
                  </a:moveTo>
                  <a:cubicBezTo>
                    <a:pt x="228874" y="401466"/>
                    <a:pt x="239669" y="397656"/>
                    <a:pt x="251734" y="397656"/>
                  </a:cubicBezTo>
                  <a:cubicBezTo>
                    <a:pt x="261259" y="406546"/>
                    <a:pt x="263164" y="417976"/>
                    <a:pt x="261894" y="431311"/>
                  </a:cubicBezTo>
                  <a:cubicBezTo>
                    <a:pt x="252369" y="439566"/>
                    <a:pt x="242209" y="445281"/>
                    <a:pt x="228239" y="444646"/>
                  </a:cubicBezTo>
                  <a:cubicBezTo>
                    <a:pt x="219984" y="435121"/>
                    <a:pt x="219984" y="423691"/>
                    <a:pt x="217444" y="409721"/>
                  </a:cubicBezTo>
                  <a:close/>
                  <a:moveTo>
                    <a:pt x="235224" y="469411"/>
                  </a:moveTo>
                  <a:cubicBezTo>
                    <a:pt x="244749" y="464966"/>
                    <a:pt x="253639" y="460521"/>
                    <a:pt x="262529" y="456076"/>
                  </a:cubicBezTo>
                  <a:cubicBezTo>
                    <a:pt x="276499" y="464966"/>
                    <a:pt x="280309" y="477666"/>
                    <a:pt x="280944" y="492271"/>
                  </a:cubicBezTo>
                  <a:cubicBezTo>
                    <a:pt x="271419" y="503066"/>
                    <a:pt x="259989" y="508781"/>
                    <a:pt x="244749" y="507511"/>
                  </a:cubicBezTo>
                  <a:cubicBezTo>
                    <a:pt x="237129" y="496081"/>
                    <a:pt x="235224" y="484016"/>
                    <a:pt x="235224" y="469411"/>
                  </a:cubicBezTo>
                  <a:close/>
                  <a:moveTo>
                    <a:pt x="256179" y="560851"/>
                  </a:moveTo>
                  <a:cubicBezTo>
                    <a:pt x="253639" y="550691"/>
                    <a:pt x="251734" y="542436"/>
                    <a:pt x="249194" y="534816"/>
                  </a:cubicBezTo>
                  <a:cubicBezTo>
                    <a:pt x="259354" y="524021"/>
                    <a:pt x="271419" y="520846"/>
                    <a:pt x="282849" y="517671"/>
                  </a:cubicBezTo>
                  <a:cubicBezTo>
                    <a:pt x="294279" y="524656"/>
                    <a:pt x="294914" y="535451"/>
                    <a:pt x="297454" y="546246"/>
                  </a:cubicBezTo>
                  <a:cubicBezTo>
                    <a:pt x="286659" y="556406"/>
                    <a:pt x="273959" y="558311"/>
                    <a:pt x="256179" y="560851"/>
                  </a:cubicBezTo>
                  <a:close/>
                  <a:moveTo>
                    <a:pt x="276499" y="606571"/>
                  </a:moveTo>
                  <a:cubicBezTo>
                    <a:pt x="267609" y="600221"/>
                    <a:pt x="265704" y="592601"/>
                    <a:pt x="268879" y="581171"/>
                  </a:cubicBezTo>
                  <a:cubicBezTo>
                    <a:pt x="315869" y="551961"/>
                    <a:pt x="331109" y="608476"/>
                    <a:pt x="276499" y="606571"/>
                  </a:cubicBezTo>
                  <a:close/>
                  <a:moveTo>
                    <a:pt x="348889" y="487826"/>
                  </a:moveTo>
                  <a:cubicBezTo>
                    <a:pt x="362224" y="494811"/>
                    <a:pt x="362859" y="506876"/>
                    <a:pt x="364129" y="523386"/>
                  </a:cubicBezTo>
                  <a:cubicBezTo>
                    <a:pt x="350159" y="528466"/>
                    <a:pt x="338729" y="532911"/>
                    <a:pt x="327934" y="536721"/>
                  </a:cubicBezTo>
                  <a:cubicBezTo>
                    <a:pt x="296819" y="511321"/>
                    <a:pt x="317774" y="493541"/>
                    <a:pt x="348889" y="487826"/>
                  </a:cubicBezTo>
                  <a:close/>
                  <a:moveTo>
                    <a:pt x="339364" y="593871"/>
                  </a:moveTo>
                  <a:cubicBezTo>
                    <a:pt x="329839" y="585616"/>
                    <a:pt x="333014" y="572916"/>
                    <a:pt x="329204" y="562121"/>
                  </a:cubicBezTo>
                  <a:cubicBezTo>
                    <a:pt x="338729" y="548151"/>
                    <a:pt x="353969" y="546246"/>
                    <a:pt x="366669" y="541166"/>
                  </a:cubicBezTo>
                  <a:cubicBezTo>
                    <a:pt x="378099" y="555771"/>
                    <a:pt x="378099" y="555771"/>
                    <a:pt x="380004" y="579266"/>
                  </a:cubicBezTo>
                  <a:cubicBezTo>
                    <a:pt x="362859" y="591331"/>
                    <a:pt x="362859" y="591331"/>
                    <a:pt x="339364" y="593871"/>
                  </a:cubicBezTo>
                  <a:close/>
                  <a:moveTo>
                    <a:pt x="378099" y="481476"/>
                  </a:moveTo>
                  <a:cubicBezTo>
                    <a:pt x="385719" y="471951"/>
                    <a:pt x="394609" y="468141"/>
                    <a:pt x="406674" y="468776"/>
                  </a:cubicBezTo>
                  <a:cubicBezTo>
                    <a:pt x="414294" y="477666"/>
                    <a:pt x="418739" y="487826"/>
                    <a:pt x="420009" y="499256"/>
                  </a:cubicBezTo>
                  <a:cubicBezTo>
                    <a:pt x="413024" y="509416"/>
                    <a:pt x="402864" y="512591"/>
                    <a:pt x="390164" y="515131"/>
                  </a:cubicBezTo>
                  <a:cubicBezTo>
                    <a:pt x="380639" y="504971"/>
                    <a:pt x="380639" y="492906"/>
                    <a:pt x="378099" y="481476"/>
                  </a:cubicBezTo>
                  <a:close/>
                  <a:moveTo>
                    <a:pt x="411119" y="571646"/>
                  </a:moveTo>
                  <a:cubicBezTo>
                    <a:pt x="393339" y="550056"/>
                    <a:pt x="389529" y="530371"/>
                    <a:pt x="425724" y="524021"/>
                  </a:cubicBezTo>
                  <a:cubicBezTo>
                    <a:pt x="432074" y="536721"/>
                    <a:pt x="437154" y="550056"/>
                    <a:pt x="441599" y="564026"/>
                  </a:cubicBezTo>
                  <a:cubicBezTo>
                    <a:pt x="432074" y="571011"/>
                    <a:pt x="422549" y="573551"/>
                    <a:pt x="411119" y="571646"/>
                  </a:cubicBezTo>
                  <a:close/>
                  <a:moveTo>
                    <a:pt x="435884" y="480841"/>
                  </a:moveTo>
                  <a:cubicBezTo>
                    <a:pt x="425724" y="454806"/>
                    <a:pt x="442869" y="452901"/>
                    <a:pt x="462554" y="447821"/>
                  </a:cubicBezTo>
                  <a:cubicBezTo>
                    <a:pt x="487954" y="483381"/>
                    <a:pt x="456204" y="514496"/>
                    <a:pt x="435884" y="480841"/>
                  </a:cubicBezTo>
                  <a:close/>
                  <a:moveTo>
                    <a:pt x="466364" y="555136"/>
                  </a:moveTo>
                  <a:cubicBezTo>
                    <a:pt x="458744" y="541166"/>
                    <a:pt x="447949" y="529736"/>
                    <a:pt x="451759" y="508781"/>
                  </a:cubicBezTo>
                  <a:lnTo>
                    <a:pt x="483509" y="508781"/>
                  </a:lnTo>
                  <a:cubicBezTo>
                    <a:pt x="486684" y="519576"/>
                    <a:pt x="489224" y="530371"/>
                    <a:pt x="491764" y="539261"/>
                  </a:cubicBezTo>
                  <a:cubicBezTo>
                    <a:pt x="486049" y="551961"/>
                    <a:pt x="476524" y="552596"/>
                    <a:pt x="466364" y="555136"/>
                  </a:cubicBezTo>
                  <a:close/>
                  <a:moveTo>
                    <a:pt x="551454" y="482111"/>
                  </a:moveTo>
                  <a:cubicBezTo>
                    <a:pt x="560344" y="494811"/>
                    <a:pt x="569234" y="508146"/>
                    <a:pt x="571139" y="525926"/>
                  </a:cubicBezTo>
                  <a:cubicBezTo>
                    <a:pt x="553359" y="529101"/>
                    <a:pt x="537484" y="532911"/>
                    <a:pt x="520339" y="539261"/>
                  </a:cubicBezTo>
                  <a:cubicBezTo>
                    <a:pt x="509544" y="525926"/>
                    <a:pt x="510179" y="511321"/>
                    <a:pt x="508274" y="496081"/>
                  </a:cubicBezTo>
                  <a:cubicBezTo>
                    <a:pt x="522244" y="487826"/>
                    <a:pt x="534309" y="480841"/>
                    <a:pt x="551454" y="482111"/>
                  </a:cubicBezTo>
                  <a:close/>
                  <a:moveTo>
                    <a:pt x="543199" y="456076"/>
                  </a:moveTo>
                  <a:cubicBezTo>
                    <a:pt x="529229" y="464331"/>
                    <a:pt x="516529" y="470681"/>
                    <a:pt x="501289" y="473856"/>
                  </a:cubicBezTo>
                  <a:cubicBezTo>
                    <a:pt x="492399" y="464966"/>
                    <a:pt x="489224" y="454171"/>
                    <a:pt x="487954" y="441471"/>
                  </a:cubicBezTo>
                  <a:cubicBezTo>
                    <a:pt x="500019" y="428771"/>
                    <a:pt x="515894" y="429406"/>
                    <a:pt x="531769" y="423056"/>
                  </a:cubicBezTo>
                  <a:cubicBezTo>
                    <a:pt x="536214" y="435756"/>
                    <a:pt x="539389" y="445281"/>
                    <a:pt x="543199" y="456076"/>
                  </a:cubicBezTo>
                  <a:close/>
                  <a:moveTo>
                    <a:pt x="481604" y="419246"/>
                  </a:moveTo>
                  <a:cubicBezTo>
                    <a:pt x="477794" y="409721"/>
                    <a:pt x="475254" y="403371"/>
                    <a:pt x="472714" y="396386"/>
                  </a:cubicBezTo>
                  <a:cubicBezTo>
                    <a:pt x="517799" y="362096"/>
                    <a:pt x="550184" y="405276"/>
                    <a:pt x="481604" y="419246"/>
                  </a:cubicBezTo>
                  <a:close/>
                  <a:moveTo>
                    <a:pt x="510179" y="353206"/>
                  </a:moveTo>
                  <a:cubicBezTo>
                    <a:pt x="496209" y="364636"/>
                    <a:pt x="480969" y="369081"/>
                    <a:pt x="458744" y="367811"/>
                  </a:cubicBezTo>
                  <a:cubicBezTo>
                    <a:pt x="455569" y="354476"/>
                    <a:pt x="453029" y="342411"/>
                    <a:pt x="449854" y="330346"/>
                  </a:cubicBezTo>
                  <a:cubicBezTo>
                    <a:pt x="462554" y="318916"/>
                    <a:pt x="475254" y="312566"/>
                    <a:pt x="493034" y="317011"/>
                  </a:cubicBezTo>
                  <a:cubicBezTo>
                    <a:pt x="500019" y="328441"/>
                    <a:pt x="505734" y="339871"/>
                    <a:pt x="510179" y="353206"/>
                  </a:cubicBezTo>
                  <a:close/>
                  <a:moveTo>
                    <a:pt x="484144" y="289706"/>
                  </a:moveTo>
                  <a:cubicBezTo>
                    <a:pt x="470174" y="295421"/>
                    <a:pt x="457474" y="303041"/>
                    <a:pt x="442234" y="304946"/>
                  </a:cubicBezTo>
                  <a:cubicBezTo>
                    <a:pt x="430804" y="295421"/>
                    <a:pt x="430169" y="282721"/>
                    <a:pt x="428899" y="271926"/>
                  </a:cubicBezTo>
                  <a:cubicBezTo>
                    <a:pt x="437789" y="259861"/>
                    <a:pt x="449219" y="264941"/>
                    <a:pt x="459379" y="264306"/>
                  </a:cubicBezTo>
                  <a:cubicBezTo>
                    <a:pt x="479699" y="259861"/>
                    <a:pt x="481604" y="270656"/>
                    <a:pt x="484144" y="289706"/>
                  </a:cubicBezTo>
                  <a:close/>
                  <a:moveTo>
                    <a:pt x="465729" y="238271"/>
                  </a:moveTo>
                  <a:cubicBezTo>
                    <a:pt x="451759" y="240811"/>
                    <a:pt x="439059" y="242716"/>
                    <a:pt x="424454" y="245256"/>
                  </a:cubicBezTo>
                  <a:cubicBezTo>
                    <a:pt x="416199" y="233191"/>
                    <a:pt x="410484" y="221761"/>
                    <a:pt x="413024" y="206521"/>
                  </a:cubicBezTo>
                  <a:cubicBezTo>
                    <a:pt x="423819" y="198266"/>
                    <a:pt x="437154" y="198901"/>
                    <a:pt x="451759" y="193186"/>
                  </a:cubicBezTo>
                  <a:cubicBezTo>
                    <a:pt x="460649" y="208426"/>
                    <a:pt x="465094" y="221761"/>
                    <a:pt x="465729" y="238271"/>
                  </a:cubicBezTo>
                  <a:close/>
                  <a:moveTo>
                    <a:pt x="443504" y="167786"/>
                  </a:moveTo>
                  <a:cubicBezTo>
                    <a:pt x="433979" y="181121"/>
                    <a:pt x="418739" y="181756"/>
                    <a:pt x="404769" y="183661"/>
                  </a:cubicBezTo>
                  <a:cubicBezTo>
                    <a:pt x="395244" y="175406"/>
                    <a:pt x="392069" y="165881"/>
                    <a:pt x="395244" y="152546"/>
                  </a:cubicBezTo>
                  <a:cubicBezTo>
                    <a:pt x="406039" y="149371"/>
                    <a:pt x="418104" y="145561"/>
                    <a:pt x="428899" y="142386"/>
                  </a:cubicBezTo>
                  <a:cubicBezTo>
                    <a:pt x="440964" y="147466"/>
                    <a:pt x="441599" y="157626"/>
                    <a:pt x="443504" y="167786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4" name="Google Shape;454;p8">
              <a:extLst>
                <a:ext uri="{FF2B5EF4-FFF2-40B4-BE49-F238E27FC236}">
                  <a16:creationId xmlns:a16="http://schemas.microsoft.com/office/drawing/2014/main" id="{99AD2AE6-9050-4889-82F2-C1419125FF29}"/>
                </a:ext>
              </a:extLst>
            </p:cNvPr>
            <p:cNvSpPr/>
            <p:nvPr/>
          </p:nvSpPr>
          <p:spPr>
            <a:xfrm>
              <a:off x="8699186" y="523462"/>
              <a:ext cx="403969" cy="323646"/>
            </a:xfrm>
            <a:custGeom>
              <a:avLst/>
              <a:gdLst/>
              <a:ahLst/>
              <a:cxnLst/>
              <a:rect l="l" t="t" r="r" b="b"/>
              <a:pathLst>
                <a:path w="832925" h="667312" extrusionOk="0">
                  <a:moveTo>
                    <a:pt x="832654" y="510467"/>
                  </a:moveTo>
                  <a:cubicBezTo>
                    <a:pt x="829479" y="434902"/>
                    <a:pt x="811699" y="361242"/>
                    <a:pt x="802174" y="286312"/>
                  </a:cubicBezTo>
                  <a:cubicBezTo>
                    <a:pt x="772964" y="118672"/>
                    <a:pt x="808524" y="-22933"/>
                    <a:pt x="580559" y="3102"/>
                  </a:cubicBezTo>
                  <a:cubicBezTo>
                    <a:pt x="476419" y="-8963"/>
                    <a:pt x="405934" y="116132"/>
                    <a:pt x="355134" y="85652"/>
                  </a:cubicBezTo>
                  <a:cubicBezTo>
                    <a:pt x="259884" y="32312"/>
                    <a:pt x="139869" y="51362"/>
                    <a:pt x="38269" y="73587"/>
                  </a:cubicBezTo>
                  <a:cubicBezTo>
                    <a:pt x="-11261" y="84382"/>
                    <a:pt x="-2371" y="107242"/>
                    <a:pt x="8424" y="146612"/>
                  </a:cubicBezTo>
                  <a:cubicBezTo>
                    <a:pt x="29379" y="309172"/>
                    <a:pt x="48429" y="470462"/>
                    <a:pt x="82084" y="629847"/>
                  </a:cubicBezTo>
                  <a:cubicBezTo>
                    <a:pt x="83989" y="650802"/>
                    <a:pt x="107484" y="641277"/>
                    <a:pt x="120184" y="636197"/>
                  </a:cubicBezTo>
                  <a:cubicBezTo>
                    <a:pt x="129709" y="645722"/>
                    <a:pt x="124629" y="663502"/>
                    <a:pt x="143044" y="667312"/>
                  </a:cubicBezTo>
                  <a:cubicBezTo>
                    <a:pt x="237024" y="612067"/>
                    <a:pt x="358309" y="609527"/>
                    <a:pt x="463084" y="627942"/>
                  </a:cubicBezTo>
                  <a:cubicBezTo>
                    <a:pt x="553254" y="563807"/>
                    <a:pt x="668824" y="563172"/>
                    <a:pt x="774869" y="573967"/>
                  </a:cubicBezTo>
                  <a:cubicBezTo>
                    <a:pt x="792014" y="565712"/>
                    <a:pt x="786299" y="546027"/>
                    <a:pt x="793919" y="532692"/>
                  </a:cubicBezTo>
                  <a:cubicBezTo>
                    <a:pt x="810429" y="527612"/>
                    <a:pt x="835829" y="539677"/>
                    <a:pt x="832654" y="510467"/>
                  </a:cubicBezTo>
                  <a:close/>
                  <a:moveTo>
                    <a:pt x="377359" y="595557"/>
                  </a:moveTo>
                  <a:cubicBezTo>
                    <a:pt x="298619" y="600002"/>
                    <a:pt x="222419" y="601907"/>
                    <a:pt x="148759" y="633022"/>
                  </a:cubicBezTo>
                  <a:cubicBezTo>
                    <a:pt x="134789" y="583492"/>
                    <a:pt x="351959" y="558092"/>
                    <a:pt x="385614" y="586667"/>
                  </a:cubicBezTo>
                  <a:cubicBezTo>
                    <a:pt x="385614" y="594287"/>
                    <a:pt x="381804" y="595557"/>
                    <a:pt x="377359" y="595557"/>
                  </a:cubicBezTo>
                  <a:close/>
                  <a:moveTo>
                    <a:pt x="432604" y="585397"/>
                  </a:moveTo>
                  <a:cubicBezTo>
                    <a:pt x="332909" y="518722"/>
                    <a:pt x="209084" y="561267"/>
                    <a:pt x="107484" y="605717"/>
                  </a:cubicBezTo>
                  <a:cubicBezTo>
                    <a:pt x="60494" y="509832"/>
                    <a:pt x="77639" y="394897"/>
                    <a:pt x="47159" y="292662"/>
                  </a:cubicBezTo>
                  <a:cubicBezTo>
                    <a:pt x="51604" y="252022"/>
                    <a:pt x="2074" y="106607"/>
                    <a:pt x="45254" y="97082"/>
                  </a:cubicBezTo>
                  <a:cubicBezTo>
                    <a:pt x="143044" y="74857"/>
                    <a:pt x="338624" y="38027"/>
                    <a:pt x="385614" y="152962"/>
                  </a:cubicBezTo>
                  <a:cubicBezTo>
                    <a:pt x="410379" y="295837"/>
                    <a:pt x="436414" y="439347"/>
                    <a:pt x="432604" y="585397"/>
                  </a:cubicBezTo>
                  <a:close/>
                  <a:moveTo>
                    <a:pt x="766614" y="547297"/>
                  </a:moveTo>
                  <a:cubicBezTo>
                    <a:pt x="691049" y="546662"/>
                    <a:pt x="619294" y="547297"/>
                    <a:pt x="546269" y="561267"/>
                  </a:cubicBezTo>
                  <a:cubicBezTo>
                    <a:pt x="548809" y="521262"/>
                    <a:pt x="785664" y="490782"/>
                    <a:pt x="766614" y="547297"/>
                  </a:cubicBezTo>
                  <a:close/>
                  <a:moveTo>
                    <a:pt x="804714" y="505387"/>
                  </a:moveTo>
                  <a:cubicBezTo>
                    <a:pt x="673269" y="483162"/>
                    <a:pt x="569129" y="493322"/>
                    <a:pt x="464354" y="577777"/>
                  </a:cubicBezTo>
                  <a:cubicBezTo>
                    <a:pt x="442129" y="429187"/>
                    <a:pt x="440224" y="275517"/>
                    <a:pt x="403394" y="128197"/>
                  </a:cubicBezTo>
                  <a:cubicBezTo>
                    <a:pt x="464989" y="31677"/>
                    <a:pt x="617389" y="-10233"/>
                    <a:pt x="717084" y="45647"/>
                  </a:cubicBezTo>
                  <a:cubicBezTo>
                    <a:pt x="772964" y="92637"/>
                    <a:pt x="754549" y="188522"/>
                    <a:pt x="772329" y="255197"/>
                  </a:cubicBezTo>
                  <a:cubicBezTo>
                    <a:pt x="776774" y="340287"/>
                    <a:pt x="809159" y="420932"/>
                    <a:pt x="804714" y="505387"/>
                  </a:cubicBezTo>
                  <a:close/>
                  <a:moveTo>
                    <a:pt x="634534" y="306632"/>
                  </a:moveTo>
                  <a:cubicBezTo>
                    <a:pt x="633264" y="339652"/>
                    <a:pt x="643424" y="370132"/>
                    <a:pt x="639614" y="404422"/>
                  </a:cubicBezTo>
                  <a:cubicBezTo>
                    <a:pt x="447209" y="426012"/>
                    <a:pt x="456734" y="468557"/>
                    <a:pt x="644059" y="424107"/>
                  </a:cubicBezTo>
                  <a:cubicBezTo>
                    <a:pt x="648504" y="439347"/>
                    <a:pt x="652314" y="453317"/>
                    <a:pt x="656759" y="468557"/>
                  </a:cubicBezTo>
                  <a:cubicBezTo>
                    <a:pt x="692954" y="465382"/>
                    <a:pt x="738674" y="470462"/>
                    <a:pt x="767249" y="447602"/>
                  </a:cubicBezTo>
                  <a:cubicBezTo>
                    <a:pt x="737404" y="353622"/>
                    <a:pt x="781219" y="259007"/>
                    <a:pt x="634534" y="306632"/>
                  </a:cubicBezTo>
                  <a:close/>
                  <a:moveTo>
                    <a:pt x="675809" y="441887"/>
                  </a:moveTo>
                  <a:cubicBezTo>
                    <a:pt x="660569" y="405692"/>
                    <a:pt x="656759" y="376482"/>
                    <a:pt x="661839" y="327587"/>
                  </a:cubicBezTo>
                  <a:cubicBezTo>
                    <a:pt x="682159" y="317427"/>
                    <a:pt x="701844" y="319967"/>
                    <a:pt x="721529" y="322507"/>
                  </a:cubicBezTo>
                  <a:cubicBezTo>
                    <a:pt x="738039" y="356162"/>
                    <a:pt x="730419" y="395532"/>
                    <a:pt x="736134" y="433632"/>
                  </a:cubicBezTo>
                  <a:cubicBezTo>
                    <a:pt x="715814" y="436172"/>
                    <a:pt x="696129" y="443792"/>
                    <a:pt x="675809" y="441887"/>
                  </a:cubicBezTo>
                  <a:close/>
                  <a:moveTo>
                    <a:pt x="732959" y="166932"/>
                  </a:moveTo>
                  <a:cubicBezTo>
                    <a:pt x="737404" y="169472"/>
                    <a:pt x="744389" y="166932"/>
                    <a:pt x="745659" y="161217"/>
                  </a:cubicBezTo>
                  <a:cubicBezTo>
                    <a:pt x="744389" y="125657"/>
                    <a:pt x="672634" y="141532"/>
                    <a:pt x="657394" y="133912"/>
                  </a:cubicBezTo>
                  <a:cubicBezTo>
                    <a:pt x="623104" y="134547"/>
                    <a:pt x="419904" y="153597"/>
                    <a:pt x="476419" y="191697"/>
                  </a:cubicBezTo>
                  <a:cubicBezTo>
                    <a:pt x="556429" y="162487"/>
                    <a:pt x="649774" y="134547"/>
                    <a:pt x="732959" y="166932"/>
                  </a:cubicBezTo>
                  <a:close/>
                  <a:moveTo>
                    <a:pt x="726609" y="92002"/>
                  </a:moveTo>
                  <a:cubicBezTo>
                    <a:pt x="717719" y="29772"/>
                    <a:pt x="482134" y="92002"/>
                    <a:pt x="449114" y="126927"/>
                  </a:cubicBezTo>
                  <a:cubicBezTo>
                    <a:pt x="452924" y="132642"/>
                    <a:pt x="455464" y="137087"/>
                    <a:pt x="459274" y="143437"/>
                  </a:cubicBezTo>
                  <a:cubicBezTo>
                    <a:pt x="539284" y="94542"/>
                    <a:pt x="635169" y="79937"/>
                    <a:pt x="726609" y="92002"/>
                  </a:cubicBezTo>
                  <a:close/>
                  <a:moveTo>
                    <a:pt x="494199" y="248847"/>
                  </a:moveTo>
                  <a:cubicBezTo>
                    <a:pt x="562144" y="217097"/>
                    <a:pt x="643424" y="223447"/>
                    <a:pt x="716449" y="235512"/>
                  </a:cubicBezTo>
                  <a:cubicBezTo>
                    <a:pt x="743119" y="187887"/>
                    <a:pt x="480229" y="199317"/>
                    <a:pt x="478959" y="238687"/>
                  </a:cubicBezTo>
                  <a:cubicBezTo>
                    <a:pt x="478959" y="246942"/>
                    <a:pt x="487214" y="252657"/>
                    <a:pt x="494199" y="248847"/>
                  </a:cubicBezTo>
                  <a:close/>
                  <a:moveTo>
                    <a:pt x="528489" y="290122"/>
                  </a:moveTo>
                  <a:cubicBezTo>
                    <a:pt x="592624" y="271707"/>
                    <a:pt x="654854" y="280597"/>
                    <a:pt x="720259" y="272977"/>
                  </a:cubicBezTo>
                  <a:cubicBezTo>
                    <a:pt x="682159" y="245037"/>
                    <a:pt x="508804" y="252022"/>
                    <a:pt x="482769" y="285677"/>
                  </a:cubicBezTo>
                  <a:cubicBezTo>
                    <a:pt x="488484" y="303457"/>
                    <a:pt x="515154" y="290122"/>
                    <a:pt x="528489" y="290122"/>
                  </a:cubicBezTo>
                  <a:close/>
                  <a:moveTo>
                    <a:pt x="487214" y="344097"/>
                  </a:moveTo>
                  <a:cubicBezTo>
                    <a:pt x="524679" y="329492"/>
                    <a:pt x="568494" y="330762"/>
                    <a:pt x="602784" y="322507"/>
                  </a:cubicBezTo>
                  <a:cubicBezTo>
                    <a:pt x="610404" y="283772"/>
                    <a:pt x="438954" y="313617"/>
                    <a:pt x="487214" y="344097"/>
                  </a:cubicBezTo>
                  <a:close/>
                  <a:moveTo>
                    <a:pt x="570399" y="357432"/>
                  </a:moveTo>
                  <a:cubicBezTo>
                    <a:pt x="570399" y="356797"/>
                    <a:pt x="570399" y="356162"/>
                    <a:pt x="569764" y="355527"/>
                  </a:cubicBezTo>
                  <a:cubicBezTo>
                    <a:pt x="552619" y="361242"/>
                    <a:pt x="472609" y="361242"/>
                    <a:pt x="503089" y="389817"/>
                  </a:cubicBezTo>
                  <a:cubicBezTo>
                    <a:pt x="527219" y="389817"/>
                    <a:pt x="663744" y="368862"/>
                    <a:pt x="570399" y="357432"/>
                  </a:cubicBezTo>
                  <a:close/>
                  <a:moveTo>
                    <a:pt x="527219" y="465382"/>
                  </a:moveTo>
                  <a:cubicBezTo>
                    <a:pt x="531029" y="504752"/>
                    <a:pt x="577384" y="471097"/>
                    <a:pt x="599609" y="467287"/>
                  </a:cubicBezTo>
                  <a:cubicBezTo>
                    <a:pt x="643424" y="424742"/>
                    <a:pt x="545634" y="460937"/>
                    <a:pt x="527219" y="465382"/>
                  </a:cubicBezTo>
                  <a:close/>
                  <a:moveTo>
                    <a:pt x="80814" y="149152"/>
                  </a:moveTo>
                  <a:cubicBezTo>
                    <a:pt x="89069" y="207572"/>
                    <a:pt x="91609" y="268532"/>
                    <a:pt x="106849" y="325682"/>
                  </a:cubicBezTo>
                  <a:cubicBezTo>
                    <a:pt x="121454" y="349812"/>
                    <a:pt x="158284" y="325047"/>
                    <a:pt x="180509" y="323777"/>
                  </a:cubicBezTo>
                  <a:cubicBezTo>
                    <a:pt x="231944" y="314887"/>
                    <a:pt x="315129" y="299647"/>
                    <a:pt x="360849" y="323777"/>
                  </a:cubicBezTo>
                  <a:cubicBezTo>
                    <a:pt x="404029" y="299647"/>
                    <a:pt x="364024" y="247577"/>
                    <a:pt x="364024" y="210112"/>
                  </a:cubicBezTo>
                  <a:cubicBezTo>
                    <a:pt x="369104" y="76127"/>
                    <a:pt x="162729" y="123752"/>
                    <a:pt x="80814" y="149152"/>
                  </a:cubicBezTo>
                  <a:close/>
                  <a:moveTo>
                    <a:pt x="354499" y="290122"/>
                  </a:moveTo>
                  <a:cubicBezTo>
                    <a:pt x="277029" y="288852"/>
                    <a:pt x="202099" y="298377"/>
                    <a:pt x="125899" y="307902"/>
                  </a:cubicBezTo>
                  <a:cubicBezTo>
                    <a:pt x="118914" y="262817"/>
                    <a:pt x="111929" y="218367"/>
                    <a:pt x="104944" y="172647"/>
                  </a:cubicBezTo>
                  <a:cubicBezTo>
                    <a:pt x="172254" y="133277"/>
                    <a:pt x="262424" y="130102"/>
                    <a:pt x="332909" y="165662"/>
                  </a:cubicBezTo>
                  <a:cubicBezTo>
                    <a:pt x="350054" y="232337"/>
                    <a:pt x="357039" y="269802"/>
                    <a:pt x="354499" y="290122"/>
                  </a:cubicBezTo>
                  <a:close/>
                  <a:moveTo>
                    <a:pt x="227499" y="369497"/>
                  </a:moveTo>
                  <a:cubicBezTo>
                    <a:pt x="222419" y="351082"/>
                    <a:pt x="220514" y="348542"/>
                    <a:pt x="210989" y="347907"/>
                  </a:cubicBezTo>
                  <a:cubicBezTo>
                    <a:pt x="187494" y="351082"/>
                    <a:pt x="103039" y="349812"/>
                    <a:pt x="130344" y="388547"/>
                  </a:cubicBezTo>
                  <a:cubicBezTo>
                    <a:pt x="161459" y="381562"/>
                    <a:pt x="191304" y="365687"/>
                    <a:pt x="227499" y="369497"/>
                  </a:cubicBezTo>
                  <a:close/>
                  <a:moveTo>
                    <a:pt x="143679" y="431727"/>
                  </a:moveTo>
                  <a:cubicBezTo>
                    <a:pt x="177334" y="419662"/>
                    <a:pt x="207814" y="421567"/>
                    <a:pt x="243374" y="420297"/>
                  </a:cubicBezTo>
                  <a:cubicBezTo>
                    <a:pt x="233849" y="382832"/>
                    <a:pt x="99864" y="399342"/>
                    <a:pt x="143679" y="431727"/>
                  </a:cubicBezTo>
                  <a:close/>
                  <a:moveTo>
                    <a:pt x="288459" y="401882"/>
                  </a:moveTo>
                  <a:cubicBezTo>
                    <a:pt x="315764" y="406327"/>
                    <a:pt x="342434" y="389817"/>
                    <a:pt x="369739" y="399977"/>
                  </a:cubicBezTo>
                  <a:cubicBezTo>
                    <a:pt x="371644" y="400612"/>
                    <a:pt x="375454" y="395532"/>
                    <a:pt x="379899" y="392357"/>
                  </a:cubicBezTo>
                  <a:cubicBezTo>
                    <a:pt x="375454" y="363147"/>
                    <a:pt x="253534" y="375212"/>
                    <a:pt x="288459" y="401882"/>
                  </a:cubicBezTo>
                  <a:close/>
                  <a:moveTo>
                    <a:pt x="207179" y="439982"/>
                  </a:moveTo>
                  <a:cubicBezTo>
                    <a:pt x="207179" y="440617"/>
                    <a:pt x="207179" y="440617"/>
                    <a:pt x="207179" y="441252"/>
                  </a:cubicBezTo>
                  <a:cubicBezTo>
                    <a:pt x="190034" y="445697"/>
                    <a:pt x="151934" y="438077"/>
                    <a:pt x="148759" y="460302"/>
                  </a:cubicBezTo>
                  <a:cubicBezTo>
                    <a:pt x="155109" y="492687"/>
                    <a:pt x="295444" y="438712"/>
                    <a:pt x="207179" y="439982"/>
                  </a:cubicBezTo>
                  <a:close/>
                  <a:moveTo>
                    <a:pt x="297984" y="448237"/>
                  </a:moveTo>
                  <a:cubicBezTo>
                    <a:pt x="320844" y="443792"/>
                    <a:pt x="368469" y="461572"/>
                    <a:pt x="371009" y="427282"/>
                  </a:cubicBezTo>
                  <a:cubicBezTo>
                    <a:pt x="350054" y="426012"/>
                    <a:pt x="270044" y="410772"/>
                    <a:pt x="297984" y="448237"/>
                  </a:cubicBezTo>
                  <a:close/>
                  <a:moveTo>
                    <a:pt x="291634" y="359972"/>
                  </a:moveTo>
                  <a:cubicBezTo>
                    <a:pt x="311954" y="347907"/>
                    <a:pt x="353864" y="361242"/>
                    <a:pt x="362754" y="339652"/>
                  </a:cubicBezTo>
                  <a:cubicBezTo>
                    <a:pt x="350054" y="319332"/>
                    <a:pt x="244009" y="335207"/>
                    <a:pt x="291634" y="359972"/>
                  </a:cubicBezTo>
                  <a:close/>
                  <a:moveTo>
                    <a:pt x="177969" y="519357"/>
                  </a:moveTo>
                  <a:cubicBezTo>
                    <a:pt x="199559" y="512372"/>
                    <a:pt x="228134" y="521897"/>
                    <a:pt x="239564" y="497132"/>
                  </a:cubicBezTo>
                  <a:cubicBezTo>
                    <a:pt x="217974" y="490147"/>
                    <a:pt x="144314" y="494592"/>
                    <a:pt x="177969" y="519357"/>
                  </a:cubicBezTo>
                  <a:close/>
                  <a:moveTo>
                    <a:pt x="332274" y="485067"/>
                  </a:moveTo>
                  <a:cubicBezTo>
                    <a:pt x="311954" y="485702"/>
                    <a:pt x="265599" y="490782"/>
                    <a:pt x="301794" y="508562"/>
                  </a:cubicBezTo>
                  <a:cubicBezTo>
                    <a:pt x="326559" y="509832"/>
                    <a:pt x="396409" y="498402"/>
                    <a:pt x="332274" y="485067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5" name="Google Shape;455;p8">
              <a:extLst>
                <a:ext uri="{FF2B5EF4-FFF2-40B4-BE49-F238E27FC236}">
                  <a16:creationId xmlns:a16="http://schemas.microsoft.com/office/drawing/2014/main" id="{C57713A8-CEA2-47F3-BD43-6ADEB3FE868B}"/>
                </a:ext>
              </a:extLst>
            </p:cNvPr>
            <p:cNvSpPr/>
            <p:nvPr/>
          </p:nvSpPr>
          <p:spPr>
            <a:xfrm>
              <a:off x="6870722" y="1009504"/>
              <a:ext cx="256151" cy="229019"/>
            </a:xfrm>
            <a:custGeom>
              <a:avLst/>
              <a:gdLst/>
              <a:ahLst/>
              <a:cxnLst/>
              <a:rect l="l" t="t" r="r" b="b"/>
              <a:pathLst>
                <a:path w="528147" h="472205" extrusionOk="0">
                  <a:moveTo>
                    <a:pt x="395469" y="177165"/>
                  </a:moveTo>
                  <a:cubicBezTo>
                    <a:pt x="443094" y="36830"/>
                    <a:pt x="381499" y="-53340"/>
                    <a:pt x="264659" y="86360"/>
                  </a:cubicBezTo>
                  <a:cubicBezTo>
                    <a:pt x="239894" y="41275"/>
                    <a:pt x="195444" y="0"/>
                    <a:pt x="143374" y="0"/>
                  </a:cubicBezTo>
                  <a:cubicBezTo>
                    <a:pt x="65269" y="15240"/>
                    <a:pt x="123054" y="139065"/>
                    <a:pt x="131944" y="187325"/>
                  </a:cubicBezTo>
                  <a:cubicBezTo>
                    <a:pt x="76064" y="179070"/>
                    <a:pt x="-40776" y="242570"/>
                    <a:pt x="14469" y="300990"/>
                  </a:cubicBezTo>
                  <a:cubicBezTo>
                    <a:pt x="41774" y="327660"/>
                    <a:pt x="81144" y="321945"/>
                    <a:pt x="109719" y="344170"/>
                  </a:cubicBezTo>
                  <a:cubicBezTo>
                    <a:pt x="102734" y="370840"/>
                    <a:pt x="109084" y="399415"/>
                    <a:pt x="92574" y="423545"/>
                  </a:cubicBezTo>
                  <a:cubicBezTo>
                    <a:pt x="86859" y="433070"/>
                    <a:pt x="90034" y="441960"/>
                    <a:pt x="95749" y="450215"/>
                  </a:cubicBezTo>
                  <a:cubicBezTo>
                    <a:pt x="112259" y="475615"/>
                    <a:pt x="147819" y="474345"/>
                    <a:pt x="159249" y="450850"/>
                  </a:cubicBezTo>
                  <a:cubicBezTo>
                    <a:pt x="175759" y="424180"/>
                    <a:pt x="207509" y="409575"/>
                    <a:pt x="235449" y="397510"/>
                  </a:cubicBezTo>
                  <a:cubicBezTo>
                    <a:pt x="289424" y="513715"/>
                    <a:pt x="403724" y="490220"/>
                    <a:pt x="379594" y="355600"/>
                  </a:cubicBezTo>
                  <a:cubicBezTo>
                    <a:pt x="470399" y="330200"/>
                    <a:pt x="493259" y="345440"/>
                    <a:pt x="525009" y="245110"/>
                  </a:cubicBezTo>
                  <a:cubicBezTo>
                    <a:pt x="549139" y="182880"/>
                    <a:pt x="427219" y="204470"/>
                    <a:pt x="395469" y="177165"/>
                  </a:cubicBezTo>
                  <a:close/>
                  <a:moveTo>
                    <a:pt x="392294" y="59055"/>
                  </a:moveTo>
                  <a:cubicBezTo>
                    <a:pt x="393564" y="106680"/>
                    <a:pt x="391659" y="133985"/>
                    <a:pt x="363719" y="175260"/>
                  </a:cubicBezTo>
                  <a:cubicBezTo>
                    <a:pt x="314824" y="185420"/>
                    <a:pt x="309744" y="137795"/>
                    <a:pt x="290059" y="103505"/>
                  </a:cubicBezTo>
                  <a:cubicBezTo>
                    <a:pt x="316094" y="73025"/>
                    <a:pt x="348479" y="12065"/>
                    <a:pt x="392294" y="59055"/>
                  </a:cubicBezTo>
                  <a:close/>
                  <a:moveTo>
                    <a:pt x="347209" y="325755"/>
                  </a:moveTo>
                  <a:cubicBezTo>
                    <a:pt x="331969" y="330835"/>
                    <a:pt x="317999" y="330200"/>
                    <a:pt x="298314" y="327025"/>
                  </a:cubicBezTo>
                  <a:cubicBezTo>
                    <a:pt x="311649" y="308610"/>
                    <a:pt x="318634" y="292100"/>
                    <a:pt x="333239" y="278130"/>
                  </a:cubicBezTo>
                  <a:cubicBezTo>
                    <a:pt x="345304" y="292735"/>
                    <a:pt x="349749" y="307975"/>
                    <a:pt x="347209" y="325755"/>
                  </a:cubicBezTo>
                  <a:close/>
                  <a:moveTo>
                    <a:pt x="271009" y="130175"/>
                  </a:moveTo>
                  <a:cubicBezTo>
                    <a:pt x="287519" y="140970"/>
                    <a:pt x="288789" y="144145"/>
                    <a:pt x="293234" y="172720"/>
                  </a:cubicBezTo>
                  <a:cubicBezTo>
                    <a:pt x="277359" y="178435"/>
                    <a:pt x="262119" y="180975"/>
                    <a:pt x="244339" y="174625"/>
                  </a:cubicBezTo>
                  <a:cubicBezTo>
                    <a:pt x="247514" y="155575"/>
                    <a:pt x="259579" y="142875"/>
                    <a:pt x="271009" y="130175"/>
                  </a:cubicBezTo>
                  <a:close/>
                  <a:moveTo>
                    <a:pt x="131309" y="77470"/>
                  </a:moveTo>
                  <a:cubicBezTo>
                    <a:pt x="173854" y="74930"/>
                    <a:pt x="176394" y="73025"/>
                    <a:pt x="187189" y="26670"/>
                  </a:cubicBezTo>
                  <a:cubicBezTo>
                    <a:pt x="208779" y="61595"/>
                    <a:pt x="240529" y="69215"/>
                    <a:pt x="250689" y="109220"/>
                  </a:cubicBezTo>
                  <a:cubicBezTo>
                    <a:pt x="229099" y="140970"/>
                    <a:pt x="209414" y="200025"/>
                    <a:pt x="161154" y="180975"/>
                  </a:cubicBezTo>
                  <a:cubicBezTo>
                    <a:pt x="144644" y="148590"/>
                    <a:pt x="124324" y="116840"/>
                    <a:pt x="131309" y="77470"/>
                  </a:cubicBezTo>
                  <a:close/>
                  <a:moveTo>
                    <a:pt x="191634" y="321310"/>
                  </a:moveTo>
                  <a:cubicBezTo>
                    <a:pt x="176394" y="325755"/>
                    <a:pt x="165599" y="326390"/>
                    <a:pt x="154169" y="320040"/>
                  </a:cubicBezTo>
                  <a:cubicBezTo>
                    <a:pt x="156074" y="305435"/>
                    <a:pt x="160519" y="293370"/>
                    <a:pt x="172584" y="283210"/>
                  </a:cubicBezTo>
                  <a:cubicBezTo>
                    <a:pt x="185284" y="292735"/>
                    <a:pt x="185919" y="306070"/>
                    <a:pt x="191634" y="321310"/>
                  </a:cubicBezTo>
                  <a:close/>
                  <a:moveTo>
                    <a:pt x="23359" y="274955"/>
                  </a:moveTo>
                  <a:cubicBezTo>
                    <a:pt x="39869" y="215265"/>
                    <a:pt x="92574" y="210185"/>
                    <a:pt x="145279" y="213995"/>
                  </a:cubicBezTo>
                  <a:cubicBezTo>
                    <a:pt x="175759" y="248285"/>
                    <a:pt x="140834" y="281305"/>
                    <a:pt x="124959" y="314960"/>
                  </a:cubicBezTo>
                  <a:cubicBezTo>
                    <a:pt x="83049" y="313690"/>
                    <a:pt x="43679" y="297815"/>
                    <a:pt x="23359" y="274955"/>
                  </a:cubicBezTo>
                  <a:close/>
                  <a:moveTo>
                    <a:pt x="163059" y="412115"/>
                  </a:moveTo>
                  <a:cubicBezTo>
                    <a:pt x="152264" y="408940"/>
                    <a:pt x="142739" y="405765"/>
                    <a:pt x="131944" y="402590"/>
                  </a:cubicBezTo>
                  <a:cubicBezTo>
                    <a:pt x="125594" y="382905"/>
                    <a:pt x="126229" y="365125"/>
                    <a:pt x="143374" y="347345"/>
                  </a:cubicBezTo>
                  <a:cubicBezTo>
                    <a:pt x="170044" y="349250"/>
                    <a:pt x="208144" y="337185"/>
                    <a:pt x="214494" y="377190"/>
                  </a:cubicBezTo>
                  <a:cubicBezTo>
                    <a:pt x="196714" y="389255"/>
                    <a:pt x="180204" y="400685"/>
                    <a:pt x="163059" y="412115"/>
                  </a:cubicBezTo>
                  <a:close/>
                  <a:moveTo>
                    <a:pt x="225289" y="327025"/>
                  </a:moveTo>
                  <a:cubicBezTo>
                    <a:pt x="170679" y="248285"/>
                    <a:pt x="196079" y="189230"/>
                    <a:pt x="295139" y="198120"/>
                  </a:cubicBezTo>
                  <a:cubicBezTo>
                    <a:pt x="326254" y="193040"/>
                    <a:pt x="331969" y="241935"/>
                    <a:pt x="314824" y="260350"/>
                  </a:cubicBezTo>
                  <a:cubicBezTo>
                    <a:pt x="285614" y="290830"/>
                    <a:pt x="279264" y="341630"/>
                    <a:pt x="225289" y="327025"/>
                  </a:cubicBezTo>
                  <a:close/>
                  <a:moveTo>
                    <a:pt x="253864" y="379095"/>
                  </a:moveTo>
                  <a:cubicBezTo>
                    <a:pt x="271644" y="343535"/>
                    <a:pt x="316729" y="349885"/>
                    <a:pt x="350384" y="355600"/>
                  </a:cubicBezTo>
                  <a:cubicBezTo>
                    <a:pt x="385309" y="470535"/>
                    <a:pt x="287519" y="482600"/>
                    <a:pt x="253864" y="379095"/>
                  </a:cubicBezTo>
                  <a:close/>
                  <a:moveTo>
                    <a:pt x="377689" y="327025"/>
                  </a:moveTo>
                  <a:cubicBezTo>
                    <a:pt x="365624" y="281305"/>
                    <a:pt x="337684" y="234950"/>
                    <a:pt x="383404" y="201295"/>
                  </a:cubicBezTo>
                  <a:cubicBezTo>
                    <a:pt x="408804" y="207645"/>
                    <a:pt x="434204" y="213360"/>
                    <a:pt x="460239" y="219710"/>
                  </a:cubicBezTo>
                  <a:cubicBezTo>
                    <a:pt x="462779" y="241300"/>
                    <a:pt x="469764" y="257175"/>
                    <a:pt x="488179" y="269875"/>
                  </a:cubicBezTo>
                  <a:cubicBezTo>
                    <a:pt x="492624" y="324485"/>
                    <a:pt x="417059" y="320675"/>
                    <a:pt x="377689" y="327025"/>
                  </a:cubicBezTo>
                  <a:close/>
                  <a:moveTo>
                    <a:pt x="257039" y="222250"/>
                  </a:moveTo>
                  <a:cubicBezTo>
                    <a:pt x="196714" y="216535"/>
                    <a:pt x="185284" y="288290"/>
                    <a:pt x="248149" y="290830"/>
                  </a:cubicBezTo>
                  <a:cubicBezTo>
                    <a:pt x="289424" y="291465"/>
                    <a:pt x="307204" y="229235"/>
                    <a:pt x="257039" y="222250"/>
                  </a:cubicBezTo>
                  <a:close/>
                  <a:moveTo>
                    <a:pt x="243069" y="266700"/>
                  </a:moveTo>
                  <a:cubicBezTo>
                    <a:pt x="215764" y="264795"/>
                    <a:pt x="229099" y="242570"/>
                    <a:pt x="248149" y="240030"/>
                  </a:cubicBezTo>
                  <a:cubicBezTo>
                    <a:pt x="272279" y="237490"/>
                    <a:pt x="262119" y="269240"/>
                    <a:pt x="243069" y="266700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6" name="Google Shape;456;p8">
              <a:extLst>
                <a:ext uri="{FF2B5EF4-FFF2-40B4-BE49-F238E27FC236}">
                  <a16:creationId xmlns:a16="http://schemas.microsoft.com/office/drawing/2014/main" id="{7E90AF16-2D94-4AA6-8F4F-BA951107600C}"/>
                </a:ext>
              </a:extLst>
            </p:cNvPr>
            <p:cNvSpPr/>
            <p:nvPr/>
          </p:nvSpPr>
          <p:spPr>
            <a:xfrm rot="-2424567">
              <a:off x="1204048" y="475241"/>
              <a:ext cx="211213" cy="278694"/>
            </a:xfrm>
            <a:custGeom>
              <a:avLst/>
              <a:gdLst/>
              <a:ahLst/>
              <a:cxnLst/>
              <a:rect l="l" t="t" r="r" b="b"/>
              <a:pathLst>
                <a:path w="434661" h="573530" extrusionOk="0">
                  <a:moveTo>
                    <a:pt x="430380" y="417373"/>
                  </a:moveTo>
                  <a:cubicBezTo>
                    <a:pt x="427840" y="354508"/>
                    <a:pt x="363705" y="334823"/>
                    <a:pt x="311635" y="329743"/>
                  </a:cubicBezTo>
                  <a:cubicBezTo>
                    <a:pt x="264010" y="315138"/>
                    <a:pt x="297665" y="236398"/>
                    <a:pt x="288775" y="197028"/>
                  </a:cubicBezTo>
                  <a:cubicBezTo>
                    <a:pt x="290680" y="118923"/>
                    <a:pt x="325605" y="15418"/>
                    <a:pt x="217655" y="178"/>
                  </a:cubicBezTo>
                  <a:cubicBezTo>
                    <a:pt x="211305" y="-1092"/>
                    <a:pt x="199875" y="4623"/>
                    <a:pt x="202415" y="11608"/>
                  </a:cubicBezTo>
                  <a:cubicBezTo>
                    <a:pt x="207495" y="87808"/>
                    <a:pt x="223370" y="169088"/>
                    <a:pt x="197335" y="242748"/>
                  </a:cubicBezTo>
                  <a:cubicBezTo>
                    <a:pt x="158600" y="220523"/>
                    <a:pt x="52555" y="59868"/>
                    <a:pt x="24615" y="87173"/>
                  </a:cubicBezTo>
                  <a:cubicBezTo>
                    <a:pt x="-68095" y="172263"/>
                    <a:pt x="127485" y="297993"/>
                    <a:pt x="175745" y="366573"/>
                  </a:cubicBezTo>
                  <a:cubicBezTo>
                    <a:pt x="205590" y="403403"/>
                    <a:pt x="41760" y="420548"/>
                    <a:pt x="141455" y="548818"/>
                  </a:cubicBezTo>
                  <a:cubicBezTo>
                    <a:pt x="221465" y="630733"/>
                    <a:pt x="298935" y="488493"/>
                    <a:pt x="240515" y="419913"/>
                  </a:cubicBezTo>
                  <a:cubicBezTo>
                    <a:pt x="234165" y="409753"/>
                    <a:pt x="241150" y="384353"/>
                    <a:pt x="256390" y="395148"/>
                  </a:cubicBezTo>
                  <a:cubicBezTo>
                    <a:pt x="288775" y="436423"/>
                    <a:pt x="313540" y="498653"/>
                    <a:pt x="379580" y="489128"/>
                  </a:cubicBezTo>
                  <a:cubicBezTo>
                    <a:pt x="412600" y="482778"/>
                    <a:pt x="446890" y="451028"/>
                    <a:pt x="430380" y="417373"/>
                  </a:cubicBezTo>
                  <a:close/>
                  <a:moveTo>
                    <a:pt x="227180" y="242748"/>
                  </a:moveTo>
                  <a:cubicBezTo>
                    <a:pt x="237975" y="171628"/>
                    <a:pt x="223370" y="100508"/>
                    <a:pt x="232260" y="30023"/>
                  </a:cubicBezTo>
                  <a:cubicBezTo>
                    <a:pt x="277980" y="26213"/>
                    <a:pt x="280520" y="81458"/>
                    <a:pt x="275440" y="113843"/>
                  </a:cubicBezTo>
                  <a:cubicBezTo>
                    <a:pt x="264645" y="171628"/>
                    <a:pt x="276075" y="233858"/>
                    <a:pt x="262105" y="290373"/>
                  </a:cubicBezTo>
                  <a:cubicBezTo>
                    <a:pt x="234800" y="280848"/>
                    <a:pt x="224640" y="268148"/>
                    <a:pt x="227180" y="242748"/>
                  </a:cubicBezTo>
                  <a:close/>
                  <a:moveTo>
                    <a:pt x="152885" y="518338"/>
                  </a:moveTo>
                  <a:cubicBezTo>
                    <a:pt x="152885" y="518338"/>
                    <a:pt x="152885" y="517703"/>
                    <a:pt x="152250" y="517703"/>
                  </a:cubicBezTo>
                  <a:cubicBezTo>
                    <a:pt x="95735" y="500558"/>
                    <a:pt x="151615" y="386258"/>
                    <a:pt x="202415" y="423088"/>
                  </a:cubicBezTo>
                  <a:cubicBezTo>
                    <a:pt x="199240" y="431978"/>
                    <a:pt x="190985" y="433883"/>
                    <a:pt x="182730" y="436423"/>
                  </a:cubicBezTo>
                  <a:cubicBezTo>
                    <a:pt x="152885" y="442773"/>
                    <a:pt x="133835" y="484683"/>
                    <a:pt x="152885" y="518338"/>
                  </a:cubicBezTo>
                  <a:cubicBezTo>
                    <a:pt x="152885" y="518338"/>
                    <a:pt x="152885" y="518338"/>
                    <a:pt x="152885" y="518338"/>
                  </a:cubicBezTo>
                  <a:close/>
                  <a:moveTo>
                    <a:pt x="211305" y="402133"/>
                  </a:moveTo>
                  <a:cubicBezTo>
                    <a:pt x="200510" y="403403"/>
                    <a:pt x="196065" y="378003"/>
                    <a:pt x="209400" y="376733"/>
                  </a:cubicBezTo>
                  <a:cubicBezTo>
                    <a:pt x="225910" y="374828"/>
                    <a:pt x="228450" y="402133"/>
                    <a:pt x="211305" y="402133"/>
                  </a:cubicBezTo>
                  <a:close/>
                  <a:moveTo>
                    <a:pt x="235435" y="458648"/>
                  </a:moveTo>
                  <a:cubicBezTo>
                    <a:pt x="227180" y="451663"/>
                    <a:pt x="220830" y="444043"/>
                    <a:pt x="220195" y="433248"/>
                  </a:cubicBezTo>
                  <a:cubicBezTo>
                    <a:pt x="237340" y="439598"/>
                    <a:pt x="237340" y="439598"/>
                    <a:pt x="235435" y="458648"/>
                  </a:cubicBezTo>
                  <a:close/>
                  <a:moveTo>
                    <a:pt x="177015" y="545008"/>
                  </a:moveTo>
                  <a:cubicBezTo>
                    <a:pt x="180825" y="545008"/>
                    <a:pt x="184000" y="545643"/>
                    <a:pt x="188445" y="545643"/>
                  </a:cubicBezTo>
                  <a:cubicBezTo>
                    <a:pt x="187175" y="555168"/>
                    <a:pt x="175110" y="553263"/>
                    <a:pt x="177015" y="545008"/>
                  </a:cubicBezTo>
                  <a:close/>
                  <a:moveTo>
                    <a:pt x="164950" y="510718"/>
                  </a:moveTo>
                  <a:cubicBezTo>
                    <a:pt x="148440" y="469443"/>
                    <a:pt x="209400" y="428803"/>
                    <a:pt x="222735" y="484048"/>
                  </a:cubicBezTo>
                  <a:cubicBezTo>
                    <a:pt x="217020" y="511988"/>
                    <a:pt x="186540" y="543738"/>
                    <a:pt x="164950" y="510718"/>
                  </a:cubicBezTo>
                  <a:close/>
                  <a:moveTo>
                    <a:pt x="241150" y="477698"/>
                  </a:moveTo>
                  <a:cubicBezTo>
                    <a:pt x="247500" y="493573"/>
                    <a:pt x="240515" y="504368"/>
                    <a:pt x="241785" y="515163"/>
                  </a:cubicBezTo>
                  <a:cubicBezTo>
                    <a:pt x="240515" y="504368"/>
                    <a:pt x="236070" y="493573"/>
                    <a:pt x="241150" y="477698"/>
                  </a:cubicBezTo>
                  <a:close/>
                  <a:moveTo>
                    <a:pt x="242420" y="515163"/>
                  </a:moveTo>
                  <a:cubicBezTo>
                    <a:pt x="237975" y="520878"/>
                    <a:pt x="233530" y="526593"/>
                    <a:pt x="228450" y="532943"/>
                  </a:cubicBezTo>
                  <a:cubicBezTo>
                    <a:pt x="229085" y="513893"/>
                    <a:pt x="229085" y="513893"/>
                    <a:pt x="242420" y="515163"/>
                  </a:cubicBezTo>
                  <a:close/>
                  <a:moveTo>
                    <a:pt x="27155" y="113208"/>
                  </a:moveTo>
                  <a:cubicBezTo>
                    <a:pt x="65890" y="91618"/>
                    <a:pt x="171300" y="284658"/>
                    <a:pt x="220195" y="293548"/>
                  </a:cubicBezTo>
                  <a:lnTo>
                    <a:pt x="219560" y="300533"/>
                  </a:lnTo>
                  <a:cubicBezTo>
                    <a:pt x="140185" y="304978"/>
                    <a:pt x="221465" y="384353"/>
                    <a:pt x="237340" y="308788"/>
                  </a:cubicBezTo>
                  <a:cubicBezTo>
                    <a:pt x="257025" y="318313"/>
                    <a:pt x="270995" y="334188"/>
                    <a:pt x="287505" y="345618"/>
                  </a:cubicBezTo>
                  <a:cubicBezTo>
                    <a:pt x="250675" y="449123"/>
                    <a:pt x="-15390" y="171628"/>
                    <a:pt x="27155" y="113208"/>
                  </a:cubicBezTo>
                  <a:close/>
                  <a:moveTo>
                    <a:pt x="361165" y="474523"/>
                  </a:moveTo>
                  <a:cubicBezTo>
                    <a:pt x="306555" y="467538"/>
                    <a:pt x="248770" y="360858"/>
                    <a:pt x="328780" y="350063"/>
                  </a:cubicBezTo>
                  <a:cubicBezTo>
                    <a:pt x="400535" y="349428"/>
                    <a:pt x="460860" y="469443"/>
                    <a:pt x="361165" y="474523"/>
                  </a:cubicBezTo>
                  <a:close/>
                  <a:moveTo>
                    <a:pt x="305285" y="380543"/>
                  </a:moveTo>
                  <a:cubicBezTo>
                    <a:pt x="314810" y="401498"/>
                    <a:pt x="324970" y="421818"/>
                    <a:pt x="340845" y="439598"/>
                  </a:cubicBezTo>
                  <a:cubicBezTo>
                    <a:pt x="368785" y="464363"/>
                    <a:pt x="409425" y="441503"/>
                    <a:pt x="387835" y="405308"/>
                  </a:cubicBezTo>
                  <a:cubicBezTo>
                    <a:pt x="365610" y="382448"/>
                    <a:pt x="336400" y="346888"/>
                    <a:pt x="305285" y="380543"/>
                  </a:cubicBezTo>
                  <a:close/>
                  <a:moveTo>
                    <a:pt x="368785" y="429438"/>
                  </a:moveTo>
                  <a:cubicBezTo>
                    <a:pt x="350370" y="433248"/>
                    <a:pt x="342115" y="409118"/>
                    <a:pt x="336400" y="390068"/>
                  </a:cubicBezTo>
                  <a:cubicBezTo>
                    <a:pt x="355450" y="395148"/>
                    <a:pt x="378310" y="411658"/>
                    <a:pt x="368785" y="429438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7" name="Google Shape;457;p8">
              <a:extLst>
                <a:ext uri="{FF2B5EF4-FFF2-40B4-BE49-F238E27FC236}">
                  <a16:creationId xmlns:a16="http://schemas.microsoft.com/office/drawing/2014/main" id="{C9486BE3-4E3B-4C58-A77A-744CDAC1B7B6}"/>
                </a:ext>
              </a:extLst>
            </p:cNvPr>
            <p:cNvSpPr/>
            <p:nvPr/>
          </p:nvSpPr>
          <p:spPr>
            <a:xfrm>
              <a:off x="7556769" y="607048"/>
              <a:ext cx="402022" cy="236475"/>
            </a:xfrm>
            <a:custGeom>
              <a:avLst/>
              <a:gdLst/>
              <a:ahLst/>
              <a:cxnLst/>
              <a:rect l="l" t="t" r="r" b="b"/>
              <a:pathLst>
                <a:path w="828912" h="487578" extrusionOk="0">
                  <a:moveTo>
                    <a:pt x="827267" y="15774"/>
                  </a:moveTo>
                  <a:cubicBezTo>
                    <a:pt x="786627" y="19584"/>
                    <a:pt x="770117" y="89434"/>
                    <a:pt x="721857" y="88164"/>
                  </a:cubicBezTo>
                  <a:cubicBezTo>
                    <a:pt x="653277" y="104674"/>
                    <a:pt x="606287" y="35459"/>
                    <a:pt x="552947" y="2438"/>
                  </a:cubicBezTo>
                  <a:cubicBezTo>
                    <a:pt x="500877" y="-14706"/>
                    <a:pt x="457697" y="63399"/>
                    <a:pt x="413882" y="85624"/>
                  </a:cubicBezTo>
                  <a:cubicBezTo>
                    <a:pt x="335142" y="62764"/>
                    <a:pt x="264657" y="16409"/>
                    <a:pt x="182107" y="6884"/>
                  </a:cubicBezTo>
                  <a:cubicBezTo>
                    <a:pt x="13832" y="196114"/>
                    <a:pt x="114797" y="109119"/>
                    <a:pt x="77332" y="279934"/>
                  </a:cubicBezTo>
                  <a:cubicBezTo>
                    <a:pt x="66537" y="291999"/>
                    <a:pt x="-29983" y="332004"/>
                    <a:pt x="9387" y="343434"/>
                  </a:cubicBezTo>
                  <a:cubicBezTo>
                    <a:pt x="50662" y="334544"/>
                    <a:pt x="84952" y="279934"/>
                    <a:pt x="129402" y="297079"/>
                  </a:cubicBezTo>
                  <a:cubicBezTo>
                    <a:pt x="176392" y="312319"/>
                    <a:pt x="222747" y="330099"/>
                    <a:pt x="265292" y="356134"/>
                  </a:cubicBezTo>
                  <a:cubicBezTo>
                    <a:pt x="276087" y="364389"/>
                    <a:pt x="284977" y="365024"/>
                    <a:pt x="293867" y="356134"/>
                  </a:cubicBezTo>
                  <a:cubicBezTo>
                    <a:pt x="393562" y="278029"/>
                    <a:pt x="442457" y="290094"/>
                    <a:pt x="533897" y="372644"/>
                  </a:cubicBezTo>
                  <a:cubicBezTo>
                    <a:pt x="545962" y="407569"/>
                    <a:pt x="526277" y="473609"/>
                    <a:pt x="568187" y="487579"/>
                  </a:cubicBezTo>
                  <a:cubicBezTo>
                    <a:pt x="606922" y="460909"/>
                    <a:pt x="664707" y="478054"/>
                    <a:pt x="703442" y="453289"/>
                  </a:cubicBezTo>
                  <a:cubicBezTo>
                    <a:pt x="697092" y="439954"/>
                    <a:pt x="694552" y="438049"/>
                    <a:pt x="685662" y="441224"/>
                  </a:cubicBezTo>
                  <a:cubicBezTo>
                    <a:pt x="647562" y="453924"/>
                    <a:pt x="608192" y="451384"/>
                    <a:pt x="565647" y="457099"/>
                  </a:cubicBezTo>
                  <a:cubicBezTo>
                    <a:pt x="530722" y="351054"/>
                    <a:pt x="638037" y="335179"/>
                    <a:pt x="681852" y="264059"/>
                  </a:cubicBezTo>
                  <a:cubicBezTo>
                    <a:pt x="669152" y="215164"/>
                    <a:pt x="663437" y="157379"/>
                    <a:pt x="683122" y="109754"/>
                  </a:cubicBezTo>
                  <a:cubicBezTo>
                    <a:pt x="714237" y="105309"/>
                    <a:pt x="751067" y="116104"/>
                    <a:pt x="774562" y="91339"/>
                  </a:cubicBezTo>
                  <a:cubicBezTo>
                    <a:pt x="787262" y="69114"/>
                    <a:pt x="838698" y="42444"/>
                    <a:pt x="827267" y="15774"/>
                  </a:cubicBezTo>
                  <a:close/>
                  <a:moveTo>
                    <a:pt x="291962" y="332004"/>
                  </a:moveTo>
                  <a:cubicBezTo>
                    <a:pt x="236082" y="338354"/>
                    <a:pt x="173217" y="285649"/>
                    <a:pt x="115432" y="270409"/>
                  </a:cubicBezTo>
                  <a:cubicBezTo>
                    <a:pt x="90032" y="159284"/>
                    <a:pt x="116067" y="100229"/>
                    <a:pt x="200522" y="26569"/>
                  </a:cubicBezTo>
                  <a:cubicBezTo>
                    <a:pt x="260847" y="58319"/>
                    <a:pt x="361177" y="58954"/>
                    <a:pt x="394832" y="119914"/>
                  </a:cubicBezTo>
                  <a:cubicBezTo>
                    <a:pt x="399912" y="261519"/>
                    <a:pt x="438012" y="269774"/>
                    <a:pt x="291962" y="332004"/>
                  </a:cubicBezTo>
                  <a:close/>
                  <a:moveTo>
                    <a:pt x="550407" y="352324"/>
                  </a:moveTo>
                  <a:cubicBezTo>
                    <a:pt x="510402" y="332004"/>
                    <a:pt x="466587" y="307874"/>
                    <a:pt x="431662" y="278664"/>
                  </a:cubicBezTo>
                  <a:cubicBezTo>
                    <a:pt x="443092" y="255804"/>
                    <a:pt x="535802" y="344069"/>
                    <a:pt x="563107" y="328194"/>
                  </a:cubicBezTo>
                  <a:cubicBezTo>
                    <a:pt x="563742" y="298349"/>
                    <a:pt x="504052" y="297079"/>
                    <a:pt x="486272" y="272949"/>
                  </a:cubicBezTo>
                  <a:cubicBezTo>
                    <a:pt x="462142" y="255169"/>
                    <a:pt x="461507" y="255804"/>
                    <a:pt x="428487" y="257709"/>
                  </a:cubicBezTo>
                  <a:cubicBezTo>
                    <a:pt x="400547" y="118644"/>
                    <a:pt x="415787" y="98324"/>
                    <a:pt x="533262" y="22124"/>
                  </a:cubicBezTo>
                  <a:cubicBezTo>
                    <a:pt x="578347" y="42444"/>
                    <a:pt x="611367" y="76099"/>
                    <a:pt x="651372" y="104039"/>
                  </a:cubicBezTo>
                  <a:cubicBezTo>
                    <a:pt x="649467" y="159284"/>
                    <a:pt x="643752" y="213259"/>
                    <a:pt x="653277" y="267234"/>
                  </a:cubicBezTo>
                  <a:cubicBezTo>
                    <a:pt x="625337" y="299619"/>
                    <a:pt x="599302" y="321209"/>
                    <a:pt x="550407" y="352324"/>
                  </a:cubicBezTo>
                  <a:close/>
                  <a:moveTo>
                    <a:pt x="362447" y="111024"/>
                  </a:moveTo>
                  <a:cubicBezTo>
                    <a:pt x="361812" y="137059"/>
                    <a:pt x="340222" y="276124"/>
                    <a:pt x="384037" y="261519"/>
                  </a:cubicBezTo>
                  <a:cubicBezTo>
                    <a:pt x="370702" y="227229"/>
                    <a:pt x="410072" y="110389"/>
                    <a:pt x="362447" y="111024"/>
                  </a:cubicBezTo>
                  <a:close/>
                  <a:moveTo>
                    <a:pt x="222112" y="274854"/>
                  </a:moveTo>
                  <a:cubicBezTo>
                    <a:pt x="194807" y="267234"/>
                    <a:pt x="166867" y="234849"/>
                    <a:pt x="138292" y="246279"/>
                  </a:cubicBezTo>
                  <a:cubicBezTo>
                    <a:pt x="140832" y="274219"/>
                    <a:pt x="241797" y="302159"/>
                    <a:pt x="269737" y="317399"/>
                  </a:cubicBezTo>
                  <a:cubicBezTo>
                    <a:pt x="303392" y="300254"/>
                    <a:pt x="234812" y="284379"/>
                    <a:pt x="222112" y="274854"/>
                  </a:cubicBezTo>
                  <a:close/>
                  <a:moveTo>
                    <a:pt x="199887" y="46889"/>
                  </a:moveTo>
                  <a:cubicBezTo>
                    <a:pt x="182107" y="69749"/>
                    <a:pt x="105272" y="126264"/>
                    <a:pt x="137657" y="151664"/>
                  </a:cubicBezTo>
                  <a:cubicBezTo>
                    <a:pt x="149722" y="130074"/>
                    <a:pt x="253227" y="46889"/>
                    <a:pt x="199887" y="46889"/>
                  </a:cubicBezTo>
                  <a:close/>
                  <a:moveTo>
                    <a:pt x="446267" y="123724"/>
                  </a:moveTo>
                  <a:cubicBezTo>
                    <a:pt x="410707" y="111659"/>
                    <a:pt x="443727" y="204369"/>
                    <a:pt x="440552" y="224054"/>
                  </a:cubicBezTo>
                  <a:cubicBezTo>
                    <a:pt x="449442" y="248184"/>
                    <a:pt x="468492" y="228499"/>
                    <a:pt x="462777" y="219609"/>
                  </a:cubicBezTo>
                  <a:cubicBezTo>
                    <a:pt x="455792" y="185319"/>
                    <a:pt x="462142" y="151664"/>
                    <a:pt x="446267" y="123724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28" name="Google Shape;458;p8">
              <a:extLst>
                <a:ext uri="{FF2B5EF4-FFF2-40B4-BE49-F238E27FC236}">
                  <a16:creationId xmlns:a16="http://schemas.microsoft.com/office/drawing/2014/main" id="{3C6F0935-C1C0-463D-A543-D7A18AF418BF}"/>
                </a:ext>
              </a:extLst>
            </p:cNvPr>
            <p:cNvGrpSpPr/>
            <p:nvPr/>
          </p:nvGrpSpPr>
          <p:grpSpPr>
            <a:xfrm rot="890855">
              <a:off x="3181660" y="515636"/>
              <a:ext cx="370663" cy="217580"/>
              <a:chOff x="1429156" y="1387535"/>
              <a:chExt cx="657769" cy="386112"/>
            </a:xfrm>
          </p:grpSpPr>
          <p:sp>
            <p:nvSpPr>
              <p:cNvPr id="65" name="Google Shape;459;p8">
                <a:extLst>
                  <a:ext uri="{FF2B5EF4-FFF2-40B4-BE49-F238E27FC236}">
                    <a16:creationId xmlns:a16="http://schemas.microsoft.com/office/drawing/2014/main" id="{398577B8-887D-49A3-BAB5-913FE53A8C39}"/>
                  </a:ext>
                </a:extLst>
              </p:cNvPr>
              <p:cNvSpPr/>
              <p:nvPr/>
            </p:nvSpPr>
            <p:spPr>
              <a:xfrm>
                <a:off x="1429156" y="1387535"/>
                <a:ext cx="657769" cy="386112"/>
              </a:xfrm>
              <a:custGeom>
                <a:avLst/>
                <a:gdLst/>
                <a:ahLst/>
                <a:cxnLst/>
                <a:rect l="l" t="t" r="r" b="b"/>
                <a:pathLst>
                  <a:path w="764848" h="448968" extrusionOk="0">
                    <a:moveTo>
                      <a:pt x="741700" y="448969"/>
                    </a:moveTo>
                    <a:cubicBezTo>
                      <a:pt x="719475" y="440079"/>
                      <a:pt x="715030" y="440714"/>
                      <a:pt x="686455" y="443889"/>
                    </a:cubicBezTo>
                    <a:cubicBezTo>
                      <a:pt x="552470" y="455319"/>
                      <a:pt x="419120" y="428649"/>
                      <a:pt x="285770" y="436269"/>
                    </a:cubicBezTo>
                    <a:cubicBezTo>
                      <a:pt x="193060" y="430554"/>
                      <a:pt x="98445" y="428649"/>
                      <a:pt x="6370" y="441349"/>
                    </a:cubicBezTo>
                    <a:cubicBezTo>
                      <a:pt x="-45700" y="400709"/>
                      <a:pt x="237510" y="281329"/>
                      <a:pt x="273070" y="259739"/>
                    </a:cubicBezTo>
                    <a:cubicBezTo>
                      <a:pt x="431820" y="183539"/>
                      <a:pt x="582950" y="91464"/>
                      <a:pt x="735985" y="3834"/>
                    </a:cubicBezTo>
                    <a:cubicBezTo>
                      <a:pt x="748685" y="-3786"/>
                      <a:pt x="759480" y="24"/>
                      <a:pt x="761385" y="14629"/>
                    </a:cubicBezTo>
                    <a:cubicBezTo>
                      <a:pt x="772180" y="114324"/>
                      <a:pt x="753765" y="215924"/>
                      <a:pt x="759480" y="316889"/>
                    </a:cubicBezTo>
                    <a:cubicBezTo>
                      <a:pt x="752495" y="359434"/>
                      <a:pt x="769640" y="414044"/>
                      <a:pt x="741700" y="448969"/>
                    </a:cubicBezTo>
                    <a:close/>
                    <a:moveTo>
                      <a:pt x="615970" y="418489"/>
                    </a:moveTo>
                    <a:cubicBezTo>
                      <a:pt x="647720" y="425474"/>
                      <a:pt x="636290" y="413409"/>
                      <a:pt x="645815" y="393724"/>
                    </a:cubicBezTo>
                    <a:cubicBezTo>
                      <a:pt x="661690" y="396264"/>
                      <a:pt x="657880" y="414044"/>
                      <a:pt x="669945" y="421029"/>
                    </a:cubicBezTo>
                    <a:cubicBezTo>
                      <a:pt x="675660" y="420394"/>
                      <a:pt x="682645" y="420394"/>
                      <a:pt x="690900" y="419759"/>
                    </a:cubicBezTo>
                    <a:cubicBezTo>
                      <a:pt x="692170" y="410234"/>
                      <a:pt x="692805" y="402614"/>
                      <a:pt x="694075" y="394994"/>
                    </a:cubicBezTo>
                    <a:cubicBezTo>
                      <a:pt x="703600" y="394994"/>
                      <a:pt x="705505" y="401979"/>
                      <a:pt x="708680" y="407059"/>
                    </a:cubicBezTo>
                    <a:cubicBezTo>
                      <a:pt x="718205" y="421664"/>
                      <a:pt x="735350" y="405154"/>
                      <a:pt x="734080" y="391819"/>
                    </a:cubicBezTo>
                    <a:cubicBezTo>
                      <a:pt x="734715" y="274344"/>
                      <a:pt x="747415" y="153059"/>
                      <a:pt x="738525" y="37489"/>
                    </a:cubicBezTo>
                    <a:cubicBezTo>
                      <a:pt x="616605" y="87019"/>
                      <a:pt x="508020" y="171474"/>
                      <a:pt x="388005" y="229259"/>
                    </a:cubicBezTo>
                    <a:cubicBezTo>
                      <a:pt x="278785" y="288314"/>
                      <a:pt x="157500" y="328954"/>
                      <a:pt x="59710" y="406424"/>
                    </a:cubicBezTo>
                    <a:cubicBezTo>
                      <a:pt x="81300" y="415949"/>
                      <a:pt x="101620" y="415949"/>
                      <a:pt x="122575" y="412139"/>
                    </a:cubicBezTo>
                    <a:cubicBezTo>
                      <a:pt x="125115" y="401344"/>
                      <a:pt x="127020" y="392454"/>
                      <a:pt x="128925" y="383564"/>
                    </a:cubicBezTo>
                    <a:cubicBezTo>
                      <a:pt x="154325" y="379119"/>
                      <a:pt x="141625" y="432459"/>
                      <a:pt x="165120" y="404519"/>
                    </a:cubicBezTo>
                    <a:cubicBezTo>
                      <a:pt x="167025" y="400074"/>
                      <a:pt x="165755" y="393724"/>
                      <a:pt x="174010" y="391819"/>
                    </a:cubicBezTo>
                    <a:cubicBezTo>
                      <a:pt x="194965" y="416584"/>
                      <a:pt x="208935" y="421664"/>
                      <a:pt x="221000" y="386104"/>
                    </a:cubicBezTo>
                    <a:cubicBezTo>
                      <a:pt x="238145" y="394994"/>
                      <a:pt x="238780" y="428649"/>
                      <a:pt x="264180" y="408964"/>
                    </a:cubicBezTo>
                    <a:cubicBezTo>
                      <a:pt x="266085" y="401344"/>
                      <a:pt x="267990" y="393724"/>
                      <a:pt x="269895" y="385469"/>
                    </a:cubicBezTo>
                    <a:cubicBezTo>
                      <a:pt x="286405" y="388644"/>
                      <a:pt x="279420" y="407059"/>
                      <a:pt x="292755" y="414044"/>
                    </a:cubicBezTo>
                    <a:cubicBezTo>
                      <a:pt x="299105" y="413409"/>
                      <a:pt x="308630" y="412774"/>
                      <a:pt x="314345" y="412139"/>
                    </a:cubicBezTo>
                    <a:cubicBezTo>
                      <a:pt x="323870" y="404519"/>
                      <a:pt x="314980" y="392454"/>
                      <a:pt x="327045" y="388644"/>
                    </a:cubicBezTo>
                    <a:cubicBezTo>
                      <a:pt x="339745" y="400709"/>
                      <a:pt x="348635" y="422934"/>
                      <a:pt x="374670" y="409599"/>
                    </a:cubicBezTo>
                    <a:cubicBezTo>
                      <a:pt x="374035" y="400709"/>
                      <a:pt x="373400" y="391819"/>
                      <a:pt x="372765" y="379119"/>
                    </a:cubicBezTo>
                    <a:cubicBezTo>
                      <a:pt x="405785" y="384199"/>
                      <a:pt x="385465" y="430554"/>
                      <a:pt x="425470" y="414679"/>
                    </a:cubicBezTo>
                    <a:cubicBezTo>
                      <a:pt x="429915" y="409599"/>
                      <a:pt x="424200" y="399439"/>
                      <a:pt x="434360" y="394994"/>
                    </a:cubicBezTo>
                    <a:cubicBezTo>
                      <a:pt x="445790" y="408329"/>
                      <a:pt x="454045" y="430554"/>
                      <a:pt x="478810" y="416584"/>
                    </a:cubicBezTo>
                    <a:cubicBezTo>
                      <a:pt x="485160" y="407694"/>
                      <a:pt x="473730" y="396264"/>
                      <a:pt x="483890" y="386739"/>
                    </a:cubicBezTo>
                    <a:cubicBezTo>
                      <a:pt x="503575" y="401344"/>
                      <a:pt x="502940" y="441984"/>
                      <a:pt x="535325" y="421029"/>
                    </a:cubicBezTo>
                    <a:cubicBezTo>
                      <a:pt x="535960" y="410234"/>
                      <a:pt x="536595" y="398804"/>
                      <a:pt x="537865" y="386739"/>
                    </a:cubicBezTo>
                    <a:cubicBezTo>
                      <a:pt x="560090" y="389914"/>
                      <a:pt x="549295" y="410869"/>
                      <a:pt x="561360" y="421029"/>
                    </a:cubicBezTo>
                    <a:cubicBezTo>
                      <a:pt x="600730" y="433094"/>
                      <a:pt x="587395" y="409599"/>
                      <a:pt x="600095" y="388009"/>
                    </a:cubicBezTo>
                    <a:cubicBezTo>
                      <a:pt x="605810" y="398169"/>
                      <a:pt x="610255" y="407059"/>
                      <a:pt x="615970" y="418489"/>
                    </a:cubicBezTo>
                    <a:close/>
                  </a:path>
                </a:pathLst>
              </a:custGeom>
              <a:solidFill>
                <a:srgbClr val="30485C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66" name="Google Shape;460;p8">
                <a:extLst>
                  <a:ext uri="{FF2B5EF4-FFF2-40B4-BE49-F238E27FC236}">
                    <a16:creationId xmlns:a16="http://schemas.microsoft.com/office/drawing/2014/main" id="{EFA2CCDF-E88F-49CB-8522-55A21ECFC218}"/>
                  </a:ext>
                </a:extLst>
              </p:cNvPr>
              <p:cNvSpPr/>
              <p:nvPr/>
            </p:nvSpPr>
            <p:spPr>
              <a:xfrm>
                <a:off x="1703617" y="1534561"/>
                <a:ext cx="308110" cy="146566"/>
              </a:xfrm>
              <a:custGeom>
                <a:avLst/>
                <a:gdLst/>
                <a:ahLst/>
                <a:cxnLst/>
                <a:rect l="l" t="t" r="r" b="b"/>
                <a:pathLst>
                  <a:path w="358267" h="170426" extrusionOk="0">
                    <a:moveTo>
                      <a:pt x="331351" y="0"/>
                    </a:moveTo>
                    <a:cubicBezTo>
                      <a:pt x="385326" y="29845"/>
                      <a:pt x="340241" y="100330"/>
                      <a:pt x="347226" y="149860"/>
                    </a:cubicBezTo>
                    <a:cubicBezTo>
                      <a:pt x="345956" y="186690"/>
                      <a:pt x="250706" y="162560"/>
                      <a:pt x="222766" y="163830"/>
                    </a:cubicBezTo>
                    <a:cubicBezTo>
                      <a:pt x="152281" y="173990"/>
                      <a:pt x="81796" y="159385"/>
                      <a:pt x="10676" y="165735"/>
                    </a:cubicBezTo>
                    <a:cubicBezTo>
                      <a:pt x="-67429" y="148590"/>
                      <a:pt x="307856" y="15240"/>
                      <a:pt x="331351" y="0"/>
                    </a:cubicBezTo>
                    <a:close/>
                    <a:moveTo>
                      <a:pt x="331986" y="27305"/>
                    </a:moveTo>
                    <a:cubicBezTo>
                      <a:pt x="281821" y="40005"/>
                      <a:pt x="86241" y="122555"/>
                      <a:pt x="64651" y="139700"/>
                    </a:cubicBezTo>
                    <a:cubicBezTo>
                      <a:pt x="146566" y="156845"/>
                      <a:pt x="236736" y="147955"/>
                      <a:pt x="321191" y="142875"/>
                    </a:cubicBezTo>
                    <a:cubicBezTo>
                      <a:pt x="327541" y="104140"/>
                      <a:pt x="333891" y="66675"/>
                      <a:pt x="331986" y="27305"/>
                    </a:cubicBezTo>
                    <a:close/>
                  </a:path>
                </a:pathLst>
              </a:custGeom>
              <a:solidFill>
                <a:srgbClr val="30485C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29" name="Google Shape;461;p8">
              <a:extLst>
                <a:ext uri="{FF2B5EF4-FFF2-40B4-BE49-F238E27FC236}">
                  <a16:creationId xmlns:a16="http://schemas.microsoft.com/office/drawing/2014/main" id="{B70BC019-5B58-4937-8117-6773BDC0F1EF}"/>
                </a:ext>
              </a:extLst>
            </p:cNvPr>
            <p:cNvSpPr/>
            <p:nvPr/>
          </p:nvSpPr>
          <p:spPr>
            <a:xfrm rot="-2499483">
              <a:off x="4165391" y="919169"/>
              <a:ext cx="428994" cy="113072"/>
            </a:xfrm>
            <a:custGeom>
              <a:avLst/>
              <a:gdLst/>
              <a:ahLst/>
              <a:cxnLst/>
              <a:rect l="l" t="t" r="r" b="b"/>
              <a:pathLst>
                <a:path w="884171" h="233045" extrusionOk="0">
                  <a:moveTo>
                    <a:pt x="857928" y="0"/>
                  </a:moveTo>
                  <a:cubicBezTo>
                    <a:pt x="574717" y="35560"/>
                    <a:pt x="287698" y="28575"/>
                    <a:pt x="3218" y="62230"/>
                  </a:cubicBezTo>
                  <a:cubicBezTo>
                    <a:pt x="6393" y="102870"/>
                    <a:pt x="-13927" y="213360"/>
                    <a:pt x="19727" y="233045"/>
                  </a:cubicBezTo>
                  <a:cubicBezTo>
                    <a:pt x="151173" y="226695"/>
                    <a:pt x="281348" y="213995"/>
                    <a:pt x="413427" y="214630"/>
                  </a:cubicBezTo>
                  <a:cubicBezTo>
                    <a:pt x="563923" y="219075"/>
                    <a:pt x="715053" y="208280"/>
                    <a:pt x="865548" y="195580"/>
                  </a:cubicBezTo>
                  <a:cubicBezTo>
                    <a:pt x="899203" y="207010"/>
                    <a:pt x="881423" y="5080"/>
                    <a:pt x="857928" y="0"/>
                  </a:cubicBezTo>
                  <a:close/>
                  <a:moveTo>
                    <a:pt x="860467" y="169545"/>
                  </a:moveTo>
                  <a:cubicBezTo>
                    <a:pt x="825542" y="180340"/>
                    <a:pt x="790617" y="177165"/>
                    <a:pt x="756328" y="185420"/>
                  </a:cubicBezTo>
                  <a:cubicBezTo>
                    <a:pt x="748707" y="175260"/>
                    <a:pt x="742357" y="167005"/>
                    <a:pt x="735373" y="157480"/>
                  </a:cubicBezTo>
                  <a:cubicBezTo>
                    <a:pt x="723942" y="175260"/>
                    <a:pt x="730928" y="186690"/>
                    <a:pt x="703623" y="183515"/>
                  </a:cubicBezTo>
                  <a:cubicBezTo>
                    <a:pt x="699813" y="175895"/>
                    <a:pt x="695367" y="168275"/>
                    <a:pt x="690923" y="160020"/>
                  </a:cubicBezTo>
                  <a:cubicBezTo>
                    <a:pt x="677588" y="164465"/>
                    <a:pt x="685842" y="179070"/>
                    <a:pt x="676317" y="184150"/>
                  </a:cubicBezTo>
                  <a:cubicBezTo>
                    <a:pt x="662982" y="182245"/>
                    <a:pt x="673778" y="159385"/>
                    <a:pt x="654092" y="161290"/>
                  </a:cubicBezTo>
                  <a:cubicBezTo>
                    <a:pt x="652188" y="168910"/>
                    <a:pt x="649648" y="177800"/>
                    <a:pt x="647742" y="186690"/>
                  </a:cubicBezTo>
                  <a:cubicBezTo>
                    <a:pt x="598213" y="209550"/>
                    <a:pt x="632503" y="132080"/>
                    <a:pt x="597578" y="128270"/>
                  </a:cubicBezTo>
                  <a:cubicBezTo>
                    <a:pt x="574717" y="146050"/>
                    <a:pt x="625517" y="198120"/>
                    <a:pt x="575988" y="194310"/>
                  </a:cubicBezTo>
                  <a:cubicBezTo>
                    <a:pt x="571542" y="184150"/>
                    <a:pt x="566463" y="172720"/>
                    <a:pt x="561382" y="160020"/>
                  </a:cubicBezTo>
                  <a:cubicBezTo>
                    <a:pt x="548682" y="168910"/>
                    <a:pt x="555667" y="180975"/>
                    <a:pt x="551223" y="189865"/>
                  </a:cubicBezTo>
                  <a:cubicBezTo>
                    <a:pt x="527727" y="199390"/>
                    <a:pt x="528363" y="180340"/>
                    <a:pt x="515663" y="167640"/>
                  </a:cubicBezTo>
                  <a:cubicBezTo>
                    <a:pt x="506138" y="172720"/>
                    <a:pt x="510582" y="179070"/>
                    <a:pt x="509948" y="184785"/>
                  </a:cubicBezTo>
                  <a:cubicBezTo>
                    <a:pt x="503598" y="211455"/>
                    <a:pt x="478832" y="184150"/>
                    <a:pt x="477563" y="168275"/>
                  </a:cubicBezTo>
                  <a:cubicBezTo>
                    <a:pt x="475657" y="168275"/>
                    <a:pt x="473118" y="168910"/>
                    <a:pt x="471213" y="168910"/>
                  </a:cubicBezTo>
                  <a:cubicBezTo>
                    <a:pt x="468673" y="176530"/>
                    <a:pt x="468038" y="185420"/>
                    <a:pt x="468673" y="192405"/>
                  </a:cubicBezTo>
                  <a:cubicBezTo>
                    <a:pt x="419143" y="222885"/>
                    <a:pt x="449623" y="139065"/>
                    <a:pt x="420413" y="134620"/>
                  </a:cubicBezTo>
                  <a:cubicBezTo>
                    <a:pt x="403268" y="157480"/>
                    <a:pt x="441368" y="204470"/>
                    <a:pt x="384852" y="194310"/>
                  </a:cubicBezTo>
                  <a:cubicBezTo>
                    <a:pt x="379773" y="186690"/>
                    <a:pt x="374057" y="178435"/>
                    <a:pt x="367707" y="168910"/>
                  </a:cubicBezTo>
                  <a:cubicBezTo>
                    <a:pt x="355643" y="175260"/>
                    <a:pt x="365802" y="188595"/>
                    <a:pt x="356277" y="194310"/>
                  </a:cubicBezTo>
                  <a:cubicBezTo>
                    <a:pt x="341038" y="190500"/>
                    <a:pt x="348023" y="171450"/>
                    <a:pt x="337227" y="164465"/>
                  </a:cubicBezTo>
                  <a:cubicBezTo>
                    <a:pt x="323893" y="161290"/>
                    <a:pt x="327702" y="179705"/>
                    <a:pt x="325798" y="187960"/>
                  </a:cubicBezTo>
                  <a:cubicBezTo>
                    <a:pt x="311827" y="185420"/>
                    <a:pt x="316907" y="161290"/>
                    <a:pt x="299763" y="167640"/>
                  </a:cubicBezTo>
                  <a:cubicBezTo>
                    <a:pt x="299127" y="175260"/>
                    <a:pt x="298493" y="183515"/>
                    <a:pt x="297857" y="193040"/>
                  </a:cubicBezTo>
                  <a:cubicBezTo>
                    <a:pt x="284523" y="198120"/>
                    <a:pt x="270552" y="196215"/>
                    <a:pt x="255313" y="193675"/>
                  </a:cubicBezTo>
                  <a:cubicBezTo>
                    <a:pt x="253407" y="123190"/>
                    <a:pt x="226102" y="121285"/>
                    <a:pt x="228643" y="193675"/>
                  </a:cubicBezTo>
                  <a:cubicBezTo>
                    <a:pt x="208957" y="210185"/>
                    <a:pt x="200068" y="191770"/>
                    <a:pt x="189907" y="181610"/>
                  </a:cubicBezTo>
                  <a:cubicBezTo>
                    <a:pt x="187368" y="183515"/>
                    <a:pt x="184827" y="184150"/>
                    <a:pt x="184193" y="185420"/>
                  </a:cubicBezTo>
                  <a:cubicBezTo>
                    <a:pt x="179748" y="215265"/>
                    <a:pt x="160063" y="195580"/>
                    <a:pt x="153713" y="178435"/>
                  </a:cubicBezTo>
                  <a:cubicBezTo>
                    <a:pt x="136568" y="176530"/>
                    <a:pt x="152443" y="219075"/>
                    <a:pt x="127043" y="200025"/>
                  </a:cubicBezTo>
                  <a:cubicBezTo>
                    <a:pt x="124502" y="193040"/>
                    <a:pt x="122598" y="184150"/>
                    <a:pt x="116248" y="179070"/>
                  </a:cubicBezTo>
                  <a:cubicBezTo>
                    <a:pt x="104818" y="182245"/>
                    <a:pt x="108627" y="191135"/>
                    <a:pt x="106088" y="197485"/>
                  </a:cubicBezTo>
                  <a:cubicBezTo>
                    <a:pt x="76877" y="236855"/>
                    <a:pt x="86402" y="157480"/>
                    <a:pt x="76877" y="144780"/>
                  </a:cubicBezTo>
                  <a:cubicBezTo>
                    <a:pt x="43857" y="125095"/>
                    <a:pt x="66718" y="187325"/>
                    <a:pt x="62273" y="203200"/>
                  </a:cubicBezTo>
                  <a:cubicBezTo>
                    <a:pt x="52113" y="213360"/>
                    <a:pt x="41318" y="208280"/>
                    <a:pt x="29888" y="208280"/>
                  </a:cubicBezTo>
                  <a:cubicBezTo>
                    <a:pt x="26077" y="177165"/>
                    <a:pt x="5123" y="95250"/>
                    <a:pt x="35602" y="78740"/>
                  </a:cubicBezTo>
                  <a:cubicBezTo>
                    <a:pt x="133393" y="58420"/>
                    <a:pt x="233723" y="57785"/>
                    <a:pt x="333418" y="53975"/>
                  </a:cubicBezTo>
                  <a:cubicBezTo>
                    <a:pt x="505502" y="41910"/>
                    <a:pt x="680763" y="26670"/>
                    <a:pt x="852213" y="30480"/>
                  </a:cubicBezTo>
                  <a:cubicBezTo>
                    <a:pt x="863007" y="74930"/>
                    <a:pt x="864913" y="125730"/>
                    <a:pt x="860467" y="169545"/>
                  </a:cubicBezTo>
                  <a:close/>
                  <a:moveTo>
                    <a:pt x="776648" y="102235"/>
                  </a:moveTo>
                  <a:cubicBezTo>
                    <a:pt x="776648" y="144780"/>
                    <a:pt x="831892" y="132080"/>
                    <a:pt x="839513" y="100965"/>
                  </a:cubicBezTo>
                  <a:cubicBezTo>
                    <a:pt x="838878" y="50800"/>
                    <a:pt x="779188" y="59055"/>
                    <a:pt x="776648" y="102235"/>
                  </a:cubicBezTo>
                  <a:close/>
                  <a:moveTo>
                    <a:pt x="796967" y="102235"/>
                  </a:moveTo>
                  <a:cubicBezTo>
                    <a:pt x="799507" y="89535"/>
                    <a:pt x="809032" y="91440"/>
                    <a:pt x="817288" y="101600"/>
                  </a:cubicBezTo>
                  <a:cubicBezTo>
                    <a:pt x="809032" y="107315"/>
                    <a:pt x="796332" y="116205"/>
                    <a:pt x="796967" y="102235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0" name="Google Shape;462;p8">
              <a:extLst>
                <a:ext uri="{FF2B5EF4-FFF2-40B4-BE49-F238E27FC236}">
                  <a16:creationId xmlns:a16="http://schemas.microsoft.com/office/drawing/2014/main" id="{037CE266-13C0-448C-A563-1454B36CFBA4}"/>
                </a:ext>
              </a:extLst>
            </p:cNvPr>
            <p:cNvSpPr/>
            <p:nvPr/>
          </p:nvSpPr>
          <p:spPr>
            <a:xfrm>
              <a:off x="674582" y="523294"/>
              <a:ext cx="375105" cy="294447"/>
            </a:xfrm>
            <a:custGeom>
              <a:avLst/>
              <a:gdLst/>
              <a:ahLst/>
              <a:cxnLst/>
              <a:rect l="l" t="t" r="r" b="b"/>
              <a:pathLst>
                <a:path w="773413" h="607108" extrusionOk="0">
                  <a:moveTo>
                    <a:pt x="330200" y="266676"/>
                  </a:moveTo>
                  <a:cubicBezTo>
                    <a:pt x="311785" y="287631"/>
                    <a:pt x="356870" y="297791"/>
                    <a:pt x="365125" y="312396"/>
                  </a:cubicBezTo>
                  <a:cubicBezTo>
                    <a:pt x="452120" y="383516"/>
                    <a:pt x="374650" y="271121"/>
                    <a:pt x="330200" y="266676"/>
                  </a:cubicBezTo>
                  <a:close/>
                  <a:moveTo>
                    <a:pt x="345440" y="379706"/>
                  </a:moveTo>
                  <a:cubicBezTo>
                    <a:pt x="343535" y="361291"/>
                    <a:pt x="321945" y="360021"/>
                    <a:pt x="318770" y="343511"/>
                  </a:cubicBezTo>
                  <a:cubicBezTo>
                    <a:pt x="320675" y="320016"/>
                    <a:pt x="302260" y="323826"/>
                    <a:pt x="288925" y="317476"/>
                  </a:cubicBezTo>
                  <a:cubicBezTo>
                    <a:pt x="288290" y="309856"/>
                    <a:pt x="287655" y="302871"/>
                    <a:pt x="287020" y="295886"/>
                  </a:cubicBezTo>
                  <a:cubicBezTo>
                    <a:pt x="256540" y="302871"/>
                    <a:pt x="237490" y="313031"/>
                    <a:pt x="245745" y="340336"/>
                  </a:cubicBezTo>
                  <a:cubicBezTo>
                    <a:pt x="258445" y="358116"/>
                    <a:pt x="277495" y="337796"/>
                    <a:pt x="294005" y="347956"/>
                  </a:cubicBezTo>
                  <a:cubicBezTo>
                    <a:pt x="292100" y="368911"/>
                    <a:pt x="304800" y="377801"/>
                    <a:pt x="325120" y="377801"/>
                  </a:cubicBezTo>
                  <a:cubicBezTo>
                    <a:pt x="336550" y="404471"/>
                    <a:pt x="335915" y="405106"/>
                    <a:pt x="358775" y="416536"/>
                  </a:cubicBezTo>
                  <a:cubicBezTo>
                    <a:pt x="372110" y="422251"/>
                    <a:pt x="386715" y="457176"/>
                    <a:pt x="400050" y="436221"/>
                  </a:cubicBezTo>
                  <a:cubicBezTo>
                    <a:pt x="391795" y="396851"/>
                    <a:pt x="360680" y="405106"/>
                    <a:pt x="345440" y="379706"/>
                  </a:cubicBezTo>
                  <a:close/>
                  <a:moveTo>
                    <a:pt x="507365" y="428601"/>
                  </a:moveTo>
                  <a:cubicBezTo>
                    <a:pt x="495935" y="401296"/>
                    <a:pt x="474345" y="382881"/>
                    <a:pt x="453390" y="364466"/>
                  </a:cubicBezTo>
                  <a:cubicBezTo>
                    <a:pt x="431165" y="346051"/>
                    <a:pt x="431165" y="391136"/>
                    <a:pt x="451485" y="393676"/>
                  </a:cubicBezTo>
                  <a:cubicBezTo>
                    <a:pt x="487045" y="408916"/>
                    <a:pt x="488315" y="451461"/>
                    <a:pt x="525145" y="467336"/>
                  </a:cubicBezTo>
                  <a:cubicBezTo>
                    <a:pt x="542925" y="447651"/>
                    <a:pt x="513715" y="441301"/>
                    <a:pt x="507365" y="428601"/>
                  </a:cubicBezTo>
                  <a:close/>
                  <a:moveTo>
                    <a:pt x="504825" y="315571"/>
                  </a:moveTo>
                  <a:cubicBezTo>
                    <a:pt x="500380" y="301601"/>
                    <a:pt x="481965" y="299061"/>
                    <a:pt x="480060" y="284456"/>
                  </a:cubicBezTo>
                  <a:cubicBezTo>
                    <a:pt x="474980" y="258421"/>
                    <a:pt x="442595" y="265406"/>
                    <a:pt x="434340" y="241276"/>
                  </a:cubicBezTo>
                  <a:cubicBezTo>
                    <a:pt x="421005" y="238101"/>
                    <a:pt x="410210" y="251436"/>
                    <a:pt x="398145" y="240006"/>
                  </a:cubicBezTo>
                  <a:cubicBezTo>
                    <a:pt x="403860" y="233656"/>
                    <a:pt x="408940" y="232386"/>
                    <a:pt x="417195" y="228576"/>
                  </a:cubicBezTo>
                  <a:cubicBezTo>
                    <a:pt x="400050" y="175871"/>
                    <a:pt x="313690" y="272391"/>
                    <a:pt x="419735" y="267311"/>
                  </a:cubicBezTo>
                  <a:cubicBezTo>
                    <a:pt x="422275" y="289536"/>
                    <a:pt x="445770" y="278741"/>
                    <a:pt x="461645" y="288266"/>
                  </a:cubicBezTo>
                  <a:cubicBezTo>
                    <a:pt x="460375" y="315571"/>
                    <a:pt x="490855" y="330176"/>
                    <a:pt x="508000" y="347321"/>
                  </a:cubicBezTo>
                  <a:cubicBezTo>
                    <a:pt x="532130" y="360656"/>
                    <a:pt x="526415" y="399391"/>
                    <a:pt x="563245" y="392406"/>
                  </a:cubicBezTo>
                  <a:cubicBezTo>
                    <a:pt x="560070" y="370181"/>
                    <a:pt x="537210" y="365101"/>
                    <a:pt x="537210" y="340971"/>
                  </a:cubicBezTo>
                  <a:cubicBezTo>
                    <a:pt x="524510" y="334621"/>
                    <a:pt x="509270" y="329541"/>
                    <a:pt x="504825" y="315571"/>
                  </a:cubicBezTo>
                  <a:close/>
                  <a:moveTo>
                    <a:pt x="744220" y="156186"/>
                  </a:moveTo>
                  <a:cubicBezTo>
                    <a:pt x="658495" y="119991"/>
                    <a:pt x="573405" y="78081"/>
                    <a:pt x="509270" y="8231"/>
                  </a:cubicBezTo>
                  <a:cubicBezTo>
                    <a:pt x="478155" y="-22249"/>
                    <a:pt x="454660" y="40616"/>
                    <a:pt x="430530" y="55856"/>
                  </a:cubicBezTo>
                  <a:cubicBezTo>
                    <a:pt x="309880" y="170156"/>
                    <a:pt x="172720" y="286361"/>
                    <a:pt x="0" y="294616"/>
                  </a:cubicBezTo>
                  <a:cubicBezTo>
                    <a:pt x="14605" y="319381"/>
                    <a:pt x="14605" y="318746"/>
                    <a:pt x="29845" y="328271"/>
                  </a:cubicBezTo>
                  <a:cubicBezTo>
                    <a:pt x="91440" y="365736"/>
                    <a:pt x="144780" y="415901"/>
                    <a:pt x="205740" y="454001"/>
                  </a:cubicBezTo>
                  <a:cubicBezTo>
                    <a:pt x="279400" y="483211"/>
                    <a:pt x="368935" y="638786"/>
                    <a:pt x="440690" y="601322"/>
                  </a:cubicBezTo>
                  <a:cubicBezTo>
                    <a:pt x="623570" y="562586"/>
                    <a:pt x="855980" y="342876"/>
                    <a:pt x="744220" y="156186"/>
                  </a:cubicBezTo>
                  <a:close/>
                  <a:moveTo>
                    <a:pt x="412750" y="585447"/>
                  </a:moveTo>
                  <a:cubicBezTo>
                    <a:pt x="372110" y="579731"/>
                    <a:pt x="340995" y="535916"/>
                    <a:pt x="308610" y="511786"/>
                  </a:cubicBezTo>
                  <a:cubicBezTo>
                    <a:pt x="229235" y="438761"/>
                    <a:pt x="133985" y="389866"/>
                    <a:pt x="57150" y="314301"/>
                  </a:cubicBezTo>
                  <a:cubicBezTo>
                    <a:pt x="231140" y="271756"/>
                    <a:pt x="370840" y="152376"/>
                    <a:pt x="493395" y="26646"/>
                  </a:cubicBezTo>
                  <a:cubicBezTo>
                    <a:pt x="561975" y="90781"/>
                    <a:pt x="644525" y="126976"/>
                    <a:pt x="723265" y="173966"/>
                  </a:cubicBezTo>
                  <a:cubicBezTo>
                    <a:pt x="699135" y="203176"/>
                    <a:pt x="664210" y="216511"/>
                    <a:pt x="643255" y="243816"/>
                  </a:cubicBezTo>
                  <a:cubicBezTo>
                    <a:pt x="660400" y="283186"/>
                    <a:pt x="710565" y="292076"/>
                    <a:pt x="733425" y="327636"/>
                  </a:cubicBezTo>
                  <a:cubicBezTo>
                    <a:pt x="689610" y="466701"/>
                    <a:pt x="548005" y="554966"/>
                    <a:pt x="412750" y="585447"/>
                  </a:cubicBezTo>
                  <a:close/>
                  <a:moveTo>
                    <a:pt x="674370" y="250166"/>
                  </a:moveTo>
                  <a:cubicBezTo>
                    <a:pt x="697865" y="229211"/>
                    <a:pt x="714375" y="205716"/>
                    <a:pt x="743585" y="197461"/>
                  </a:cubicBezTo>
                  <a:cubicBezTo>
                    <a:pt x="744855" y="232386"/>
                    <a:pt x="751205" y="265406"/>
                    <a:pt x="738505" y="299061"/>
                  </a:cubicBezTo>
                  <a:cubicBezTo>
                    <a:pt x="712470" y="288266"/>
                    <a:pt x="697865" y="265406"/>
                    <a:pt x="674370" y="250166"/>
                  </a:cubicBezTo>
                  <a:close/>
                  <a:moveTo>
                    <a:pt x="641985" y="310491"/>
                  </a:moveTo>
                  <a:cubicBezTo>
                    <a:pt x="619760" y="306681"/>
                    <a:pt x="605790" y="289536"/>
                    <a:pt x="589280" y="280011"/>
                  </a:cubicBezTo>
                  <a:cubicBezTo>
                    <a:pt x="587375" y="270486"/>
                    <a:pt x="586105" y="263501"/>
                    <a:pt x="584835" y="255881"/>
                  </a:cubicBezTo>
                  <a:cubicBezTo>
                    <a:pt x="541020" y="246356"/>
                    <a:pt x="568960" y="223496"/>
                    <a:pt x="506095" y="215241"/>
                  </a:cubicBezTo>
                  <a:cubicBezTo>
                    <a:pt x="534670" y="166346"/>
                    <a:pt x="490220" y="189841"/>
                    <a:pt x="461645" y="186031"/>
                  </a:cubicBezTo>
                  <a:cubicBezTo>
                    <a:pt x="436245" y="172061"/>
                    <a:pt x="474345" y="158726"/>
                    <a:pt x="487045" y="156186"/>
                  </a:cubicBezTo>
                  <a:cubicBezTo>
                    <a:pt x="502920" y="130786"/>
                    <a:pt x="456565" y="133961"/>
                    <a:pt x="447040" y="148566"/>
                  </a:cubicBezTo>
                  <a:cubicBezTo>
                    <a:pt x="419100" y="174601"/>
                    <a:pt x="444500" y="210796"/>
                    <a:pt x="478790" y="206986"/>
                  </a:cubicBezTo>
                  <a:cubicBezTo>
                    <a:pt x="490855" y="245086"/>
                    <a:pt x="502285" y="234291"/>
                    <a:pt x="534670" y="244451"/>
                  </a:cubicBezTo>
                  <a:cubicBezTo>
                    <a:pt x="539115" y="264771"/>
                    <a:pt x="565785" y="269851"/>
                    <a:pt x="571500" y="292711"/>
                  </a:cubicBezTo>
                  <a:cubicBezTo>
                    <a:pt x="590550" y="305411"/>
                    <a:pt x="613410" y="332081"/>
                    <a:pt x="638175" y="329541"/>
                  </a:cubicBezTo>
                  <a:cubicBezTo>
                    <a:pt x="647700" y="327636"/>
                    <a:pt x="648335" y="313666"/>
                    <a:pt x="641985" y="310491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31" name="Google Shape;463;p8">
              <a:extLst>
                <a:ext uri="{FF2B5EF4-FFF2-40B4-BE49-F238E27FC236}">
                  <a16:creationId xmlns:a16="http://schemas.microsoft.com/office/drawing/2014/main" id="{27EDFF7F-5034-4BC9-BE8B-3E6D7C6197BC}"/>
                </a:ext>
              </a:extLst>
            </p:cNvPr>
            <p:cNvGrpSpPr/>
            <p:nvPr/>
          </p:nvGrpSpPr>
          <p:grpSpPr>
            <a:xfrm>
              <a:off x="3707787" y="505390"/>
              <a:ext cx="212392" cy="256778"/>
              <a:chOff x="1010452" y="1144365"/>
              <a:chExt cx="376916" cy="455685"/>
            </a:xfrm>
          </p:grpSpPr>
          <p:sp>
            <p:nvSpPr>
              <p:cNvPr id="63" name="Google Shape;464;p8">
                <a:extLst>
                  <a:ext uri="{FF2B5EF4-FFF2-40B4-BE49-F238E27FC236}">
                    <a16:creationId xmlns:a16="http://schemas.microsoft.com/office/drawing/2014/main" id="{2FFF5DD8-0F93-4F46-AD24-11024FDF3236}"/>
                  </a:ext>
                </a:extLst>
              </p:cNvPr>
              <p:cNvSpPr/>
              <p:nvPr/>
            </p:nvSpPr>
            <p:spPr>
              <a:xfrm>
                <a:off x="1010452" y="1144365"/>
                <a:ext cx="376916" cy="455685"/>
              </a:xfrm>
              <a:custGeom>
                <a:avLst/>
                <a:gdLst/>
                <a:ahLst/>
                <a:cxnLst/>
                <a:rect l="l" t="t" r="r" b="b"/>
                <a:pathLst>
                  <a:path w="438274" h="529866" extrusionOk="0">
                    <a:moveTo>
                      <a:pt x="42669" y="358775"/>
                    </a:moveTo>
                    <a:cubicBezTo>
                      <a:pt x="32509" y="365760"/>
                      <a:pt x="24889" y="370840"/>
                      <a:pt x="16634" y="376555"/>
                    </a:cubicBezTo>
                    <a:cubicBezTo>
                      <a:pt x="759" y="367030"/>
                      <a:pt x="-511" y="353060"/>
                      <a:pt x="124" y="337820"/>
                    </a:cubicBezTo>
                    <a:cubicBezTo>
                      <a:pt x="25524" y="336550"/>
                      <a:pt x="44574" y="340360"/>
                      <a:pt x="69339" y="353060"/>
                    </a:cubicBezTo>
                    <a:cubicBezTo>
                      <a:pt x="81404" y="349250"/>
                      <a:pt x="94739" y="345440"/>
                      <a:pt x="107439" y="340995"/>
                    </a:cubicBezTo>
                    <a:cubicBezTo>
                      <a:pt x="139189" y="224155"/>
                      <a:pt x="129029" y="254000"/>
                      <a:pt x="172209" y="186055"/>
                    </a:cubicBezTo>
                    <a:cubicBezTo>
                      <a:pt x="136014" y="133985"/>
                      <a:pt x="101089" y="64770"/>
                      <a:pt x="130934" y="0"/>
                    </a:cubicBezTo>
                    <a:cubicBezTo>
                      <a:pt x="181099" y="8255"/>
                      <a:pt x="230629" y="101600"/>
                      <a:pt x="237614" y="151130"/>
                    </a:cubicBezTo>
                    <a:cubicBezTo>
                      <a:pt x="282699" y="160020"/>
                      <a:pt x="330324" y="148590"/>
                      <a:pt x="366519" y="186055"/>
                    </a:cubicBezTo>
                    <a:cubicBezTo>
                      <a:pt x="391284" y="211455"/>
                      <a:pt x="430654" y="226695"/>
                      <a:pt x="438274" y="264795"/>
                    </a:cubicBezTo>
                    <a:cubicBezTo>
                      <a:pt x="363344" y="320040"/>
                      <a:pt x="256029" y="259080"/>
                      <a:pt x="195704" y="205740"/>
                    </a:cubicBezTo>
                    <a:cubicBezTo>
                      <a:pt x="153794" y="228600"/>
                      <a:pt x="141094" y="292100"/>
                      <a:pt x="136649" y="332740"/>
                    </a:cubicBezTo>
                    <a:cubicBezTo>
                      <a:pt x="143634" y="339090"/>
                      <a:pt x="151889" y="345440"/>
                      <a:pt x="160779" y="353060"/>
                    </a:cubicBezTo>
                    <a:cubicBezTo>
                      <a:pt x="169669" y="349885"/>
                      <a:pt x="178559" y="346075"/>
                      <a:pt x="188084" y="342900"/>
                    </a:cubicBezTo>
                    <a:cubicBezTo>
                      <a:pt x="193799" y="347345"/>
                      <a:pt x="199514" y="351790"/>
                      <a:pt x="205864" y="357505"/>
                    </a:cubicBezTo>
                    <a:cubicBezTo>
                      <a:pt x="238249" y="346710"/>
                      <a:pt x="275079" y="366395"/>
                      <a:pt x="310004" y="365125"/>
                    </a:cubicBezTo>
                    <a:cubicBezTo>
                      <a:pt x="348104" y="407670"/>
                      <a:pt x="245869" y="379095"/>
                      <a:pt x="227454" y="375285"/>
                    </a:cubicBezTo>
                    <a:cubicBezTo>
                      <a:pt x="220469" y="379095"/>
                      <a:pt x="212849" y="384175"/>
                      <a:pt x="203959" y="388620"/>
                    </a:cubicBezTo>
                    <a:cubicBezTo>
                      <a:pt x="196974" y="386080"/>
                      <a:pt x="188719" y="381000"/>
                      <a:pt x="184274" y="375920"/>
                    </a:cubicBezTo>
                    <a:cubicBezTo>
                      <a:pt x="167129" y="374650"/>
                      <a:pt x="151889" y="373380"/>
                      <a:pt x="134744" y="372110"/>
                    </a:cubicBezTo>
                    <a:cubicBezTo>
                      <a:pt x="134744" y="381000"/>
                      <a:pt x="139189" y="389890"/>
                      <a:pt x="145539" y="395605"/>
                    </a:cubicBezTo>
                    <a:cubicBezTo>
                      <a:pt x="186179" y="433070"/>
                      <a:pt x="166494" y="499110"/>
                      <a:pt x="128394" y="528955"/>
                    </a:cubicBezTo>
                    <a:cubicBezTo>
                      <a:pt x="69974" y="541020"/>
                      <a:pt x="67434" y="429895"/>
                      <a:pt x="99819" y="396875"/>
                    </a:cubicBezTo>
                    <a:cubicBezTo>
                      <a:pt x="113154" y="386715"/>
                      <a:pt x="109979" y="361315"/>
                      <a:pt x="90294" y="370205"/>
                    </a:cubicBezTo>
                    <a:cubicBezTo>
                      <a:pt x="71244" y="380365"/>
                      <a:pt x="57909" y="368300"/>
                      <a:pt x="42669" y="358775"/>
                    </a:cubicBezTo>
                    <a:close/>
                    <a:moveTo>
                      <a:pt x="111884" y="481965"/>
                    </a:moveTo>
                    <a:cubicBezTo>
                      <a:pt x="107439" y="512445"/>
                      <a:pt x="133474" y="506095"/>
                      <a:pt x="111249" y="482600"/>
                    </a:cubicBezTo>
                    <a:cubicBezTo>
                      <a:pt x="110614" y="470535"/>
                      <a:pt x="109979" y="458470"/>
                      <a:pt x="108709" y="446405"/>
                    </a:cubicBezTo>
                    <a:cubicBezTo>
                      <a:pt x="105534" y="458470"/>
                      <a:pt x="99184" y="471805"/>
                      <a:pt x="111884" y="481965"/>
                    </a:cubicBezTo>
                    <a:close/>
                    <a:moveTo>
                      <a:pt x="200784" y="171450"/>
                    </a:moveTo>
                    <a:cubicBezTo>
                      <a:pt x="233804" y="126365"/>
                      <a:pt x="188084" y="57785"/>
                      <a:pt x="148079" y="34290"/>
                    </a:cubicBezTo>
                    <a:cubicBezTo>
                      <a:pt x="130934" y="70485"/>
                      <a:pt x="156334" y="168910"/>
                      <a:pt x="200784" y="171450"/>
                    </a:cubicBezTo>
                    <a:lnTo>
                      <a:pt x="200784" y="171450"/>
                    </a:lnTo>
                    <a:close/>
                    <a:moveTo>
                      <a:pt x="241424" y="220980"/>
                    </a:moveTo>
                    <a:lnTo>
                      <a:pt x="242059" y="219075"/>
                    </a:lnTo>
                    <a:lnTo>
                      <a:pt x="240154" y="220345"/>
                    </a:lnTo>
                    <a:cubicBezTo>
                      <a:pt x="289684" y="245110"/>
                      <a:pt x="363979" y="292100"/>
                      <a:pt x="412239" y="248920"/>
                    </a:cubicBezTo>
                    <a:cubicBezTo>
                      <a:pt x="370964" y="205740"/>
                      <a:pt x="304289" y="149860"/>
                      <a:pt x="243964" y="186690"/>
                    </a:cubicBezTo>
                    <a:cubicBezTo>
                      <a:pt x="269999" y="217170"/>
                      <a:pt x="344294" y="203835"/>
                      <a:pt x="353819" y="244475"/>
                    </a:cubicBezTo>
                    <a:cubicBezTo>
                      <a:pt x="318259" y="237490"/>
                      <a:pt x="280159" y="214630"/>
                      <a:pt x="241424" y="220980"/>
                    </a:cubicBezTo>
                    <a:close/>
                    <a:moveTo>
                      <a:pt x="139189" y="431165"/>
                    </a:moveTo>
                    <a:cubicBezTo>
                      <a:pt x="135379" y="450215"/>
                      <a:pt x="134744" y="450215"/>
                      <a:pt x="140459" y="465455"/>
                    </a:cubicBezTo>
                    <a:cubicBezTo>
                      <a:pt x="146809" y="453390"/>
                      <a:pt x="145539" y="443230"/>
                      <a:pt x="139189" y="431165"/>
                    </a:cubicBezTo>
                    <a:close/>
                  </a:path>
                </a:pathLst>
              </a:custGeom>
              <a:solidFill>
                <a:srgbClr val="30485C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64" name="Google Shape;465;p8">
                <a:extLst>
                  <a:ext uri="{FF2B5EF4-FFF2-40B4-BE49-F238E27FC236}">
                    <a16:creationId xmlns:a16="http://schemas.microsoft.com/office/drawing/2014/main" id="{747E638D-D925-4CD5-BA8E-12E806D795E9}"/>
                  </a:ext>
                </a:extLst>
              </p:cNvPr>
              <p:cNvSpPr/>
              <p:nvPr/>
            </p:nvSpPr>
            <p:spPr>
              <a:xfrm>
                <a:off x="1151008" y="1222803"/>
                <a:ext cx="35003" cy="68520"/>
              </a:xfrm>
              <a:custGeom>
                <a:avLst/>
                <a:gdLst/>
                <a:ahLst/>
                <a:cxnLst/>
                <a:rect l="l" t="t" r="r" b="b"/>
                <a:pathLst>
                  <a:path w="40701" h="79674" extrusionOk="0">
                    <a:moveTo>
                      <a:pt x="38100" y="79674"/>
                    </a:moveTo>
                    <a:cubicBezTo>
                      <a:pt x="20320" y="56179"/>
                      <a:pt x="8255" y="30144"/>
                      <a:pt x="0" y="2840"/>
                    </a:cubicBezTo>
                    <a:cubicBezTo>
                      <a:pt x="24130" y="-16210"/>
                      <a:pt x="48895" y="66340"/>
                      <a:pt x="38100" y="79674"/>
                    </a:cubicBezTo>
                    <a:close/>
                  </a:path>
                </a:pathLst>
              </a:custGeom>
              <a:solidFill>
                <a:srgbClr val="30485C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32" name="Google Shape;466;p8">
              <a:extLst>
                <a:ext uri="{FF2B5EF4-FFF2-40B4-BE49-F238E27FC236}">
                  <a16:creationId xmlns:a16="http://schemas.microsoft.com/office/drawing/2014/main" id="{4DFA9240-E771-4987-974F-DCEF5FC6723C}"/>
                </a:ext>
              </a:extLst>
            </p:cNvPr>
            <p:cNvSpPr/>
            <p:nvPr/>
          </p:nvSpPr>
          <p:spPr>
            <a:xfrm rot="-1100489">
              <a:off x="8420309" y="672386"/>
              <a:ext cx="223722" cy="226855"/>
            </a:xfrm>
            <a:custGeom>
              <a:avLst/>
              <a:gdLst/>
              <a:ahLst/>
              <a:cxnLst/>
              <a:rect l="l" t="t" r="r" b="b"/>
              <a:pathLst>
                <a:path w="461644" h="468109" extrusionOk="0">
                  <a:moveTo>
                    <a:pt x="313055" y="28998"/>
                  </a:moveTo>
                  <a:cubicBezTo>
                    <a:pt x="261620" y="-13547"/>
                    <a:pt x="187960" y="-4022"/>
                    <a:pt x="131445" y="23918"/>
                  </a:cubicBezTo>
                  <a:cubicBezTo>
                    <a:pt x="158750" y="209973"/>
                    <a:pt x="74295" y="277918"/>
                    <a:pt x="0" y="435398"/>
                  </a:cubicBezTo>
                  <a:cubicBezTo>
                    <a:pt x="26670" y="495088"/>
                    <a:pt x="107314" y="453178"/>
                    <a:pt x="158750" y="461433"/>
                  </a:cubicBezTo>
                  <a:cubicBezTo>
                    <a:pt x="257810" y="439208"/>
                    <a:pt x="367664" y="470323"/>
                    <a:pt x="461645" y="435398"/>
                  </a:cubicBezTo>
                  <a:cubicBezTo>
                    <a:pt x="369570" y="280458"/>
                    <a:pt x="297814" y="222038"/>
                    <a:pt x="313055" y="28998"/>
                  </a:cubicBezTo>
                  <a:close/>
                  <a:moveTo>
                    <a:pt x="270510" y="39158"/>
                  </a:moveTo>
                  <a:cubicBezTo>
                    <a:pt x="237489" y="54398"/>
                    <a:pt x="205105" y="51858"/>
                    <a:pt x="172085" y="38523"/>
                  </a:cubicBezTo>
                  <a:cubicBezTo>
                    <a:pt x="197485" y="14393"/>
                    <a:pt x="243205" y="16933"/>
                    <a:pt x="270510" y="39158"/>
                  </a:cubicBezTo>
                  <a:close/>
                  <a:moveTo>
                    <a:pt x="160655" y="63923"/>
                  </a:moveTo>
                  <a:cubicBezTo>
                    <a:pt x="203835" y="69638"/>
                    <a:pt x="242570" y="70273"/>
                    <a:pt x="287020" y="64558"/>
                  </a:cubicBezTo>
                  <a:cubicBezTo>
                    <a:pt x="301625" y="119803"/>
                    <a:pt x="283845" y="182033"/>
                    <a:pt x="306070" y="232833"/>
                  </a:cubicBezTo>
                  <a:cubicBezTo>
                    <a:pt x="314325" y="244898"/>
                    <a:pt x="330835" y="258868"/>
                    <a:pt x="321310" y="274743"/>
                  </a:cubicBezTo>
                  <a:cubicBezTo>
                    <a:pt x="258445" y="376978"/>
                    <a:pt x="194310" y="273473"/>
                    <a:pt x="116839" y="281728"/>
                  </a:cubicBezTo>
                  <a:cubicBezTo>
                    <a:pt x="172085" y="168063"/>
                    <a:pt x="155575" y="180763"/>
                    <a:pt x="160655" y="63923"/>
                  </a:cubicBezTo>
                  <a:close/>
                  <a:moveTo>
                    <a:pt x="350520" y="430318"/>
                  </a:moveTo>
                  <a:cubicBezTo>
                    <a:pt x="243839" y="425238"/>
                    <a:pt x="137795" y="444923"/>
                    <a:pt x="31750" y="441113"/>
                  </a:cubicBezTo>
                  <a:cubicBezTo>
                    <a:pt x="123189" y="141393"/>
                    <a:pt x="212089" y="450003"/>
                    <a:pt x="340360" y="284903"/>
                  </a:cubicBezTo>
                  <a:cubicBezTo>
                    <a:pt x="373380" y="329353"/>
                    <a:pt x="400685" y="368088"/>
                    <a:pt x="425450" y="415713"/>
                  </a:cubicBezTo>
                  <a:cubicBezTo>
                    <a:pt x="418464" y="425238"/>
                    <a:pt x="368935" y="431588"/>
                    <a:pt x="350520" y="430318"/>
                  </a:cubicBezTo>
                  <a:close/>
                  <a:moveTo>
                    <a:pt x="275589" y="413173"/>
                  </a:moveTo>
                  <a:cubicBezTo>
                    <a:pt x="280670" y="396663"/>
                    <a:pt x="275589" y="382058"/>
                    <a:pt x="274320" y="363643"/>
                  </a:cubicBezTo>
                  <a:cubicBezTo>
                    <a:pt x="203200" y="347768"/>
                    <a:pt x="209550" y="449368"/>
                    <a:pt x="275589" y="413173"/>
                  </a:cubicBezTo>
                  <a:close/>
                  <a:moveTo>
                    <a:pt x="250189" y="403648"/>
                  </a:moveTo>
                  <a:cubicBezTo>
                    <a:pt x="236855" y="403013"/>
                    <a:pt x="242570" y="390313"/>
                    <a:pt x="252095" y="387773"/>
                  </a:cubicBezTo>
                  <a:cubicBezTo>
                    <a:pt x="264160" y="389678"/>
                    <a:pt x="259714" y="403013"/>
                    <a:pt x="250189" y="403648"/>
                  </a:cubicBezTo>
                  <a:close/>
                  <a:moveTo>
                    <a:pt x="160020" y="336338"/>
                  </a:moveTo>
                  <a:cubicBezTo>
                    <a:pt x="121920" y="334433"/>
                    <a:pt x="120014" y="387138"/>
                    <a:pt x="158750" y="385233"/>
                  </a:cubicBezTo>
                  <a:cubicBezTo>
                    <a:pt x="191770" y="387773"/>
                    <a:pt x="194310" y="335703"/>
                    <a:pt x="160020" y="336338"/>
                  </a:cubicBezTo>
                  <a:close/>
                  <a:moveTo>
                    <a:pt x="153035" y="363008"/>
                  </a:moveTo>
                  <a:cubicBezTo>
                    <a:pt x="160020" y="361103"/>
                    <a:pt x="163830" y="354118"/>
                    <a:pt x="167639" y="365548"/>
                  </a:cubicBezTo>
                  <a:cubicBezTo>
                    <a:pt x="161289" y="366183"/>
                    <a:pt x="155575" y="370628"/>
                    <a:pt x="153035" y="363008"/>
                  </a:cubicBezTo>
                  <a:close/>
                  <a:moveTo>
                    <a:pt x="235585" y="262678"/>
                  </a:moveTo>
                  <a:cubicBezTo>
                    <a:pt x="268605" y="265218"/>
                    <a:pt x="281305" y="215053"/>
                    <a:pt x="240030" y="211243"/>
                  </a:cubicBezTo>
                  <a:cubicBezTo>
                    <a:pt x="203200" y="206798"/>
                    <a:pt x="203835" y="257598"/>
                    <a:pt x="235585" y="262678"/>
                  </a:cubicBezTo>
                  <a:close/>
                  <a:moveTo>
                    <a:pt x="248285" y="235373"/>
                  </a:moveTo>
                  <a:cubicBezTo>
                    <a:pt x="242570" y="240453"/>
                    <a:pt x="237489" y="246803"/>
                    <a:pt x="232410" y="238548"/>
                  </a:cubicBezTo>
                  <a:cubicBezTo>
                    <a:pt x="231139" y="228388"/>
                    <a:pt x="240664" y="230293"/>
                    <a:pt x="248285" y="235373"/>
                  </a:cubicBezTo>
                  <a:close/>
                  <a:moveTo>
                    <a:pt x="224155" y="133138"/>
                  </a:moveTo>
                  <a:cubicBezTo>
                    <a:pt x="224789" y="115993"/>
                    <a:pt x="196214" y="108373"/>
                    <a:pt x="193675" y="129328"/>
                  </a:cubicBezTo>
                  <a:cubicBezTo>
                    <a:pt x="190500" y="154093"/>
                    <a:pt x="222250" y="155998"/>
                    <a:pt x="224155" y="133138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3" name="Google Shape;467;p8">
              <a:extLst>
                <a:ext uri="{FF2B5EF4-FFF2-40B4-BE49-F238E27FC236}">
                  <a16:creationId xmlns:a16="http://schemas.microsoft.com/office/drawing/2014/main" id="{5FE706DA-1126-4F4C-8BBA-DC7AC43A2500}"/>
                </a:ext>
              </a:extLst>
            </p:cNvPr>
            <p:cNvSpPr/>
            <p:nvPr/>
          </p:nvSpPr>
          <p:spPr>
            <a:xfrm>
              <a:off x="3572521" y="981550"/>
              <a:ext cx="255529" cy="288428"/>
            </a:xfrm>
            <a:custGeom>
              <a:avLst/>
              <a:gdLst/>
              <a:ahLst/>
              <a:cxnLst/>
              <a:rect l="l" t="t" r="r" b="b"/>
              <a:pathLst>
                <a:path w="526864" h="594697" extrusionOk="0">
                  <a:moveTo>
                    <a:pt x="476936" y="348155"/>
                  </a:moveTo>
                  <a:cubicBezTo>
                    <a:pt x="414706" y="390065"/>
                    <a:pt x="352476" y="373555"/>
                    <a:pt x="427406" y="306880"/>
                  </a:cubicBezTo>
                  <a:cubicBezTo>
                    <a:pt x="588696" y="206550"/>
                    <a:pt x="435661" y="-15065"/>
                    <a:pt x="280086" y="810"/>
                  </a:cubicBezTo>
                  <a:cubicBezTo>
                    <a:pt x="137211" y="13510"/>
                    <a:pt x="14656" y="153845"/>
                    <a:pt x="51" y="293545"/>
                  </a:cubicBezTo>
                  <a:cubicBezTo>
                    <a:pt x="-3759" y="510080"/>
                    <a:pt x="205791" y="675815"/>
                    <a:pt x="402641" y="552625"/>
                  </a:cubicBezTo>
                  <a:cubicBezTo>
                    <a:pt x="461061" y="528495"/>
                    <a:pt x="601396" y="353870"/>
                    <a:pt x="476936" y="348155"/>
                  </a:cubicBezTo>
                  <a:close/>
                  <a:moveTo>
                    <a:pt x="205156" y="568500"/>
                  </a:moveTo>
                  <a:cubicBezTo>
                    <a:pt x="39421" y="529765"/>
                    <a:pt x="-27254" y="296085"/>
                    <a:pt x="67996" y="162735"/>
                  </a:cubicBezTo>
                  <a:cubicBezTo>
                    <a:pt x="139116" y="53515"/>
                    <a:pt x="294691" y="-44275"/>
                    <a:pt x="410896" y="59865"/>
                  </a:cubicBezTo>
                  <a:cubicBezTo>
                    <a:pt x="457251" y="97965"/>
                    <a:pt x="501066" y="170990"/>
                    <a:pt x="469316" y="230045"/>
                  </a:cubicBezTo>
                  <a:cubicBezTo>
                    <a:pt x="447726" y="280845"/>
                    <a:pt x="340411" y="315135"/>
                    <a:pt x="379146" y="376095"/>
                  </a:cubicBezTo>
                  <a:cubicBezTo>
                    <a:pt x="412801" y="414830"/>
                    <a:pt x="457886" y="371650"/>
                    <a:pt x="497256" y="369745"/>
                  </a:cubicBezTo>
                  <a:cubicBezTo>
                    <a:pt x="507416" y="503095"/>
                    <a:pt x="323901" y="594535"/>
                    <a:pt x="205156" y="568500"/>
                  </a:cubicBezTo>
                  <a:close/>
                  <a:moveTo>
                    <a:pt x="132766" y="332915"/>
                  </a:moveTo>
                  <a:cubicBezTo>
                    <a:pt x="154991" y="341805"/>
                    <a:pt x="200076" y="333550"/>
                    <a:pt x="181026" y="301165"/>
                  </a:cubicBezTo>
                  <a:cubicBezTo>
                    <a:pt x="172136" y="286560"/>
                    <a:pt x="167691" y="270050"/>
                    <a:pt x="172771" y="252270"/>
                  </a:cubicBezTo>
                  <a:cubicBezTo>
                    <a:pt x="176581" y="210995"/>
                    <a:pt x="122606" y="217345"/>
                    <a:pt x="95936" y="212900"/>
                  </a:cubicBezTo>
                  <a:cubicBezTo>
                    <a:pt x="30531" y="204645"/>
                    <a:pt x="20371" y="327200"/>
                    <a:pt x="76886" y="346885"/>
                  </a:cubicBezTo>
                  <a:cubicBezTo>
                    <a:pt x="96571" y="336090"/>
                    <a:pt x="109906" y="322755"/>
                    <a:pt x="132766" y="332915"/>
                  </a:cubicBezTo>
                  <a:close/>
                  <a:moveTo>
                    <a:pt x="283261" y="118920"/>
                  </a:moveTo>
                  <a:cubicBezTo>
                    <a:pt x="299771" y="35735"/>
                    <a:pt x="146101" y="25575"/>
                    <a:pt x="179756" y="118920"/>
                  </a:cubicBezTo>
                  <a:cubicBezTo>
                    <a:pt x="116256" y="200835"/>
                    <a:pt x="250241" y="230045"/>
                    <a:pt x="283261" y="118920"/>
                  </a:cubicBezTo>
                  <a:close/>
                  <a:moveTo>
                    <a:pt x="263576" y="96695"/>
                  </a:moveTo>
                  <a:cubicBezTo>
                    <a:pt x="261671" y="99870"/>
                    <a:pt x="260401" y="101775"/>
                    <a:pt x="259766" y="103045"/>
                  </a:cubicBezTo>
                  <a:cubicBezTo>
                    <a:pt x="249606" y="96060"/>
                    <a:pt x="253416" y="87170"/>
                    <a:pt x="263576" y="96695"/>
                  </a:cubicBezTo>
                  <a:close/>
                  <a:moveTo>
                    <a:pt x="229286" y="144320"/>
                  </a:moveTo>
                  <a:cubicBezTo>
                    <a:pt x="232461" y="131620"/>
                    <a:pt x="239446" y="126540"/>
                    <a:pt x="255321" y="121460"/>
                  </a:cubicBezTo>
                  <a:cubicBezTo>
                    <a:pt x="248336" y="136065"/>
                    <a:pt x="245161" y="146225"/>
                    <a:pt x="229286" y="144320"/>
                  </a:cubicBezTo>
                  <a:close/>
                  <a:moveTo>
                    <a:pt x="201346" y="404035"/>
                  </a:moveTo>
                  <a:cubicBezTo>
                    <a:pt x="199441" y="358315"/>
                    <a:pt x="131496" y="364030"/>
                    <a:pt x="106731" y="386890"/>
                  </a:cubicBezTo>
                  <a:cubicBezTo>
                    <a:pt x="81331" y="451660"/>
                    <a:pt x="128956" y="520240"/>
                    <a:pt x="190551" y="461185"/>
                  </a:cubicBezTo>
                  <a:cubicBezTo>
                    <a:pt x="208966" y="445945"/>
                    <a:pt x="200076" y="424355"/>
                    <a:pt x="201346" y="404035"/>
                  </a:cubicBezTo>
                  <a:close/>
                  <a:moveTo>
                    <a:pt x="424866" y="139875"/>
                  </a:moveTo>
                  <a:cubicBezTo>
                    <a:pt x="413436" y="53515"/>
                    <a:pt x="334696" y="68120"/>
                    <a:pt x="334061" y="151305"/>
                  </a:cubicBezTo>
                  <a:cubicBezTo>
                    <a:pt x="334061" y="216075"/>
                    <a:pt x="445821" y="205915"/>
                    <a:pt x="424866" y="139875"/>
                  </a:cubicBezTo>
                  <a:close/>
                  <a:moveTo>
                    <a:pt x="259131" y="467535"/>
                  </a:moveTo>
                  <a:cubicBezTo>
                    <a:pt x="194361" y="477060"/>
                    <a:pt x="205156" y="565960"/>
                    <a:pt x="274371" y="560880"/>
                  </a:cubicBezTo>
                  <a:cubicBezTo>
                    <a:pt x="332791" y="531035"/>
                    <a:pt x="342316" y="461185"/>
                    <a:pt x="259131" y="467535"/>
                  </a:cubicBezTo>
                  <a:close/>
                  <a:moveTo>
                    <a:pt x="410261" y="407210"/>
                  </a:moveTo>
                  <a:cubicBezTo>
                    <a:pt x="370891" y="406575"/>
                    <a:pt x="327711" y="466265"/>
                    <a:pt x="364541" y="497380"/>
                  </a:cubicBezTo>
                  <a:cubicBezTo>
                    <a:pt x="418516" y="538655"/>
                    <a:pt x="504876" y="406575"/>
                    <a:pt x="410261" y="407210"/>
                  </a:cubicBezTo>
                  <a:close/>
                  <a:moveTo>
                    <a:pt x="390576" y="483410"/>
                  </a:moveTo>
                  <a:cubicBezTo>
                    <a:pt x="351206" y="484680"/>
                    <a:pt x="389306" y="425625"/>
                    <a:pt x="413436" y="428165"/>
                  </a:cubicBezTo>
                  <a:cubicBezTo>
                    <a:pt x="455346" y="434515"/>
                    <a:pt x="410261" y="476425"/>
                    <a:pt x="390576" y="483410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4" name="Google Shape;468;p8">
              <a:extLst>
                <a:ext uri="{FF2B5EF4-FFF2-40B4-BE49-F238E27FC236}">
                  <a16:creationId xmlns:a16="http://schemas.microsoft.com/office/drawing/2014/main" id="{663F8069-EBEA-4D62-B798-7843177FF1CB}"/>
                </a:ext>
              </a:extLst>
            </p:cNvPr>
            <p:cNvSpPr/>
            <p:nvPr/>
          </p:nvSpPr>
          <p:spPr>
            <a:xfrm rot="1800079">
              <a:off x="8229930" y="1002016"/>
              <a:ext cx="198020" cy="248076"/>
            </a:xfrm>
            <a:custGeom>
              <a:avLst/>
              <a:gdLst/>
              <a:ahLst/>
              <a:cxnLst/>
              <a:rect l="l" t="t" r="r" b="b"/>
              <a:pathLst>
                <a:path w="408305" h="511517" extrusionOk="0">
                  <a:moveTo>
                    <a:pt x="89536" y="14843"/>
                  </a:moveTo>
                  <a:cubicBezTo>
                    <a:pt x="68580" y="20558"/>
                    <a:pt x="76200" y="45323"/>
                    <a:pt x="70486" y="61198"/>
                  </a:cubicBezTo>
                  <a:cubicBezTo>
                    <a:pt x="48261" y="207248"/>
                    <a:pt x="12700" y="352663"/>
                    <a:pt x="0" y="499348"/>
                  </a:cubicBezTo>
                  <a:cubicBezTo>
                    <a:pt x="80011" y="540623"/>
                    <a:pt x="333375" y="470138"/>
                    <a:pt x="377190" y="389493"/>
                  </a:cubicBezTo>
                  <a:cubicBezTo>
                    <a:pt x="321945" y="291068"/>
                    <a:pt x="245111" y="207248"/>
                    <a:pt x="178436" y="117078"/>
                  </a:cubicBezTo>
                  <a:cubicBezTo>
                    <a:pt x="146050" y="88503"/>
                    <a:pt x="130811" y="26273"/>
                    <a:pt x="89536" y="14843"/>
                  </a:cubicBezTo>
                  <a:close/>
                  <a:moveTo>
                    <a:pt x="344805" y="390763"/>
                  </a:moveTo>
                  <a:cubicBezTo>
                    <a:pt x="313055" y="461248"/>
                    <a:pt x="111761" y="499348"/>
                    <a:pt x="36830" y="494268"/>
                  </a:cubicBezTo>
                  <a:cubicBezTo>
                    <a:pt x="33655" y="423148"/>
                    <a:pt x="287655" y="318373"/>
                    <a:pt x="344805" y="390763"/>
                  </a:cubicBezTo>
                  <a:close/>
                  <a:moveTo>
                    <a:pt x="184150" y="362188"/>
                  </a:moveTo>
                  <a:cubicBezTo>
                    <a:pt x="176530" y="351393"/>
                    <a:pt x="170180" y="341868"/>
                    <a:pt x="161290" y="329803"/>
                  </a:cubicBezTo>
                  <a:cubicBezTo>
                    <a:pt x="150495" y="343773"/>
                    <a:pt x="154305" y="353933"/>
                    <a:pt x="156211" y="369808"/>
                  </a:cubicBezTo>
                  <a:cubicBezTo>
                    <a:pt x="114300" y="394573"/>
                    <a:pt x="70486" y="415528"/>
                    <a:pt x="33655" y="447913"/>
                  </a:cubicBezTo>
                  <a:cubicBezTo>
                    <a:pt x="18415" y="439023"/>
                    <a:pt x="32386" y="417433"/>
                    <a:pt x="31750" y="403463"/>
                  </a:cubicBezTo>
                  <a:cubicBezTo>
                    <a:pt x="55880" y="288528"/>
                    <a:pt x="65405" y="170418"/>
                    <a:pt x="95886" y="57388"/>
                  </a:cubicBezTo>
                  <a:cubicBezTo>
                    <a:pt x="111125" y="52308"/>
                    <a:pt x="112395" y="68183"/>
                    <a:pt x="118111" y="78978"/>
                  </a:cubicBezTo>
                  <a:cubicBezTo>
                    <a:pt x="111761" y="80883"/>
                    <a:pt x="104775" y="82153"/>
                    <a:pt x="97155" y="84693"/>
                  </a:cubicBezTo>
                  <a:cubicBezTo>
                    <a:pt x="99695" y="98663"/>
                    <a:pt x="100330" y="123428"/>
                    <a:pt x="120015" y="112633"/>
                  </a:cubicBezTo>
                  <a:cubicBezTo>
                    <a:pt x="121286" y="104378"/>
                    <a:pt x="123190" y="96123"/>
                    <a:pt x="124461" y="87233"/>
                  </a:cubicBezTo>
                  <a:cubicBezTo>
                    <a:pt x="189230" y="173593"/>
                    <a:pt x="263525" y="252968"/>
                    <a:pt x="317500" y="346948"/>
                  </a:cubicBezTo>
                  <a:cubicBezTo>
                    <a:pt x="271780" y="346313"/>
                    <a:pt x="229870" y="353933"/>
                    <a:pt x="184150" y="362188"/>
                  </a:cubicBezTo>
                  <a:close/>
                  <a:moveTo>
                    <a:pt x="326390" y="268208"/>
                  </a:moveTo>
                  <a:cubicBezTo>
                    <a:pt x="326390" y="285988"/>
                    <a:pt x="349250" y="302498"/>
                    <a:pt x="354330" y="321548"/>
                  </a:cubicBezTo>
                  <a:cubicBezTo>
                    <a:pt x="360680" y="330438"/>
                    <a:pt x="370205" y="339328"/>
                    <a:pt x="382270" y="330438"/>
                  </a:cubicBezTo>
                  <a:cubicBezTo>
                    <a:pt x="373380" y="307578"/>
                    <a:pt x="350520" y="297418"/>
                    <a:pt x="344805" y="272018"/>
                  </a:cubicBezTo>
                  <a:cubicBezTo>
                    <a:pt x="341630" y="264398"/>
                    <a:pt x="332740" y="265033"/>
                    <a:pt x="326390" y="268208"/>
                  </a:cubicBezTo>
                  <a:close/>
                  <a:moveTo>
                    <a:pt x="160020" y="26908"/>
                  </a:moveTo>
                  <a:cubicBezTo>
                    <a:pt x="147320" y="1508"/>
                    <a:pt x="137161" y="-8652"/>
                    <a:pt x="119380" y="8493"/>
                  </a:cubicBezTo>
                  <a:cubicBezTo>
                    <a:pt x="132715" y="18653"/>
                    <a:pt x="144145" y="46593"/>
                    <a:pt x="160020" y="26908"/>
                  </a:cubicBezTo>
                  <a:close/>
                  <a:moveTo>
                    <a:pt x="280670" y="188198"/>
                  </a:moveTo>
                  <a:cubicBezTo>
                    <a:pt x="285115" y="164068"/>
                    <a:pt x="281305" y="158353"/>
                    <a:pt x="252730" y="155813"/>
                  </a:cubicBezTo>
                  <a:cubicBezTo>
                    <a:pt x="259080" y="172323"/>
                    <a:pt x="266700" y="182483"/>
                    <a:pt x="280670" y="188198"/>
                  </a:cubicBezTo>
                  <a:close/>
                  <a:moveTo>
                    <a:pt x="245111" y="131683"/>
                  </a:moveTo>
                  <a:cubicBezTo>
                    <a:pt x="254636" y="116443"/>
                    <a:pt x="235586" y="105648"/>
                    <a:pt x="218440" y="110093"/>
                  </a:cubicBezTo>
                  <a:cubicBezTo>
                    <a:pt x="226061" y="126603"/>
                    <a:pt x="231775" y="138033"/>
                    <a:pt x="245111" y="131683"/>
                  </a:cubicBezTo>
                  <a:close/>
                  <a:moveTo>
                    <a:pt x="290830" y="209788"/>
                  </a:moveTo>
                  <a:cubicBezTo>
                    <a:pt x="284480" y="219313"/>
                    <a:pt x="295275" y="227568"/>
                    <a:pt x="300990" y="234553"/>
                  </a:cubicBezTo>
                  <a:cubicBezTo>
                    <a:pt x="328295" y="239633"/>
                    <a:pt x="310515" y="205343"/>
                    <a:pt x="290830" y="209788"/>
                  </a:cubicBezTo>
                  <a:close/>
                  <a:moveTo>
                    <a:pt x="202565" y="76438"/>
                  </a:moveTo>
                  <a:cubicBezTo>
                    <a:pt x="202565" y="63103"/>
                    <a:pt x="183515" y="56118"/>
                    <a:pt x="176530" y="65643"/>
                  </a:cubicBezTo>
                  <a:cubicBezTo>
                    <a:pt x="174625" y="77708"/>
                    <a:pt x="193040" y="87233"/>
                    <a:pt x="202565" y="76438"/>
                  </a:cubicBezTo>
                  <a:close/>
                  <a:moveTo>
                    <a:pt x="389890" y="366633"/>
                  </a:moveTo>
                  <a:cubicBezTo>
                    <a:pt x="393700" y="375523"/>
                    <a:pt x="399415" y="371078"/>
                    <a:pt x="408305" y="366633"/>
                  </a:cubicBezTo>
                  <a:cubicBezTo>
                    <a:pt x="398145" y="357743"/>
                    <a:pt x="395605" y="355838"/>
                    <a:pt x="389890" y="366633"/>
                  </a:cubicBezTo>
                  <a:close/>
                  <a:moveTo>
                    <a:pt x="119380" y="157718"/>
                  </a:moveTo>
                  <a:cubicBezTo>
                    <a:pt x="102870" y="164703"/>
                    <a:pt x="128905" y="203438"/>
                    <a:pt x="139700" y="179308"/>
                  </a:cubicBezTo>
                  <a:cubicBezTo>
                    <a:pt x="134620" y="170418"/>
                    <a:pt x="132715" y="155178"/>
                    <a:pt x="119380" y="157718"/>
                  </a:cubicBezTo>
                  <a:close/>
                  <a:moveTo>
                    <a:pt x="146686" y="244078"/>
                  </a:moveTo>
                  <a:cubicBezTo>
                    <a:pt x="157480" y="238998"/>
                    <a:pt x="151130" y="216773"/>
                    <a:pt x="139700" y="214868"/>
                  </a:cubicBezTo>
                  <a:cubicBezTo>
                    <a:pt x="126365" y="219313"/>
                    <a:pt x="131445" y="247888"/>
                    <a:pt x="146686" y="244078"/>
                  </a:cubicBezTo>
                  <a:close/>
                  <a:moveTo>
                    <a:pt x="142875" y="287258"/>
                  </a:moveTo>
                  <a:cubicBezTo>
                    <a:pt x="142875" y="305673"/>
                    <a:pt x="164465" y="305673"/>
                    <a:pt x="163195" y="289798"/>
                  </a:cubicBezTo>
                  <a:cubicBezTo>
                    <a:pt x="161290" y="275828"/>
                    <a:pt x="147320" y="277098"/>
                    <a:pt x="142875" y="287258"/>
                  </a:cubicBezTo>
                  <a:close/>
                  <a:moveTo>
                    <a:pt x="172086" y="402193"/>
                  </a:moveTo>
                  <a:cubicBezTo>
                    <a:pt x="160655" y="407908"/>
                    <a:pt x="168911" y="423783"/>
                    <a:pt x="180975" y="426323"/>
                  </a:cubicBezTo>
                  <a:cubicBezTo>
                    <a:pt x="191136" y="415528"/>
                    <a:pt x="185420" y="402193"/>
                    <a:pt x="172086" y="402193"/>
                  </a:cubicBezTo>
                  <a:close/>
                  <a:moveTo>
                    <a:pt x="187961" y="447913"/>
                  </a:moveTo>
                  <a:cubicBezTo>
                    <a:pt x="184786" y="451088"/>
                    <a:pt x="182245" y="453628"/>
                    <a:pt x="180340" y="456168"/>
                  </a:cubicBezTo>
                  <a:cubicBezTo>
                    <a:pt x="187961" y="468868"/>
                    <a:pt x="201930" y="458073"/>
                    <a:pt x="187961" y="447913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5" name="Google Shape;469;p8">
              <a:extLst>
                <a:ext uri="{FF2B5EF4-FFF2-40B4-BE49-F238E27FC236}">
                  <a16:creationId xmlns:a16="http://schemas.microsoft.com/office/drawing/2014/main" id="{6D8D561E-D592-4F4A-A43C-EC6417F3F195}"/>
                </a:ext>
              </a:extLst>
            </p:cNvPr>
            <p:cNvSpPr/>
            <p:nvPr/>
          </p:nvSpPr>
          <p:spPr>
            <a:xfrm>
              <a:off x="3943429" y="927518"/>
              <a:ext cx="163399" cy="257295"/>
            </a:xfrm>
            <a:custGeom>
              <a:avLst/>
              <a:gdLst/>
              <a:ahLst/>
              <a:cxnLst/>
              <a:rect l="l" t="t" r="r" b="b"/>
              <a:pathLst>
                <a:path w="336906" h="530506" extrusionOk="0">
                  <a:moveTo>
                    <a:pt x="136525" y="96168"/>
                  </a:moveTo>
                  <a:cubicBezTo>
                    <a:pt x="113030" y="223803"/>
                    <a:pt x="24130" y="329848"/>
                    <a:pt x="0" y="458118"/>
                  </a:cubicBezTo>
                  <a:cubicBezTo>
                    <a:pt x="60960" y="713388"/>
                    <a:pt x="264795" y="217453"/>
                    <a:pt x="278765" y="141253"/>
                  </a:cubicBezTo>
                  <a:cubicBezTo>
                    <a:pt x="291465" y="75213"/>
                    <a:pt x="152400" y="18698"/>
                    <a:pt x="136525" y="96168"/>
                  </a:cubicBezTo>
                  <a:close/>
                  <a:moveTo>
                    <a:pt x="69850" y="504473"/>
                  </a:moveTo>
                  <a:cubicBezTo>
                    <a:pt x="-16510" y="531778"/>
                    <a:pt x="43815" y="378743"/>
                    <a:pt x="63500" y="342548"/>
                  </a:cubicBezTo>
                  <a:cubicBezTo>
                    <a:pt x="111760" y="336833"/>
                    <a:pt x="138430" y="339373"/>
                    <a:pt x="164465" y="352073"/>
                  </a:cubicBezTo>
                  <a:cubicBezTo>
                    <a:pt x="137795" y="404778"/>
                    <a:pt x="107315" y="458753"/>
                    <a:pt x="69850" y="504473"/>
                  </a:cubicBezTo>
                  <a:close/>
                  <a:moveTo>
                    <a:pt x="182245" y="318418"/>
                  </a:moveTo>
                  <a:cubicBezTo>
                    <a:pt x="149860" y="327308"/>
                    <a:pt x="116205" y="321593"/>
                    <a:pt x="80645" y="319053"/>
                  </a:cubicBezTo>
                  <a:cubicBezTo>
                    <a:pt x="100330" y="253013"/>
                    <a:pt x="133350" y="192053"/>
                    <a:pt x="159385" y="127918"/>
                  </a:cubicBezTo>
                  <a:cubicBezTo>
                    <a:pt x="189230" y="139348"/>
                    <a:pt x="217170" y="150143"/>
                    <a:pt x="245110" y="161573"/>
                  </a:cubicBezTo>
                  <a:cubicBezTo>
                    <a:pt x="244475" y="190148"/>
                    <a:pt x="216535" y="259998"/>
                    <a:pt x="182245" y="318418"/>
                  </a:cubicBezTo>
                  <a:close/>
                  <a:moveTo>
                    <a:pt x="248285" y="134268"/>
                  </a:moveTo>
                  <a:cubicBezTo>
                    <a:pt x="222885" y="140618"/>
                    <a:pt x="121920" y="93628"/>
                    <a:pt x="187960" y="80928"/>
                  </a:cubicBezTo>
                  <a:cubicBezTo>
                    <a:pt x="208915" y="83468"/>
                    <a:pt x="281940" y="105693"/>
                    <a:pt x="248285" y="134268"/>
                  </a:cubicBezTo>
                  <a:close/>
                  <a:moveTo>
                    <a:pt x="295275" y="283"/>
                  </a:moveTo>
                  <a:cubicBezTo>
                    <a:pt x="224155" y="-6067"/>
                    <a:pt x="259715" y="96803"/>
                    <a:pt x="311785" y="73308"/>
                  </a:cubicBezTo>
                  <a:cubicBezTo>
                    <a:pt x="353695" y="53623"/>
                    <a:pt x="339725" y="-1622"/>
                    <a:pt x="295275" y="283"/>
                  </a:cubicBezTo>
                  <a:close/>
                  <a:moveTo>
                    <a:pt x="274320" y="30763"/>
                  </a:moveTo>
                  <a:cubicBezTo>
                    <a:pt x="290830" y="26318"/>
                    <a:pt x="303530" y="14253"/>
                    <a:pt x="317500" y="26318"/>
                  </a:cubicBezTo>
                  <a:cubicBezTo>
                    <a:pt x="329565" y="56163"/>
                    <a:pt x="273685" y="75848"/>
                    <a:pt x="274320" y="30763"/>
                  </a:cubicBezTo>
                  <a:close/>
                  <a:moveTo>
                    <a:pt x="210820" y="187608"/>
                  </a:moveTo>
                  <a:cubicBezTo>
                    <a:pt x="212090" y="151413"/>
                    <a:pt x="158115" y="146333"/>
                    <a:pt x="156210" y="186338"/>
                  </a:cubicBezTo>
                  <a:cubicBezTo>
                    <a:pt x="155575" y="216183"/>
                    <a:pt x="209550" y="217453"/>
                    <a:pt x="210820" y="187608"/>
                  </a:cubicBezTo>
                  <a:close/>
                  <a:moveTo>
                    <a:pt x="187960" y="180623"/>
                  </a:moveTo>
                  <a:cubicBezTo>
                    <a:pt x="193040" y="185068"/>
                    <a:pt x="189230" y="186973"/>
                    <a:pt x="186055" y="190783"/>
                  </a:cubicBezTo>
                  <a:cubicBezTo>
                    <a:pt x="179705" y="185068"/>
                    <a:pt x="183515" y="184433"/>
                    <a:pt x="187960" y="180623"/>
                  </a:cubicBezTo>
                  <a:close/>
                  <a:moveTo>
                    <a:pt x="167005" y="229518"/>
                  </a:moveTo>
                  <a:cubicBezTo>
                    <a:pt x="139700" y="230153"/>
                    <a:pt x="128270" y="275873"/>
                    <a:pt x="164465" y="276508"/>
                  </a:cubicBezTo>
                  <a:cubicBezTo>
                    <a:pt x="196215" y="277143"/>
                    <a:pt x="193675" y="232058"/>
                    <a:pt x="167005" y="229518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6" name="Google Shape;470;p8">
              <a:extLst>
                <a:ext uri="{FF2B5EF4-FFF2-40B4-BE49-F238E27FC236}">
                  <a16:creationId xmlns:a16="http://schemas.microsoft.com/office/drawing/2014/main" id="{A2209A31-DFA2-4D5E-AC37-61A897B80BA2}"/>
                </a:ext>
              </a:extLst>
            </p:cNvPr>
            <p:cNvSpPr/>
            <p:nvPr/>
          </p:nvSpPr>
          <p:spPr>
            <a:xfrm>
              <a:off x="4038156" y="505004"/>
              <a:ext cx="340006" cy="361563"/>
            </a:xfrm>
            <a:custGeom>
              <a:avLst/>
              <a:gdLst/>
              <a:ahLst/>
              <a:cxnLst/>
              <a:rect l="l" t="t" r="r" b="b"/>
              <a:pathLst>
                <a:path w="701044" h="745490" extrusionOk="0">
                  <a:moveTo>
                    <a:pt x="690343" y="116840"/>
                  </a:moveTo>
                  <a:cubicBezTo>
                    <a:pt x="663037" y="55245"/>
                    <a:pt x="674468" y="90170"/>
                    <a:pt x="624302" y="72390"/>
                  </a:cubicBezTo>
                  <a:cubicBezTo>
                    <a:pt x="483968" y="55880"/>
                    <a:pt x="352522" y="0"/>
                    <a:pt x="209647" y="0"/>
                  </a:cubicBezTo>
                  <a:cubicBezTo>
                    <a:pt x="-38003" y="735330"/>
                    <a:pt x="-186592" y="579120"/>
                    <a:pt x="475712" y="745490"/>
                  </a:cubicBezTo>
                  <a:cubicBezTo>
                    <a:pt x="548102" y="622935"/>
                    <a:pt x="579218" y="475615"/>
                    <a:pt x="631922" y="342900"/>
                  </a:cubicBezTo>
                  <a:cubicBezTo>
                    <a:pt x="640812" y="299720"/>
                    <a:pt x="731618" y="134620"/>
                    <a:pt x="690343" y="116840"/>
                  </a:cubicBezTo>
                  <a:close/>
                  <a:moveTo>
                    <a:pt x="219172" y="41275"/>
                  </a:moveTo>
                  <a:cubicBezTo>
                    <a:pt x="230602" y="-11430"/>
                    <a:pt x="585568" y="92075"/>
                    <a:pt x="641447" y="107950"/>
                  </a:cubicBezTo>
                  <a:cubicBezTo>
                    <a:pt x="585568" y="295910"/>
                    <a:pt x="517622" y="479425"/>
                    <a:pt x="438247" y="658495"/>
                  </a:cubicBezTo>
                  <a:cubicBezTo>
                    <a:pt x="294102" y="639445"/>
                    <a:pt x="169643" y="583565"/>
                    <a:pt x="30577" y="553085"/>
                  </a:cubicBezTo>
                  <a:cubicBezTo>
                    <a:pt x="79472" y="377190"/>
                    <a:pt x="160118" y="213995"/>
                    <a:pt x="219172" y="41275"/>
                  </a:cubicBezTo>
                  <a:close/>
                  <a:moveTo>
                    <a:pt x="612872" y="333375"/>
                  </a:moveTo>
                  <a:cubicBezTo>
                    <a:pt x="569058" y="462280"/>
                    <a:pt x="518893" y="588010"/>
                    <a:pt x="469997" y="715645"/>
                  </a:cubicBezTo>
                  <a:cubicBezTo>
                    <a:pt x="320772" y="690245"/>
                    <a:pt x="174087" y="657860"/>
                    <a:pt x="30577" y="610235"/>
                  </a:cubicBezTo>
                  <a:cubicBezTo>
                    <a:pt x="24227" y="600710"/>
                    <a:pt x="22958" y="591820"/>
                    <a:pt x="30577" y="581660"/>
                  </a:cubicBezTo>
                  <a:cubicBezTo>
                    <a:pt x="151227" y="589915"/>
                    <a:pt x="265527" y="648335"/>
                    <a:pt x="384272" y="674370"/>
                  </a:cubicBezTo>
                  <a:cubicBezTo>
                    <a:pt x="461108" y="708025"/>
                    <a:pt x="464283" y="661035"/>
                    <a:pt x="487143" y="600710"/>
                  </a:cubicBezTo>
                  <a:cubicBezTo>
                    <a:pt x="563343" y="445770"/>
                    <a:pt x="599537" y="280035"/>
                    <a:pt x="664943" y="121920"/>
                  </a:cubicBezTo>
                  <a:cubicBezTo>
                    <a:pt x="691612" y="187960"/>
                    <a:pt x="622397" y="264795"/>
                    <a:pt x="612872" y="333375"/>
                  </a:cubicBezTo>
                  <a:close/>
                  <a:moveTo>
                    <a:pt x="533497" y="298450"/>
                  </a:moveTo>
                  <a:cubicBezTo>
                    <a:pt x="540483" y="255270"/>
                    <a:pt x="596362" y="196850"/>
                    <a:pt x="565883" y="157480"/>
                  </a:cubicBezTo>
                  <a:cubicBezTo>
                    <a:pt x="503018" y="130810"/>
                    <a:pt x="431262" y="120650"/>
                    <a:pt x="363952" y="105410"/>
                  </a:cubicBezTo>
                  <a:cubicBezTo>
                    <a:pt x="329662" y="93980"/>
                    <a:pt x="291562" y="78105"/>
                    <a:pt x="254733" y="90805"/>
                  </a:cubicBezTo>
                  <a:cubicBezTo>
                    <a:pt x="231872" y="146685"/>
                    <a:pt x="221712" y="208280"/>
                    <a:pt x="191233" y="264160"/>
                  </a:cubicBezTo>
                  <a:cubicBezTo>
                    <a:pt x="285847" y="318135"/>
                    <a:pt x="410308" y="321310"/>
                    <a:pt x="511908" y="368300"/>
                  </a:cubicBezTo>
                  <a:cubicBezTo>
                    <a:pt x="534768" y="354965"/>
                    <a:pt x="522702" y="320040"/>
                    <a:pt x="533497" y="298450"/>
                  </a:cubicBezTo>
                  <a:close/>
                  <a:moveTo>
                    <a:pt x="224252" y="257175"/>
                  </a:moveTo>
                  <a:cubicBezTo>
                    <a:pt x="268702" y="73025"/>
                    <a:pt x="257272" y="105410"/>
                    <a:pt x="427452" y="140335"/>
                  </a:cubicBezTo>
                  <a:cubicBezTo>
                    <a:pt x="619222" y="183515"/>
                    <a:pt x="536037" y="178435"/>
                    <a:pt x="504287" y="334010"/>
                  </a:cubicBezTo>
                  <a:cubicBezTo>
                    <a:pt x="408402" y="320040"/>
                    <a:pt x="312518" y="288290"/>
                    <a:pt x="224252" y="257175"/>
                  </a:cubicBezTo>
                  <a:close/>
                  <a:moveTo>
                    <a:pt x="297912" y="153670"/>
                  </a:moveTo>
                  <a:cubicBezTo>
                    <a:pt x="239493" y="175260"/>
                    <a:pt x="427452" y="197485"/>
                    <a:pt x="442693" y="207645"/>
                  </a:cubicBezTo>
                  <a:cubicBezTo>
                    <a:pt x="456662" y="171450"/>
                    <a:pt x="325218" y="168275"/>
                    <a:pt x="297912" y="153670"/>
                  </a:cubicBezTo>
                  <a:close/>
                  <a:moveTo>
                    <a:pt x="280768" y="226060"/>
                  </a:moveTo>
                  <a:cubicBezTo>
                    <a:pt x="305533" y="227965"/>
                    <a:pt x="325852" y="247650"/>
                    <a:pt x="348077" y="226695"/>
                  </a:cubicBezTo>
                  <a:cubicBezTo>
                    <a:pt x="327122" y="221615"/>
                    <a:pt x="259812" y="190500"/>
                    <a:pt x="280768" y="226060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7" name="Google Shape;471;p8">
              <a:extLst>
                <a:ext uri="{FF2B5EF4-FFF2-40B4-BE49-F238E27FC236}">
                  <a16:creationId xmlns:a16="http://schemas.microsoft.com/office/drawing/2014/main" id="{5129EA7F-C30F-425A-947A-D527198CD2FD}"/>
                </a:ext>
              </a:extLst>
            </p:cNvPr>
            <p:cNvSpPr/>
            <p:nvPr/>
          </p:nvSpPr>
          <p:spPr>
            <a:xfrm>
              <a:off x="2854633" y="688547"/>
              <a:ext cx="416637" cy="259709"/>
            </a:xfrm>
            <a:custGeom>
              <a:avLst/>
              <a:gdLst/>
              <a:ahLst/>
              <a:cxnLst/>
              <a:rect l="l" t="t" r="r" b="b"/>
              <a:pathLst>
                <a:path w="859045" h="535482" extrusionOk="0">
                  <a:moveTo>
                    <a:pt x="588002" y="328160"/>
                  </a:moveTo>
                  <a:cubicBezTo>
                    <a:pt x="447667" y="234815"/>
                    <a:pt x="414647" y="298950"/>
                    <a:pt x="312412" y="268470"/>
                  </a:cubicBezTo>
                  <a:cubicBezTo>
                    <a:pt x="254627" y="231640"/>
                    <a:pt x="209542" y="179570"/>
                    <a:pt x="135247" y="175760"/>
                  </a:cubicBezTo>
                  <a:cubicBezTo>
                    <a:pt x="168267" y="137660"/>
                    <a:pt x="314952" y="51935"/>
                    <a:pt x="353052" y="104640"/>
                  </a:cubicBezTo>
                  <a:cubicBezTo>
                    <a:pt x="377182" y="131310"/>
                    <a:pt x="401947" y="37965"/>
                    <a:pt x="394962" y="25265"/>
                  </a:cubicBezTo>
                  <a:cubicBezTo>
                    <a:pt x="337812" y="-50935"/>
                    <a:pt x="224782" y="67175"/>
                    <a:pt x="161282" y="91940"/>
                  </a:cubicBezTo>
                  <a:cubicBezTo>
                    <a:pt x="116832" y="124325"/>
                    <a:pt x="52697" y="142105"/>
                    <a:pt x="22852" y="189730"/>
                  </a:cubicBezTo>
                  <a:cubicBezTo>
                    <a:pt x="10787" y="253230"/>
                    <a:pt x="-31758" y="349115"/>
                    <a:pt x="43807" y="387215"/>
                  </a:cubicBezTo>
                  <a:cubicBezTo>
                    <a:pt x="95877" y="407535"/>
                    <a:pt x="179697" y="445000"/>
                    <a:pt x="226052" y="402455"/>
                  </a:cubicBezTo>
                  <a:cubicBezTo>
                    <a:pt x="252087" y="370070"/>
                    <a:pt x="276852" y="313555"/>
                    <a:pt x="325747" y="344035"/>
                  </a:cubicBezTo>
                  <a:cubicBezTo>
                    <a:pt x="344162" y="391660"/>
                    <a:pt x="297807" y="450715"/>
                    <a:pt x="356227" y="485640"/>
                  </a:cubicBezTo>
                  <a:cubicBezTo>
                    <a:pt x="408932" y="513580"/>
                    <a:pt x="501642" y="562475"/>
                    <a:pt x="552442" y="516755"/>
                  </a:cubicBezTo>
                  <a:cubicBezTo>
                    <a:pt x="594352" y="462145"/>
                    <a:pt x="588002" y="377690"/>
                    <a:pt x="659122" y="346575"/>
                  </a:cubicBezTo>
                  <a:cubicBezTo>
                    <a:pt x="711827" y="330065"/>
                    <a:pt x="769612" y="267200"/>
                    <a:pt x="825492" y="298315"/>
                  </a:cubicBezTo>
                  <a:cubicBezTo>
                    <a:pt x="836922" y="307205"/>
                    <a:pt x="850892" y="301490"/>
                    <a:pt x="857242" y="288155"/>
                  </a:cubicBezTo>
                  <a:cubicBezTo>
                    <a:pt x="881372" y="103370"/>
                    <a:pt x="656582" y="314825"/>
                    <a:pt x="588002" y="328160"/>
                  </a:cubicBezTo>
                  <a:close/>
                  <a:moveTo>
                    <a:pt x="367022" y="24630"/>
                  </a:moveTo>
                  <a:cubicBezTo>
                    <a:pt x="374007" y="56380"/>
                    <a:pt x="374007" y="56380"/>
                    <a:pt x="363847" y="76065"/>
                  </a:cubicBezTo>
                  <a:cubicBezTo>
                    <a:pt x="287647" y="35425"/>
                    <a:pt x="214622" y="112260"/>
                    <a:pt x="141597" y="130040"/>
                  </a:cubicBezTo>
                  <a:cubicBezTo>
                    <a:pt x="214622" y="91305"/>
                    <a:pt x="285742" y="15740"/>
                    <a:pt x="367022" y="24630"/>
                  </a:cubicBezTo>
                  <a:close/>
                  <a:moveTo>
                    <a:pt x="114927" y="142740"/>
                  </a:moveTo>
                  <a:cubicBezTo>
                    <a:pt x="123182" y="139565"/>
                    <a:pt x="130802" y="135755"/>
                    <a:pt x="139057" y="131945"/>
                  </a:cubicBezTo>
                  <a:cubicBezTo>
                    <a:pt x="133977" y="141470"/>
                    <a:pt x="125087" y="142740"/>
                    <a:pt x="114927" y="142740"/>
                  </a:cubicBezTo>
                  <a:cubicBezTo>
                    <a:pt x="111117" y="162425"/>
                    <a:pt x="99687" y="173220"/>
                    <a:pt x="76192" y="178300"/>
                  </a:cubicBezTo>
                  <a:cubicBezTo>
                    <a:pt x="84447" y="156710"/>
                    <a:pt x="105402" y="156075"/>
                    <a:pt x="114927" y="142740"/>
                  </a:cubicBezTo>
                  <a:close/>
                  <a:moveTo>
                    <a:pt x="506087" y="512310"/>
                  </a:moveTo>
                  <a:cubicBezTo>
                    <a:pt x="448937" y="504690"/>
                    <a:pt x="340352" y="490720"/>
                    <a:pt x="348607" y="414520"/>
                  </a:cubicBezTo>
                  <a:cubicBezTo>
                    <a:pt x="352417" y="388485"/>
                    <a:pt x="363212" y="354195"/>
                    <a:pt x="344797" y="331970"/>
                  </a:cubicBezTo>
                  <a:cubicBezTo>
                    <a:pt x="315587" y="307840"/>
                    <a:pt x="266057" y="301490"/>
                    <a:pt x="245102" y="338955"/>
                  </a:cubicBezTo>
                  <a:cubicBezTo>
                    <a:pt x="208272" y="420235"/>
                    <a:pt x="116832" y="403090"/>
                    <a:pt x="50792" y="366895"/>
                  </a:cubicBezTo>
                  <a:cubicBezTo>
                    <a:pt x="5072" y="335145"/>
                    <a:pt x="26662" y="269105"/>
                    <a:pt x="39362" y="224655"/>
                  </a:cubicBezTo>
                  <a:cubicBezTo>
                    <a:pt x="88892" y="175125"/>
                    <a:pt x="194302" y="201795"/>
                    <a:pt x="245102" y="244975"/>
                  </a:cubicBezTo>
                  <a:cubicBezTo>
                    <a:pt x="356227" y="360545"/>
                    <a:pt x="455922" y="237355"/>
                    <a:pt x="593717" y="359275"/>
                  </a:cubicBezTo>
                  <a:cubicBezTo>
                    <a:pt x="570857" y="410710"/>
                    <a:pt x="568317" y="499610"/>
                    <a:pt x="506087" y="512310"/>
                  </a:cubicBezTo>
                  <a:close/>
                  <a:moveTo>
                    <a:pt x="680077" y="302760"/>
                  </a:moveTo>
                  <a:cubicBezTo>
                    <a:pt x="680077" y="302125"/>
                    <a:pt x="680077" y="302125"/>
                    <a:pt x="679442" y="301490"/>
                  </a:cubicBezTo>
                  <a:cubicBezTo>
                    <a:pt x="679442" y="301490"/>
                    <a:pt x="680077" y="301490"/>
                    <a:pt x="680077" y="300855"/>
                  </a:cubicBezTo>
                  <a:cubicBezTo>
                    <a:pt x="680077" y="302125"/>
                    <a:pt x="680077" y="302760"/>
                    <a:pt x="680077" y="302760"/>
                  </a:cubicBezTo>
                  <a:close/>
                  <a:moveTo>
                    <a:pt x="680712" y="300855"/>
                  </a:moveTo>
                  <a:cubicBezTo>
                    <a:pt x="687697" y="296410"/>
                    <a:pt x="694682" y="291965"/>
                    <a:pt x="702302" y="289425"/>
                  </a:cubicBezTo>
                  <a:cubicBezTo>
                    <a:pt x="697857" y="303395"/>
                    <a:pt x="695952" y="304665"/>
                    <a:pt x="680712" y="300855"/>
                  </a:cubicBezTo>
                  <a:close/>
                  <a:moveTo>
                    <a:pt x="704842" y="288155"/>
                  </a:moveTo>
                  <a:cubicBezTo>
                    <a:pt x="709922" y="286885"/>
                    <a:pt x="715002" y="285615"/>
                    <a:pt x="720082" y="285615"/>
                  </a:cubicBezTo>
                  <a:cubicBezTo>
                    <a:pt x="715637" y="291965"/>
                    <a:pt x="709922" y="289425"/>
                    <a:pt x="704842" y="288155"/>
                  </a:cubicBezTo>
                  <a:close/>
                  <a:moveTo>
                    <a:pt x="836922" y="272280"/>
                  </a:moveTo>
                  <a:cubicBezTo>
                    <a:pt x="797552" y="259580"/>
                    <a:pt x="761357" y="271645"/>
                    <a:pt x="722622" y="284980"/>
                  </a:cubicBezTo>
                  <a:cubicBezTo>
                    <a:pt x="744847" y="262755"/>
                    <a:pt x="803902" y="229735"/>
                    <a:pt x="835017" y="242435"/>
                  </a:cubicBezTo>
                  <a:cubicBezTo>
                    <a:pt x="842002" y="251960"/>
                    <a:pt x="836287" y="262120"/>
                    <a:pt x="836922" y="272280"/>
                  </a:cubicBezTo>
                  <a:close/>
                  <a:moveTo>
                    <a:pt x="412107" y="311015"/>
                  </a:moveTo>
                  <a:cubicBezTo>
                    <a:pt x="310507" y="396105"/>
                    <a:pt x="406392" y="528185"/>
                    <a:pt x="519422" y="475480"/>
                  </a:cubicBezTo>
                  <a:cubicBezTo>
                    <a:pt x="629277" y="409440"/>
                    <a:pt x="504817" y="293235"/>
                    <a:pt x="412107" y="311015"/>
                  </a:cubicBezTo>
                  <a:close/>
                  <a:moveTo>
                    <a:pt x="479417" y="346575"/>
                  </a:moveTo>
                  <a:cubicBezTo>
                    <a:pt x="475607" y="357370"/>
                    <a:pt x="476877" y="367530"/>
                    <a:pt x="487672" y="376420"/>
                  </a:cubicBezTo>
                  <a:cubicBezTo>
                    <a:pt x="499737" y="386580"/>
                    <a:pt x="502912" y="401185"/>
                    <a:pt x="503547" y="416425"/>
                  </a:cubicBezTo>
                  <a:cubicBezTo>
                    <a:pt x="528312" y="451985"/>
                    <a:pt x="511802" y="373245"/>
                    <a:pt x="508627" y="362450"/>
                  </a:cubicBezTo>
                  <a:cubicBezTo>
                    <a:pt x="570857" y="377055"/>
                    <a:pt x="538472" y="462780"/>
                    <a:pt x="480687" y="465320"/>
                  </a:cubicBezTo>
                  <a:cubicBezTo>
                    <a:pt x="398772" y="478020"/>
                    <a:pt x="358767" y="380865"/>
                    <a:pt x="427347" y="333875"/>
                  </a:cubicBezTo>
                  <a:cubicBezTo>
                    <a:pt x="443857" y="336415"/>
                    <a:pt x="462907" y="330065"/>
                    <a:pt x="479417" y="346575"/>
                  </a:cubicBezTo>
                  <a:close/>
                  <a:moveTo>
                    <a:pt x="45712" y="274820"/>
                  </a:moveTo>
                  <a:cubicBezTo>
                    <a:pt x="15232" y="385945"/>
                    <a:pt x="243197" y="432935"/>
                    <a:pt x="235577" y="303395"/>
                  </a:cubicBezTo>
                  <a:cubicBezTo>
                    <a:pt x="240657" y="208780"/>
                    <a:pt x="60317" y="177665"/>
                    <a:pt x="45712" y="274820"/>
                  </a:cubicBezTo>
                  <a:close/>
                  <a:moveTo>
                    <a:pt x="97147" y="342130"/>
                  </a:moveTo>
                  <a:cubicBezTo>
                    <a:pt x="50157" y="326255"/>
                    <a:pt x="55872" y="255135"/>
                    <a:pt x="99687" y="242435"/>
                  </a:cubicBezTo>
                  <a:cubicBezTo>
                    <a:pt x="121277" y="242435"/>
                    <a:pt x="143502" y="232910"/>
                    <a:pt x="166362" y="242435"/>
                  </a:cubicBezTo>
                  <a:cubicBezTo>
                    <a:pt x="167632" y="272915"/>
                    <a:pt x="187317" y="281805"/>
                    <a:pt x="186682" y="314190"/>
                  </a:cubicBezTo>
                  <a:cubicBezTo>
                    <a:pt x="215892" y="327525"/>
                    <a:pt x="198112" y="269740"/>
                    <a:pt x="187317" y="258310"/>
                  </a:cubicBezTo>
                  <a:cubicBezTo>
                    <a:pt x="256532" y="269105"/>
                    <a:pt x="208907" y="416425"/>
                    <a:pt x="97147" y="342130"/>
                  </a:cubicBezTo>
                  <a:close/>
                  <a:moveTo>
                    <a:pt x="476242" y="414520"/>
                  </a:moveTo>
                  <a:cubicBezTo>
                    <a:pt x="494657" y="408170"/>
                    <a:pt x="478782" y="377690"/>
                    <a:pt x="459732" y="378325"/>
                  </a:cubicBezTo>
                  <a:cubicBezTo>
                    <a:pt x="465447" y="395470"/>
                    <a:pt x="461637" y="409440"/>
                    <a:pt x="476242" y="414520"/>
                  </a:cubicBezTo>
                  <a:close/>
                  <a:moveTo>
                    <a:pt x="145407" y="286250"/>
                  </a:moveTo>
                  <a:cubicBezTo>
                    <a:pt x="154297" y="305300"/>
                    <a:pt x="148582" y="333240"/>
                    <a:pt x="172077" y="340860"/>
                  </a:cubicBezTo>
                  <a:cubicBezTo>
                    <a:pt x="175887" y="321810"/>
                    <a:pt x="168267" y="265930"/>
                    <a:pt x="145407" y="286250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8" name="Google Shape;472;p8">
              <a:extLst>
                <a:ext uri="{FF2B5EF4-FFF2-40B4-BE49-F238E27FC236}">
                  <a16:creationId xmlns:a16="http://schemas.microsoft.com/office/drawing/2014/main" id="{5881CFEE-ADE8-48E5-AB7C-68CB9039AA11}"/>
                </a:ext>
              </a:extLst>
            </p:cNvPr>
            <p:cNvSpPr/>
            <p:nvPr/>
          </p:nvSpPr>
          <p:spPr>
            <a:xfrm rot="-1252057">
              <a:off x="6497159" y="534061"/>
              <a:ext cx="204722" cy="302187"/>
            </a:xfrm>
            <a:custGeom>
              <a:avLst/>
              <a:gdLst/>
              <a:ahLst/>
              <a:cxnLst/>
              <a:rect l="l" t="t" r="r" b="b"/>
              <a:pathLst>
                <a:path w="422747" h="624012" extrusionOk="0">
                  <a:moveTo>
                    <a:pt x="410845" y="259621"/>
                  </a:moveTo>
                  <a:cubicBezTo>
                    <a:pt x="398145" y="183421"/>
                    <a:pt x="422275" y="81821"/>
                    <a:pt x="377825" y="18321"/>
                  </a:cubicBezTo>
                  <a:cubicBezTo>
                    <a:pt x="294640" y="-22319"/>
                    <a:pt x="191770" y="15781"/>
                    <a:pt x="103505" y="26576"/>
                  </a:cubicBezTo>
                  <a:cubicBezTo>
                    <a:pt x="76836" y="36101"/>
                    <a:pt x="38100" y="32291"/>
                    <a:pt x="17780" y="51976"/>
                  </a:cubicBezTo>
                  <a:cubicBezTo>
                    <a:pt x="17145" y="62771"/>
                    <a:pt x="5715" y="62771"/>
                    <a:pt x="0" y="72931"/>
                  </a:cubicBezTo>
                  <a:cubicBezTo>
                    <a:pt x="19686" y="229776"/>
                    <a:pt x="7620" y="389161"/>
                    <a:pt x="13970" y="547276"/>
                  </a:cubicBezTo>
                  <a:cubicBezTo>
                    <a:pt x="-6350" y="657766"/>
                    <a:pt x="162561" y="615856"/>
                    <a:pt x="227330" y="617761"/>
                  </a:cubicBezTo>
                  <a:cubicBezTo>
                    <a:pt x="270511" y="592361"/>
                    <a:pt x="426086" y="628556"/>
                    <a:pt x="422275" y="570771"/>
                  </a:cubicBezTo>
                  <a:cubicBezTo>
                    <a:pt x="424815" y="467266"/>
                    <a:pt x="416561" y="363126"/>
                    <a:pt x="410845" y="259621"/>
                  </a:cubicBezTo>
                  <a:close/>
                  <a:moveTo>
                    <a:pt x="353061" y="579026"/>
                  </a:moveTo>
                  <a:cubicBezTo>
                    <a:pt x="288925" y="577121"/>
                    <a:pt x="60961" y="637446"/>
                    <a:pt x="38736" y="575851"/>
                  </a:cubicBezTo>
                  <a:cubicBezTo>
                    <a:pt x="143511" y="579026"/>
                    <a:pt x="248286" y="572676"/>
                    <a:pt x="353061" y="574581"/>
                  </a:cubicBezTo>
                  <a:cubicBezTo>
                    <a:pt x="353061" y="575851"/>
                    <a:pt x="353061" y="577121"/>
                    <a:pt x="353061" y="579026"/>
                  </a:cubicBezTo>
                  <a:close/>
                  <a:moveTo>
                    <a:pt x="361315" y="547911"/>
                  </a:moveTo>
                  <a:cubicBezTo>
                    <a:pt x="252095" y="555531"/>
                    <a:pt x="144145" y="561881"/>
                    <a:pt x="35561" y="551086"/>
                  </a:cubicBezTo>
                  <a:cubicBezTo>
                    <a:pt x="39370" y="392971"/>
                    <a:pt x="33020" y="236761"/>
                    <a:pt x="27305" y="79281"/>
                  </a:cubicBezTo>
                  <a:cubicBezTo>
                    <a:pt x="112395" y="27846"/>
                    <a:pt x="231775" y="25941"/>
                    <a:pt x="329565" y="25941"/>
                  </a:cubicBezTo>
                  <a:cubicBezTo>
                    <a:pt x="369570" y="197391"/>
                    <a:pt x="365761" y="373286"/>
                    <a:pt x="361315" y="547911"/>
                  </a:cubicBezTo>
                  <a:close/>
                  <a:moveTo>
                    <a:pt x="377190" y="141511"/>
                  </a:moveTo>
                  <a:cubicBezTo>
                    <a:pt x="360045" y="110396"/>
                    <a:pt x="364490" y="76106"/>
                    <a:pt x="356870" y="41816"/>
                  </a:cubicBezTo>
                  <a:cubicBezTo>
                    <a:pt x="381000" y="13241"/>
                    <a:pt x="381000" y="121826"/>
                    <a:pt x="377190" y="141511"/>
                  </a:cubicBezTo>
                  <a:close/>
                  <a:moveTo>
                    <a:pt x="397511" y="544736"/>
                  </a:moveTo>
                  <a:cubicBezTo>
                    <a:pt x="372745" y="497746"/>
                    <a:pt x="394336" y="431071"/>
                    <a:pt x="387350" y="376461"/>
                  </a:cubicBezTo>
                  <a:cubicBezTo>
                    <a:pt x="401955" y="370746"/>
                    <a:pt x="402590" y="530766"/>
                    <a:pt x="397511" y="544736"/>
                  </a:cubicBezTo>
                  <a:close/>
                  <a:moveTo>
                    <a:pt x="302895" y="182786"/>
                  </a:moveTo>
                  <a:cubicBezTo>
                    <a:pt x="313690" y="183421"/>
                    <a:pt x="331470" y="173896"/>
                    <a:pt x="320675" y="162466"/>
                  </a:cubicBezTo>
                  <a:cubicBezTo>
                    <a:pt x="297180" y="138336"/>
                    <a:pt x="309880" y="104046"/>
                    <a:pt x="300355" y="74836"/>
                  </a:cubicBezTo>
                  <a:cubicBezTo>
                    <a:pt x="307340" y="35466"/>
                    <a:pt x="90170" y="76741"/>
                    <a:pt x="59690" y="81821"/>
                  </a:cubicBezTo>
                  <a:cubicBezTo>
                    <a:pt x="48261" y="119921"/>
                    <a:pt x="77470" y="152941"/>
                    <a:pt x="62865" y="194851"/>
                  </a:cubicBezTo>
                  <a:cubicBezTo>
                    <a:pt x="148590" y="206916"/>
                    <a:pt x="211455" y="177071"/>
                    <a:pt x="302895" y="182786"/>
                  </a:cubicBezTo>
                  <a:close/>
                  <a:moveTo>
                    <a:pt x="282575" y="83091"/>
                  </a:moveTo>
                  <a:cubicBezTo>
                    <a:pt x="292100" y="105316"/>
                    <a:pt x="287655" y="127541"/>
                    <a:pt x="290830" y="149131"/>
                  </a:cubicBezTo>
                  <a:cubicBezTo>
                    <a:pt x="227965" y="172626"/>
                    <a:pt x="154940" y="172626"/>
                    <a:pt x="87630" y="174531"/>
                  </a:cubicBezTo>
                  <a:cubicBezTo>
                    <a:pt x="75565" y="151671"/>
                    <a:pt x="83820" y="128176"/>
                    <a:pt x="72390" y="104046"/>
                  </a:cubicBezTo>
                  <a:cubicBezTo>
                    <a:pt x="140970" y="86266"/>
                    <a:pt x="212725" y="81821"/>
                    <a:pt x="282575" y="83091"/>
                  </a:cubicBezTo>
                  <a:close/>
                  <a:moveTo>
                    <a:pt x="274955" y="383446"/>
                  </a:moveTo>
                  <a:cubicBezTo>
                    <a:pt x="257811" y="411386"/>
                    <a:pt x="281305" y="441866"/>
                    <a:pt x="268605" y="477426"/>
                  </a:cubicBezTo>
                  <a:cubicBezTo>
                    <a:pt x="244475" y="452026"/>
                    <a:pt x="215900" y="479331"/>
                    <a:pt x="189865" y="461551"/>
                  </a:cubicBezTo>
                  <a:cubicBezTo>
                    <a:pt x="175261" y="454566"/>
                    <a:pt x="163195" y="458376"/>
                    <a:pt x="153036" y="471076"/>
                  </a:cubicBezTo>
                  <a:cubicBezTo>
                    <a:pt x="159386" y="509176"/>
                    <a:pt x="156845" y="525686"/>
                    <a:pt x="204470" y="518066"/>
                  </a:cubicBezTo>
                  <a:cubicBezTo>
                    <a:pt x="208280" y="509811"/>
                    <a:pt x="212725" y="500921"/>
                    <a:pt x="218440" y="490761"/>
                  </a:cubicBezTo>
                  <a:cubicBezTo>
                    <a:pt x="223520" y="501556"/>
                    <a:pt x="227330" y="510446"/>
                    <a:pt x="232411" y="521241"/>
                  </a:cubicBezTo>
                  <a:cubicBezTo>
                    <a:pt x="243840" y="517431"/>
                    <a:pt x="253365" y="513621"/>
                    <a:pt x="263525" y="510446"/>
                  </a:cubicBezTo>
                  <a:cubicBezTo>
                    <a:pt x="290195" y="526321"/>
                    <a:pt x="290195" y="526321"/>
                    <a:pt x="328295" y="509811"/>
                  </a:cubicBezTo>
                  <a:cubicBezTo>
                    <a:pt x="327661" y="468536"/>
                    <a:pt x="347345" y="349791"/>
                    <a:pt x="274955" y="383446"/>
                  </a:cubicBezTo>
                  <a:close/>
                  <a:moveTo>
                    <a:pt x="193040" y="500921"/>
                  </a:moveTo>
                  <a:cubicBezTo>
                    <a:pt x="177800" y="500921"/>
                    <a:pt x="173990" y="498381"/>
                    <a:pt x="173355" y="489491"/>
                  </a:cubicBezTo>
                  <a:cubicBezTo>
                    <a:pt x="176530" y="469806"/>
                    <a:pt x="203836" y="475521"/>
                    <a:pt x="193040" y="500921"/>
                  </a:cubicBezTo>
                  <a:close/>
                  <a:moveTo>
                    <a:pt x="309245" y="497111"/>
                  </a:moveTo>
                  <a:cubicBezTo>
                    <a:pt x="302261" y="498381"/>
                    <a:pt x="296545" y="499016"/>
                    <a:pt x="290830" y="499651"/>
                  </a:cubicBezTo>
                  <a:cubicBezTo>
                    <a:pt x="267970" y="379636"/>
                    <a:pt x="323215" y="357411"/>
                    <a:pt x="309245" y="497111"/>
                  </a:cubicBezTo>
                  <a:close/>
                  <a:moveTo>
                    <a:pt x="296545" y="210091"/>
                  </a:moveTo>
                  <a:cubicBezTo>
                    <a:pt x="233680" y="208186"/>
                    <a:pt x="267970" y="301531"/>
                    <a:pt x="319405" y="275496"/>
                  </a:cubicBezTo>
                  <a:cubicBezTo>
                    <a:pt x="336550" y="264066"/>
                    <a:pt x="332740" y="203741"/>
                    <a:pt x="296545" y="210091"/>
                  </a:cubicBezTo>
                  <a:close/>
                  <a:moveTo>
                    <a:pt x="297815" y="259621"/>
                  </a:moveTo>
                  <a:cubicBezTo>
                    <a:pt x="281940" y="260891"/>
                    <a:pt x="273050" y="230411"/>
                    <a:pt x="294640" y="229141"/>
                  </a:cubicBezTo>
                  <a:cubicBezTo>
                    <a:pt x="314961" y="225331"/>
                    <a:pt x="313690" y="259621"/>
                    <a:pt x="297815" y="259621"/>
                  </a:cubicBezTo>
                  <a:close/>
                  <a:moveTo>
                    <a:pt x="244475" y="359316"/>
                  </a:moveTo>
                  <a:cubicBezTo>
                    <a:pt x="244475" y="342171"/>
                    <a:pt x="245111" y="327566"/>
                    <a:pt x="244475" y="312961"/>
                  </a:cubicBezTo>
                  <a:cubicBezTo>
                    <a:pt x="243205" y="288196"/>
                    <a:pt x="198120" y="286926"/>
                    <a:pt x="201930" y="315501"/>
                  </a:cubicBezTo>
                  <a:cubicBezTo>
                    <a:pt x="203836" y="344076"/>
                    <a:pt x="207645" y="372651"/>
                    <a:pt x="244475" y="359316"/>
                  </a:cubicBezTo>
                  <a:close/>
                  <a:moveTo>
                    <a:pt x="89536" y="305976"/>
                  </a:moveTo>
                  <a:cubicBezTo>
                    <a:pt x="83186" y="326296"/>
                    <a:pt x="95886" y="344711"/>
                    <a:pt x="95250" y="365666"/>
                  </a:cubicBezTo>
                  <a:cubicBezTo>
                    <a:pt x="164465" y="385986"/>
                    <a:pt x="142240" y="276131"/>
                    <a:pt x="89536" y="305976"/>
                  </a:cubicBezTo>
                  <a:close/>
                  <a:moveTo>
                    <a:pt x="111125" y="321851"/>
                  </a:moveTo>
                  <a:cubicBezTo>
                    <a:pt x="123190" y="324391"/>
                    <a:pt x="117475" y="335186"/>
                    <a:pt x="118745" y="345346"/>
                  </a:cubicBezTo>
                  <a:cubicBezTo>
                    <a:pt x="105411" y="341536"/>
                    <a:pt x="100965" y="326931"/>
                    <a:pt x="111125" y="321851"/>
                  </a:cubicBezTo>
                  <a:close/>
                  <a:moveTo>
                    <a:pt x="136525" y="446946"/>
                  </a:moveTo>
                  <a:cubicBezTo>
                    <a:pt x="143511" y="375191"/>
                    <a:pt x="60961" y="365031"/>
                    <a:pt x="86995" y="447581"/>
                  </a:cubicBezTo>
                  <a:cubicBezTo>
                    <a:pt x="114300" y="460916"/>
                    <a:pt x="114300" y="460916"/>
                    <a:pt x="136525" y="446946"/>
                  </a:cubicBezTo>
                  <a:close/>
                  <a:moveTo>
                    <a:pt x="100330" y="420911"/>
                  </a:moveTo>
                  <a:cubicBezTo>
                    <a:pt x="104775" y="394876"/>
                    <a:pt x="135255" y="420276"/>
                    <a:pt x="120650" y="436151"/>
                  </a:cubicBezTo>
                  <a:cubicBezTo>
                    <a:pt x="109220" y="446946"/>
                    <a:pt x="99061" y="432976"/>
                    <a:pt x="100330" y="420911"/>
                  </a:cubicBezTo>
                  <a:close/>
                  <a:moveTo>
                    <a:pt x="195580" y="443136"/>
                  </a:moveTo>
                  <a:cubicBezTo>
                    <a:pt x="203200" y="439961"/>
                    <a:pt x="205105" y="432341"/>
                    <a:pt x="201295" y="418371"/>
                  </a:cubicBezTo>
                  <a:cubicBezTo>
                    <a:pt x="196850" y="387891"/>
                    <a:pt x="176530" y="387891"/>
                    <a:pt x="149861" y="392336"/>
                  </a:cubicBezTo>
                  <a:cubicBezTo>
                    <a:pt x="140336" y="422181"/>
                    <a:pt x="160655" y="461551"/>
                    <a:pt x="195580" y="443136"/>
                  </a:cubicBezTo>
                  <a:close/>
                  <a:moveTo>
                    <a:pt x="167640" y="418371"/>
                  </a:moveTo>
                  <a:cubicBezTo>
                    <a:pt x="172086" y="406306"/>
                    <a:pt x="187961" y="408846"/>
                    <a:pt x="187961" y="424086"/>
                  </a:cubicBezTo>
                  <a:cubicBezTo>
                    <a:pt x="182245" y="432341"/>
                    <a:pt x="165736" y="429801"/>
                    <a:pt x="167640" y="418371"/>
                  </a:cubicBezTo>
                  <a:close/>
                  <a:moveTo>
                    <a:pt x="153670" y="298356"/>
                  </a:moveTo>
                  <a:cubicBezTo>
                    <a:pt x="156211" y="323756"/>
                    <a:pt x="149861" y="351696"/>
                    <a:pt x="179705" y="368206"/>
                  </a:cubicBezTo>
                  <a:cubicBezTo>
                    <a:pt x="205105" y="341536"/>
                    <a:pt x="201930" y="284386"/>
                    <a:pt x="153670" y="298356"/>
                  </a:cubicBezTo>
                  <a:close/>
                  <a:moveTo>
                    <a:pt x="281940" y="293276"/>
                  </a:moveTo>
                  <a:cubicBezTo>
                    <a:pt x="253365" y="305341"/>
                    <a:pt x="274955" y="359951"/>
                    <a:pt x="304165" y="356141"/>
                  </a:cubicBezTo>
                  <a:cubicBezTo>
                    <a:pt x="340995" y="335186"/>
                    <a:pt x="321311" y="295181"/>
                    <a:pt x="281940" y="293276"/>
                  </a:cubicBezTo>
                  <a:close/>
                  <a:moveTo>
                    <a:pt x="295911" y="331376"/>
                  </a:moveTo>
                  <a:cubicBezTo>
                    <a:pt x="282575" y="330741"/>
                    <a:pt x="287020" y="317406"/>
                    <a:pt x="297180" y="311691"/>
                  </a:cubicBezTo>
                  <a:cubicBezTo>
                    <a:pt x="304800" y="321216"/>
                    <a:pt x="306070" y="326931"/>
                    <a:pt x="295911" y="331376"/>
                  </a:cubicBezTo>
                  <a:close/>
                  <a:moveTo>
                    <a:pt x="123825" y="282481"/>
                  </a:moveTo>
                  <a:cubicBezTo>
                    <a:pt x="137795" y="226601"/>
                    <a:pt x="78740" y="200566"/>
                    <a:pt x="79375" y="252001"/>
                  </a:cubicBezTo>
                  <a:cubicBezTo>
                    <a:pt x="79375" y="279306"/>
                    <a:pt x="96520" y="290101"/>
                    <a:pt x="123825" y="282481"/>
                  </a:cubicBezTo>
                  <a:close/>
                  <a:moveTo>
                    <a:pt x="98425" y="248826"/>
                  </a:moveTo>
                  <a:cubicBezTo>
                    <a:pt x="99695" y="250096"/>
                    <a:pt x="100330" y="251366"/>
                    <a:pt x="101600" y="252636"/>
                  </a:cubicBezTo>
                  <a:cubicBezTo>
                    <a:pt x="100330" y="253906"/>
                    <a:pt x="99061" y="254541"/>
                    <a:pt x="97155" y="255811"/>
                  </a:cubicBezTo>
                  <a:cubicBezTo>
                    <a:pt x="94615" y="252636"/>
                    <a:pt x="97155" y="250731"/>
                    <a:pt x="98425" y="248826"/>
                  </a:cubicBezTo>
                  <a:close/>
                  <a:moveTo>
                    <a:pt x="92075" y="494571"/>
                  </a:moveTo>
                  <a:cubicBezTo>
                    <a:pt x="85090" y="528861"/>
                    <a:pt x="130811" y="542831"/>
                    <a:pt x="140336" y="509176"/>
                  </a:cubicBezTo>
                  <a:cubicBezTo>
                    <a:pt x="157480" y="470441"/>
                    <a:pt x="92075" y="442501"/>
                    <a:pt x="92075" y="494571"/>
                  </a:cubicBezTo>
                  <a:close/>
                  <a:moveTo>
                    <a:pt x="120650" y="509176"/>
                  </a:moveTo>
                  <a:cubicBezTo>
                    <a:pt x="103505" y="511081"/>
                    <a:pt x="111125" y="487586"/>
                    <a:pt x="123190" y="483141"/>
                  </a:cubicBezTo>
                  <a:cubicBezTo>
                    <a:pt x="133986" y="490126"/>
                    <a:pt x="130811" y="503461"/>
                    <a:pt x="120650" y="509176"/>
                  </a:cubicBezTo>
                  <a:close/>
                  <a:moveTo>
                    <a:pt x="202565" y="236126"/>
                  </a:moveTo>
                  <a:cubicBezTo>
                    <a:pt x="179070" y="285656"/>
                    <a:pt x="231140" y="297721"/>
                    <a:pt x="239395" y="257716"/>
                  </a:cubicBezTo>
                  <a:cubicBezTo>
                    <a:pt x="245111" y="238666"/>
                    <a:pt x="234315" y="207551"/>
                    <a:pt x="211455" y="216441"/>
                  </a:cubicBezTo>
                  <a:cubicBezTo>
                    <a:pt x="207011" y="231046"/>
                    <a:pt x="232411" y="231046"/>
                    <a:pt x="218440" y="250731"/>
                  </a:cubicBezTo>
                  <a:cubicBezTo>
                    <a:pt x="213995" y="245651"/>
                    <a:pt x="210186" y="242476"/>
                    <a:pt x="202565" y="236126"/>
                  </a:cubicBezTo>
                  <a:close/>
                  <a:moveTo>
                    <a:pt x="168911" y="271686"/>
                  </a:moveTo>
                  <a:cubicBezTo>
                    <a:pt x="217805" y="236126"/>
                    <a:pt x="125730" y="175801"/>
                    <a:pt x="143511" y="248826"/>
                  </a:cubicBezTo>
                  <a:cubicBezTo>
                    <a:pt x="134620" y="267241"/>
                    <a:pt x="151765" y="288831"/>
                    <a:pt x="168911" y="271686"/>
                  </a:cubicBezTo>
                  <a:close/>
                  <a:moveTo>
                    <a:pt x="161925" y="243111"/>
                  </a:moveTo>
                  <a:cubicBezTo>
                    <a:pt x="161290" y="244381"/>
                    <a:pt x="161290" y="245016"/>
                    <a:pt x="160655" y="246921"/>
                  </a:cubicBezTo>
                  <a:cubicBezTo>
                    <a:pt x="159386" y="243746"/>
                    <a:pt x="158750" y="243111"/>
                    <a:pt x="161925" y="243111"/>
                  </a:cubicBezTo>
                  <a:close/>
                  <a:moveTo>
                    <a:pt x="238125" y="450121"/>
                  </a:moveTo>
                  <a:cubicBezTo>
                    <a:pt x="280036" y="441866"/>
                    <a:pt x="257811" y="388526"/>
                    <a:pt x="221615" y="387256"/>
                  </a:cubicBezTo>
                  <a:cubicBezTo>
                    <a:pt x="212725" y="409481"/>
                    <a:pt x="210820" y="448216"/>
                    <a:pt x="238125" y="450121"/>
                  </a:cubicBezTo>
                  <a:close/>
                  <a:moveTo>
                    <a:pt x="241936" y="415831"/>
                  </a:moveTo>
                  <a:cubicBezTo>
                    <a:pt x="243840" y="417736"/>
                    <a:pt x="245745" y="419641"/>
                    <a:pt x="248920" y="422816"/>
                  </a:cubicBezTo>
                  <a:cubicBezTo>
                    <a:pt x="245111" y="425991"/>
                    <a:pt x="241936" y="427896"/>
                    <a:pt x="239395" y="429801"/>
                  </a:cubicBezTo>
                  <a:cubicBezTo>
                    <a:pt x="235586" y="424086"/>
                    <a:pt x="235586" y="420276"/>
                    <a:pt x="241936" y="415831"/>
                  </a:cubicBezTo>
                  <a:close/>
                  <a:moveTo>
                    <a:pt x="272415" y="107856"/>
                  </a:moveTo>
                  <a:cubicBezTo>
                    <a:pt x="263525" y="83091"/>
                    <a:pt x="234315" y="98966"/>
                    <a:pt x="234950" y="120556"/>
                  </a:cubicBezTo>
                  <a:cubicBezTo>
                    <a:pt x="233045" y="161196"/>
                    <a:pt x="292736" y="142781"/>
                    <a:pt x="272415" y="107856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9" name="Google Shape;473;p8">
              <a:extLst>
                <a:ext uri="{FF2B5EF4-FFF2-40B4-BE49-F238E27FC236}">
                  <a16:creationId xmlns:a16="http://schemas.microsoft.com/office/drawing/2014/main" id="{69E898E1-6FA4-4718-AFF7-3DC996848B50}"/>
                </a:ext>
              </a:extLst>
            </p:cNvPr>
            <p:cNvSpPr/>
            <p:nvPr/>
          </p:nvSpPr>
          <p:spPr>
            <a:xfrm>
              <a:off x="2537776" y="539860"/>
              <a:ext cx="230803" cy="290180"/>
            </a:xfrm>
            <a:custGeom>
              <a:avLst/>
              <a:gdLst/>
              <a:ahLst/>
              <a:cxnLst/>
              <a:rect l="l" t="t" r="r" b="b"/>
              <a:pathLst>
                <a:path w="556153" h="699230" extrusionOk="0">
                  <a:moveTo>
                    <a:pt x="410424" y="391256"/>
                  </a:moveTo>
                  <a:cubicBezTo>
                    <a:pt x="574889" y="156941"/>
                    <a:pt x="291679" y="-137064"/>
                    <a:pt x="71334" y="70581"/>
                  </a:cubicBezTo>
                  <a:cubicBezTo>
                    <a:pt x="-104561" y="236316"/>
                    <a:pt x="73239" y="511271"/>
                    <a:pt x="296759" y="455391"/>
                  </a:cubicBezTo>
                  <a:cubicBezTo>
                    <a:pt x="352639" y="534131"/>
                    <a:pt x="400899" y="617316"/>
                    <a:pt x="452969" y="699231"/>
                  </a:cubicBezTo>
                  <a:cubicBezTo>
                    <a:pt x="687919" y="695421"/>
                    <a:pt x="454239" y="483331"/>
                    <a:pt x="410424" y="391256"/>
                  </a:cubicBezTo>
                  <a:close/>
                  <a:moveTo>
                    <a:pt x="33234" y="166466"/>
                  </a:moveTo>
                  <a:cubicBezTo>
                    <a:pt x="120864" y="-48164"/>
                    <a:pt x="449794" y="-11334"/>
                    <a:pt x="437094" y="238856"/>
                  </a:cubicBezTo>
                  <a:cubicBezTo>
                    <a:pt x="427569" y="553181"/>
                    <a:pt x="-57571" y="469996"/>
                    <a:pt x="33234" y="166466"/>
                  </a:cubicBezTo>
                  <a:close/>
                  <a:moveTo>
                    <a:pt x="440904" y="631286"/>
                  </a:moveTo>
                  <a:cubicBezTo>
                    <a:pt x="404074" y="569056"/>
                    <a:pt x="351369" y="511271"/>
                    <a:pt x="325969" y="443961"/>
                  </a:cubicBezTo>
                  <a:cubicBezTo>
                    <a:pt x="345654" y="433166"/>
                    <a:pt x="365974" y="422371"/>
                    <a:pt x="389469" y="410306"/>
                  </a:cubicBezTo>
                  <a:cubicBezTo>
                    <a:pt x="429474" y="468091"/>
                    <a:pt x="590129" y="620491"/>
                    <a:pt x="440904" y="631286"/>
                  </a:cubicBezTo>
                  <a:close/>
                  <a:moveTo>
                    <a:pt x="459954" y="661131"/>
                  </a:moveTo>
                  <a:cubicBezTo>
                    <a:pt x="480909" y="647796"/>
                    <a:pt x="502499" y="634461"/>
                    <a:pt x="523454" y="620491"/>
                  </a:cubicBezTo>
                  <a:cubicBezTo>
                    <a:pt x="559649" y="647161"/>
                    <a:pt x="464399" y="711931"/>
                    <a:pt x="459954" y="661131"/>
                  </a:cubicBezTo>
                  <a:close/>
                  <a:moveTo>
                    <a:pt x="233259" y="64231"/>
                  </a:moveTo>
                  <a:cubicBezTo>
                    <a:pt x="-27726" y="91536"/>
                    <a:pt x="43394" y="449676"/>
                    <a:pt x="284694" y="393161"/>
                  </a:cubicBezTo>
                  <a:cubicBezTo>
                    <a:pt x="475194" y="323311"/>
                    <a:pt x="433284" y="80106"/>
                    <a:pt x="233259" y="64231"/>
                  </a:cubicBezTo>
                  <a:close/>
                  <a:moveTo>
                    <a:pt x="242784" y="379826"/>
                  </a:moveTo>
                  <a:cubicBezTo>
                    <a:pt x="26249" y="375381"/>
                    <a:pt x="54824" y="54071"/>
                    <a:pt x="264374" y="97251"/>
                  </a:cubicBezTo>
                  <a:cubicBezTo>
                    <a:pt x="449159" y="111221"/>
                    <a:pt x="402804" y="363316"/>
                    <a:pt x="242784" y="379826"/>
                  </a:cubicBezTo>
                  <a:close/>
                  <a:moveTo>
                    <a:pt x="225639" y="156306"/>
                  </a:moveTo>
                  <a:cubicBezTo>
                    <a:pt x="252944" y="146146"/>
                    <a:pt x="271359" y="166466"/>
                    <a:pt x="297394" y="166466"/>
                  </a:cubicBezTo>
                  <a:cubicBezTo>
                    <a:pt x="308824" y="120111"/>
                    <a:pt x="169759" y="120111"/>
                    <a:pt x="225639" y="156306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0" name="Google Shape;474;p8">
              <a:extLst>
                <a:ext uri="{FF2B5EF4-FFF2-40B4-BE49-F238E27FC236}">
                  <a16:creationId xmlns:a16="http://schemas.microsoft.com/office/drawing/2014/main" id="{F154A736-934B-41BD-A76B-8E0C52C1AE46}"/>
                </a:ext>
              </a:extLst>
            </p:cNvPr>
            <p:cNvSpPr/>
            <p:nvPr/>
          </p:nvSpPr>
          <p:spPr>
            <a:xfrm>
              <a:off x="5713194" y="743996"/>
              <a:ext cx="256984" cy="244039"/>
            </a:xfrm>
            <a:custGeom>
              <a:avLst/>
              <a:gdLst/>
              <a:ahLst/>
              <a:cxnLst/>
              <a:rect l="l" t="t" r="r" b="b"/>
              <a:pathLst>
                <a:path w="529863" h="503173" extrusionOk="0">
                  <a:moveTo>
                    <a:pt x="284791" y="7"/>
                  </a:moveTo>
                  <a:cubicBezTo>
                    <a:pt x="128581" y="-1263"/>
                    <a:pt x="-16834" y="165107"/>
                    <a:pt x="1581" y="320047"/>
                  </a:cubicBezTo>
                  <a:cubicBezTo>
                    <a:pt x="39046" y="421647"/>
                    <a:pt x="142551" y="523247"/>
                    <a:pt x="258756" y="499752"/>
                  </a:cubicBezTo>
                  <a:cubicBezTo>
                    <a:pt x="592766" y="480702"/>
                    <a:pt x="637216" y="23502"/>
                    <a:pt x="284791" y="7"/>
                  </a:cubicBezTo>
                  <a:close/>
                  <a:moveTo>
                    <a:pt x="19996" y="279407"/>
                  </a:moveTo>
                  <a:cubicBezTo>
                    <a:pt x="54921" y="-23488"/>
                    <a:pt x="481641" y="-98418"/>
                    <a:pt x="510216" y="240037"/>
                  </a:cubicBezTo>
                  <a:cubicBezTo>
                    <a:pt x="498786" y="520707"/>
                    <a:pt x="47936" y="583572"/>
                    <a:pt x="19996" y="279407"/>
                  </a:cubicBezTo>
                  <a:close/>
                  <a:moveTo>
                    <a:pt x="420681" y="98432"/>
                  </a:moveTo>
                  <a:cubicBezTo>
                    <a:pt x="381311" y="71127"/>
                    <a:pt x="348926" y="18422"/>
                    <a:pt x="295586" y="25407"/>
                  </a:cubicBezTo>
                  <a:cubicBezTo>
                    <a:pt x="53651" y="36837"/>
                    <a:pt x="-66364" y="403867"/>
                    <a:pt x="216211" y="458477"/>
                  </a:cubicBezTo>
                  <a:cubicBezTo>
                    <a:pt x="395916" y="493402"/>
                    <a:pt x="611181" y="219082"/>
                    <a:pt x="420681" y="98432"/>
                  </a:cubicBezTo>
                  <a:close/>
                  <a:moveTo>
                    <a:pt x="448621" y="292742"/>
                  </a:moveTo>
                  <a:cubicBezTo>
                    <a:pt x="448621" y="321952"/>
                    <a:pt x="428301" y="340367"/>
                    <a:pt x="413061" y="361957"/>
                  </a:cubicBezTo>
                  <a:cubicBezTo>
                    <a:pt x="404171" y="358782"/>
                    <a:pt x="396551" y="356242"/>
                    <a:pt x="385756" y="353067"/>
                  </a:cubicBezTo>
                  <a:cubicBezTo>
                    <a:pt x="387026" y="363227"/>
                    <a:pt x="387661" y="371482"/>
                    <a:pt x="388931" y="381007"/>
                  </a:cubicBezTo>
                  <a:cubicBezTo>
                    <a:pt x="376866" y="389262"/>
                    <a:pt x="363531" y="398152"/>
                    <a:pt x="354006" y="405137"/>
                  </a:cubicBezTo>
                  <a:cubicBezTo>
                    <a:pt x="338131" y="406407"/>
                    <a:pt x="337496" y="387357"/>
                    <a:pt x="321621" y="391167"/>
                  </a:cubicBezTo>
                  <a:cubicBezTo>
                    <a:pt x="324796" y="427362"/>
                    <a:pt x="291776" y="441967"/>
                    <a:pt x="249231" y="436887"/>
                  </a:cubicBezTo>
                  <a:cubicBezTo>
                    <a:pt x="251771" y="392437"/>
                    <a:pt x="220656" y="385452"/>
                    <a:pt x="220656" y="434982"/>
                  </a:cubicBezTo>
                  <a:cubicBezTo>
                    <a:pt x="184461" y="439427"/>
                    <a:pt x="133661" y="422917"/>
                    <a:pt x="131121" y="384182"/>
                  </a:cubicBezTo>
                  <a:cubicBezTo>
                    <a:pt x="123501" y="374022"/>
                    <a:pt x="104451" y="381007"/>
                    <a:pt x="100641" y="363862"/>
                  </a:cubicBezTo>
                  <a:cubicBezTo>
                    <a:pt x="126676" y="342907"/>
                    <a:pt x="106356" y="340367"/>
                    <a:pt x="84131" y="337192"/>
                  </a:cubicBezTo>
                  <a:cubicBezTo>
                    <a:pt x="71431" y="309887"/>
                    <a:pt x="63176" y="283217"/>
                    <a:pt x="75241" y="253372"/>
                  </a:cubicBezTo>
                  <a:cubicBezTo>
                    <a:pt x="119691" y="255277"/>
                    <a:pt x="140011" y="238132"/>
                    <a:pt x="83496" y="227972"/>
                  </a:cubicBezTo>
                  <a:cubicBezTo>
                    <a:pt x="84131" y="196857"/>
                    <a:pt x="95561" y="172092"/>
                    <a:pt x="115246" y="151137"/>
                  </a:cubicBezTo>
                  <a:cubicBezTo>
                    <a:pt x="136836" y="150502"/>
                    <a:pt x="150171" y="158122"/>
                    <a:pt x="136201" y="127642"/>
                  </a:cubicBezTo>
                  <a:cubicBezTo>
                    <a:pt x="174301" y="55252"/>
                    <a:pt x="207321" y="129547"/>
                    <a:pt x="205416" y="75572"/>
                  </a:cubicBezTo>
                  <a:cubicBezTo>
                    <a:pt x="230181" y="48267"/>
                    <a:pt x="263201" y="50172"/>
                    <a:pt x="297491" y="50172"/>
                  </a:cubicBezTo>
                  <a:cubicBezTo>
                    <a:pt x="295586" y="66682"/>
                    <a:pt x="308921" y="107957"/>
                    <a:pt x="323526" y="78747"/>
                  </a:cubicBezTo>
                  <a:cubicBezTo>
                    <a:pt x="319716" y="17152"/>
                    <a:pt x="382581" y="87637"/>
                    <a:pt x="399726" y="104147"/>
                  </a:cubicBezTo>
                  <a:cubicBezTo>
                    <a:pt x="394646" y="118117"/>
                    <a:pt x="385121" y="125102"/>
                    <a:pt x="399726" y="135262"/>
                  </a:cubicBezTo>
                  <a:cubicBezTo>
                    <a:pt x="409251" y="131452"/>
                    <a:pt x="417506" y="128277"/>
                    <a:pt x="427031" y="124467"/>
                  </a:cubicBezTo>
                  <a:cubicBezTo>
                    <a:pt x="440366" y="138437"/>
                    <a:pt x="451161" y="153042"/>
                    <a:pt x="461956" y="168917"/>
                  </a:cubicBezTo>
                  <a:cubicBezTo>
                    <a:pt x="451796" y="175267"/>
                    <a:pt x="444176" y="179712"/>
                    <a:pt x="436556" y="184157"/>
                  </a:cubicBezTo>
                  <a:cubicBezTo>
                    <a:pt x="444176" y="199397"/>
                    <a:pt x="459416" y="190507"/>
                    <a:pt x="470846" y="199397"/>
                  </a:cubicBezTo>
                  <a:cubicBezTo>
                    <a:pt x="475926" y="240037"/>
                    <a:pt x="467036" y="281947"/>
                    <a:pt x="416871" y="266707"/>
                  </a:cubicBezTo>
                  <a:cubicBezTo>
                    <a:pt x="388931" y="285757"/>
                    <a:pt x="434651" y="288297"/>
                    <a:pt x="448621" y="292742"/>
                  </a:cubicBezTo>
                  <a:close/>
                  <a:moveTo>
                    <a:pt x="304476" y="222892"/>
                  </a:moveTo>
                  <a:cubicBezTo>
                    <a:pt x="320351" y="55887"/>
                    <a:pt x="287966" y="104782"/>
                    <a:pt x="251771" y="225432"/>
                  </a:cubicBezTo>
                  <a:cubicBezTo>
                    <a:pt x="240341" y="251467"/>
                    <a:pt x="258121" y="281312"/>
                    <a:pt x="287966" y="270517"/>
                  </a:cubicBezTo>
                  <a:cubicBezTo>
                    <a:pt x="318446" y="260357"/>
                    <a:pt x="343846" y="239402"/>
                    <a:pt x="374961" y="232417"/>
                  </a:cubicBezTo>
                  <a:cubicBezTo>
                    <a:pt x="383216" y="231147"/>
                    <a:pt x="386391" y="223527"/>
                    <a:pt x="384486" y="215272"/>
                  </a:cubicBezTo>
                  <a:cubicBezTo>
                    <a:pt x="370516" y="186062"/>
                    <a:pt x="329241" y="220987"/>
                    <a:pt x="304476" y="222892"/>
                  </a:cubicBezTo>
                  <a:close/>
                  <a:moveTo>
                    <a:pt x="273996" y="229242"/>
                  </a:moveTo>
                  <a:cubicBezTo>
                    <a:pt x="273996" y="219717"/>
                    <a:pt x="273996" y="209557"/>
                    <a:pt x="282886" y="201937"/>
                  </a:cubicBezTo>
                  <a:cubicBezTo>
                    <a:pt x="282251" y="220352"/>
                    <a:pt x="282251" y="220987"/>
                    <a:pt x="273996" y="229242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1" name="Google Shape;475;p8">
              <a:extLst>
                <a:ext uri="{FF2B5EF4-FFF2-40B4-BE49-F238E27FC236}">
                  <a16:creationId xmlns:a16="http://schemas.microsoft.com/office/drawing/2014/main" id="{C3AC04FE-8671-498F-828D-203CBC0BB635}"/>
                </a:ext>
              </a:extLst>
            </p:cNvPr>
            <p:cNvSpPr/>
            <p:nvPr/>
          </p:nvSpPr>
          <p:spPr>
            <a:xfrm>
              <a:off x="2507283" y="945803"/>
              <a:ext cx="99390" cy="211075"/>
            </a:xfrm>
            <a:custGeom>
              <a:avLst/>
              <a:gdLst/>
              <a:ahLst/>
              <a:cxnLst/>
              <a:rect l="l" t="t" r="r" b="b"/>
              <a:pathLst>
                <a:path w="342723" h="727844" extrusionOk="0">
                  <a:moveTo>
                    <a:pt x="45039" y="381062"/>
                  </a:moveTo>
                  <a:cubicBezTo>
                    <a:pt x="-1317" y="378522"/>
                    <a:pt x="-11476" y="360107"/>
                    <a:pt x="12653" y="325182"/>
                  </a:cubicBezTo>
                  <a:cubicBezTo>
                    <a:pt x="39958" y="272477"/>
                    <a:pt x="46308" y="211517"/>
                    <a:pt x="66628" y="156272"/>
                  </a:cubicBezTo>
                  <a:cubicBezTo>
                    <a:pt x="88853" y="99757"/>
                    <a:pt x="95203" y="15302"/>
                    <a:pt x="167594" y="3237"/>
                  </a:cubicBezTo>
                  <a:cubicBezTo>
                    <a:pt x="221569" y="-5653"/>
                    <a:pt x="288878" y="2602"/>
                    <a:pt x="328249" y="42607"/>
                  </a:cubicBezTo>
                  <a:cubicBezTo>
                    <a:pt x="373333" y="154367"/>
                    <a:pt x="300944" y="280097"/>
                    <a:pt x="276178" y="390587"/>
                  </a:cubicBezTo>
                  <a:cubicBezTo>
                    <a:pt x="243158" y="499807"/>
                    <a:pt x="232999" y="643317"/>
                    <a:pt x="145369" y="722058"/>
                  </a:cubicBezTo>
                  <a:cubicBezTo>
                    <a:pt x="-64181" y="765872"/>
                    <a:pt x="59008" y="549972"/>
                    <a:pt x="74883" y="441387"/>
                  </a:cubicBezTo>
                  <a:cubicBezTo>
                    <a:pt x="96474" y="381062"/>
                    <a:pt x="117428" y="174052"/>
                    <a:pt x="175849" y="160082"/>
                  </a:cubicBezTo>
                  <a:cubicBezTo>
                    <a:pt x="205058" y="153097"/>
                    <a:pt x="234269" y="157542"/>
                    <a:pt x="230458" y="194372"/>
                  </a:cubicBezTo>
                  <a:cubicBezTo>
                    <a:pt x="240619" y="221677"/>
                    <a:pt x="129494" y="694752"/>
                    <a:pt x="133303" y="503617"/>
                  </a:cubicBezTo>
                  <a:cubicBezTo>
                    <a:pt x="150449" y="416622"/>
                    <a:pt x="184103" y="330262"/>
                    <a:pt x="181564" y="240727"/>
                  </a:cubicBezTo>
                  <a:cubicBezTo>
                    <a:pt x="130764" y="306132"/>
                    <a:pt x="137749" y="399477"/>
                    <a:pt x="109174" y="476312"/>
                  </a:cubicBezTo>
                  <a:cubicBezTo>
                    <a:pt x="105999" y="530922"/>
                    <a:pt x="19639" y="685862"/>
                    <a:pt x="116158" y="683957"/>
                  </a:cubicBezTo>
                  <a:cubicBezTo>
                    <a:pt x="208869" y="661732"/>
                    <a:pt x="231094" y="334707"/>
                    <a:pt x="270464" y="240092"/>
                  </a:cubicBezTo>
                  <a:cubicBezTo>
                    <a:pt x="276178" y="187387"/>
                    <a:pt x="298403" y="109917"/>
                    <a:pt x="252683" y="71182"/>
                  </a:cubicBezTo>
                  <a:cubicBezTo>
                    <a:pt x="213314" y="45147"/>
                    <a:pt x="172674" y="52767"/>
                    <a:pt x="144099" y="91502"/>
                  </a:cubicBezTo>
                  <a:cubicBezTo>
                    <a:pt x="95203" y="181037"/>
                    <a:pt x="85678" y="287717"/>
                    <a:pt x="45039" y="381062"/>
                  </a:cubicBezTo>
                  <a:close/>
                  <a:moveTo>
                    <a:pt x="300944" y="198182"/>
                  </a:moveTo>
                  <a:cubicBezTo>
                    <a:pt x="321899" y="177227"/>
                    <a:pt x="309833" y="138492"/>
                    <a:pt x="314914" y="110552"/>
                  </a:cubicBezTo>
                  <a:cubicBezTo>
                    <a:pt x="319358" y="81342"/>
                    <a:pt x="322533" y="48322"/>
                    <a:pt x="288878" y="37527"/>
                  </a:cubicBezTo>
                  <a:cubicBezTo>
                    <a:pt x="246969" y="18477"/>
                    <a:pt x="137749" y="1332"/>
                    <a:pt x="133303" y="62292"/>
                  </a:cubicBezTo>
                  <a:cubicBezTo>
                    <a:pt x="243794" y="-24703"/>
                    <a:pt x="324439" y="87692"/>
                    <a:pt x="300944" y="200722"/>
                  </a:cubicBezTo>
                  <a:cubicBezTo>
                    <a:pt x="300944" y="200087"/>
                    <a:pt x="300944" y="199452"/>
                    <a:pt x="300944" y="198182"/>
                  </a:cubicBezTo>
                  <a:close/>
                  <a:moveTo>
                    <a:pt x="124414" y="705547"/>
                  </a:moveTo>
                  <a:cubicBezTo>
                    <a:pt x="92028" y="697927"/>
                    <a:pt x="73614" y="690942"/>
                    <a:pt x="47578" y="676972"/>
                  </a:cubicBezTo>
                  <a:cubicBezTo>
                    <a:pt x="39958" y="705547"/>
                    <a:pt x="97744" y="711897"/>
                    <a:pt x="124414" y="705547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2" name="Google Shape;476;p8">
              <a:extLst>
                <a:ext uri="{FF2B5EF4-FFF2-40B4-BE49-F238E27FC236}">
                  <a16:creationId xmlns:a16="http://schemas.microsoft.com/office/drawing/2014/main" id="{63F18C92-17B7-43A5-A68C-C450B779DADC}"/>
                </a:ext>
              </a:extLst>
            </p:cNvPr>
            <p:cNvSpPr/>
            <p:nvPr/>
          </p:nvSpPr>
          <p:spPr>
            <a:xfrm>
              <a:off x="8045390" y="829868"/>
              <a:ext cx="135793" cy="114511"/>
            </a:xfrm>
            <a:custGeom>
              <a:avLst/>
              <a:gdLst/>
              <a:ahLst/>
              <a:cxnLst/>
              <a:rect l="l" t="t" r="r" b="b"/>
              <a:pathLst>
                <a:path w="279985" h="236105" extrusionOk="0">
                  <a:moveTo>
                    <a:pt x="224300" y="47511"/>
                  </a:moveTo>
                  <a:cubicBezTo>
                    <a:pt x="226204" y="79261"/>
                    <a:pt x="221125" y="105931"/>
                    <a:pt x="208425" y="131331"/>
                  </a:cubicBezTo>
                  <a:cubicBezTo>
                    <a:pt x="221759" y="154826"/>
                    <a:pt x="285895" y="220866"/>
                    <a:pt x="279545" y="236106"/>
                  </a:cubicBezTo>
                  <a:cubicBezTo>
                    <a:pt x="240175" y="235471"/>
                    <a:pt x="211600" y="195466"/>
                    <a:pt x="177309" y="177686"/>
                  </a:cubicBezTo>
                  <a:cubicBezTo>
                    <a:pt x="143654" y="201816"/>
                    <a:pt x="92220" y="247536"/>
                    <a:pt x="79520" y="180226"/>
                  </a:cubicBezTo>
                  <a:cubicBezTo>
                    <a:pt x="76979" y="116091"/>
                    <a:pt x="-26525" y="129426"/>
                    <a:pt x="6495" y="57671"/>
                  </a:cubicBezTo>
                  <a:cubicBezTo>
                    <a:pt x="60470" y="-73774"/>
                    <a:pt x="91584" y="62116"/>
                    <a:pt x="169054" y="51321"/>
                  </a:cubicBezTo>
                  <a:cubicBezTo>
                    <a:pt x="187470" y="48781"/>
                    <a:pt x="205884" y="39891"/>
                    <a:pt x="224300" y="47511"/>
                  </a:cubicBezTo>
                  <a:close/>
                  <a:moveTo>
                    <a:pt x="217950" y="187211"/>
                  </a:moveTo>
                  <a:cubicBezTo>
                    <a:pt x="218584" y="187211"/>
                    <a:pt x="218584" y="186576"/>
                    <a:pt x="219220" y="186576"/>
                  </a:cubicBezTo>
                  <a:cubicBezTo>
                    <a:pt x="218584" y="186576"/>
                    <a:pt x="217950" y="187211"/>
                    <a:pt x="217315" y="187211"/>
                  </a:cubicBezTo>
                  <a:cubicBezTo>
                    <a:pt x="224300" y="172606"/>
                    <a:pt x="211600" y="156096"/>
                    <a:pt x="196995" y="158636"/>
                  </a:cubicBezTo>
                  <a:cubicBezTo>
                    <a:pt x="196359" y="171336"/>
                    <a:pt x="210329" y="177686"/>
                    <a:pt x="217950" y="187211"/>
                  </a:cubicBezTo>
                  <a:close/>
                  <a:moveTo>
                    <a:pt x="87140" y="47511"/>
                  </a:moveTo>
                  <a:cubicBezTo>
                    <a:pt x="75075" y="65926"/>
                    <a:pt x="63009" y="84341"/>
                    <a:pt x="50945" y="103391"/>
                  </a:cubicBezTo>
                  <a:cubicBezTo>
                    <a:pt x="66820" y="119901"/>
                    <a:pt x="82059" y="135776"/>
                    <a:pt x="96665" y="151016"/>
                  </a:cubicBezTo>
                  <a:cubicBezTo>
                    <a:pt x="125875" y="135776"/>
                    <a:pt x="153815" y="112281"/>
                    <a:pt x="149370" y="78626"/>
                  </a:cubicBezTo>
                  <a:cubicBezTo>
                    <a:pt x="129684" y="69101"/>
                    <a:pt x="110634" y="59576"/>
                    <a:pt x="87140" y="47511"/>
                  </a:cubicBezTo>
                  <a:close/>
                  <a:moveTo>
                    <a:pt x="202075" y="76721"/>
                  </a:moveTo>
                  <a:cubicBezTo>
                    <a:pt x="174770" y="65291"/>
                    <a:pt x="153179" y="156096"/>
                    <a:pt x="103650" y="180861"/>
                  </a:cubicBezTo>
                  <a:cubicBezTo>
                    <a:pt x="118890" y="218961"/>
                    <a:pt x="213504" y="108471"/>
                    <a:pt x="202075" y="76721"/>
                  </a:cubicBezTo>
                  <a:close/>
                  <a:moveTo>
                    <a:pt x="22370" y="86246"/>
                  </a:moveTo>
                  <a:cubicBezTo>
                    <a:pt x="54120" y="77356"/>
                    <a:pt x="60470" y="54496"/>
                    <a:pt x="67454" y="32271"/>
                  </a:cubicBezTo>
                  <a:cubicBezTo>
                    <a:pt x="47134" y="4331"/>
                    <a:pt x="24909" y="63386"/>
                    <a:pt x="22370" y="86246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3" name="Google Shape;477;p8">
              <a:extLst>
                <a:ext uri="{FF2B5EF4-FFF2-40B4-BE49-F238E27FC236}">
                  <a16:creationId xmlns:a16="http://schemas.microsoft.com/office/drawing/2014/main" id="{417EB980-32D0-4DC4-A6C4-7E6D846EC924}"/>
                </a:ext>
              </a:extLst>
            </p:cNvPr>
            <p:cNvSpPr/>
            <p:nvPr/>
          </p:nvSpPr>
          <p:spPr>
            <a:xfrm>
              <a:off x="5019180" y="1018026"/>
              <a:ext cx="99190" cy="98538"/>
            </a:xfrm>
            <a:custGeom>
              <a:avLst/>
              <a:gdLst/>
              <a:ahLst/>
              <a:cxnLst/>
              <a:rect l="l" t="t" r="r" b="b"/>
              <a:pathLst>
                <a:path w="204516" h="203172" extrusionOk="0">
                  <a:moveTo>
                    <a:pt x="139555" y="137768"/>
                  </a:moveTo>
                  <a:cubicBezTo>
                    <a:pt x="146541" y="154278"/>
                    <a:pt x="194166" y="201903"/>
                    <a:pt x="157971" y="203173"/>
                  </a:cubicBezTo>
                  <a:cubicBezTo>
                    <a:pt x="139555" y="186028"/>
                    <a:pt x="135746" y="163168"/>
                    <a:pt x="112250" y="148563"/>
                  </a:cubicBezTo>
                  <a:cubicBezTo>
                    <a:pt x="-110000" y="230478"/>
                    <a:pt x="44941" y="-27967"/>
                    <a:pt x="173210" y="2513"/>
                  </a:cubicBezTo>
                  <a:cubicBezTo>
                    <a:pt x="245600" y="34898"/>
                    <a:pt x="174480" y="104113"/>
                    <a:pt x="139555" y="137768"/>
                  </a:cubicBezTo>
                  <a:close/>
                  <a:moveTo>
                    <a:pt x="184005" y="29183"/>
                  </a:moveTo>
                  <a:cubicBezTo>
                    <a:pt x="117330" y="1243"/>
                    <a:pt x="46846" y="67283"/>
                    <a:pt x="20175" y="123163"/>
                  </a:cubicBezTo>
                  <a:cubicBezTo>
                    <a:pt x="32875" y="190473"/>
                    <a:pt x="196705" y="83158"/>
                    <a:pt x="184005" y="29183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4" name="Google Shape;478;p8">
              <a:extLst>
                <a:ext uri="{FF2B5EF4-FFF2-40B4-BE49-F238E27FC236}">
                  <a16:creationId xmlns:a16="http://schemas.microsoft.com/office/drawing/2014/main" id="{381163EF-7629-4CFF-B559-9851352F5ACF}"/>
                </a:ext>
              </a:extLst>
            </p:cNvPr>
            <p:cNvSpPr/>
            <p:nvPr/>
          </p:nvSpPr>
          <p:spPr>
            <a:xfrm rot="9301126">
              <a:off x="6297718" y="732778"/>
              <a:ext cx="123698" cy="266216"/>
            </a:xfrm>
            <a:custGeom>
              <a:avLst/>
              <a:gdLst/>
              <a:ahLst/>
              <a:cxnLst/>
              <a:rect l="l" t="t" r="r" b="b"/>
              <a:pathLst>
                <a:path w="254831" h="548433" extrusionOk="0">
                  <a:moveTo>
                    <a:pt x="1225" y="243944"/>
                  </a:moveTo>
                  <a:cubicBezTo>
                    <a:pt x="-2584" y="153774"/>
                    <a:pt x="42500" y="76304"/>
                    <a:pt x="97110" y="7724"/>
                  </a:cubicBezTo>
                  <a:cubicBezTo>
                    <a:pt x="171406" y="-39901"/>
                    <a:pt x="226016" y="146154"/>
                    <a:pt x="245700" y="198859"/>
                  </a:cubicBezTo>
                  <a:cubicBezTo>
                    <a:pt x="276816" y="301729"/>
                    <a:pt x="217125" y="404599"/>
                    <a:pt x="233000" y="508104"/>
                  </a:cubicBezTo>
                  <a:cubicBezTo>
                    <a:pt x="238716" y="550014"/>
                    <a:pt x="205696" y="569064"/>
                    <a:pt x="201250" y="516359"/>
                  </a:cubicBezTo>
                  <a:cubicBezTo>
                    <a:pt x="164421" y="394439"/>
                    <a:pt x="-16554" y="432539"/>
                    <a:pt x="1225" y="243944"/>
                  </a:cubicBezTo>
                  <a:close/>
                  <a:moveTo>
                    <a:pt x="114891" y="236959"/>
                  </a:moveTo>
                  <a:cubicBezTo>
                    <a:pt x="103460" y="228704"/>
                    <a:pt x="21546" y="208384"/>
                    <a:pt x="57741" y="193144"/>
                  </a:cubicBezTo>
                  <a:cubicBezTo>
                    <a:pt x="78060" y="196954"/>
                    <a:pt x="88856" y="214734"/>
                    <a:pt x="111081" y="216639"/>
                  </a:cubicBezTo>
                  <a:cubicBezTo>
                    <a:pt x="108541" y="178539"/>
                    <a:pt x="97110" y="143614"/>
                    <a:pt x="105366" y="106784"/>
                  </a:cubicBezTo>
                  <a:cubicBezTo>
                    <a:pt x="111081" y="107419"/>
                    <a:pt x="116160" y="108054"/>
                    <a:pt x="120606" y="108054"/>
                  </a:cubicBezTo>
                  <a:cubicBezTo>
                    <a:pt x="123781" y="120754"/>
                    <a:pt x="126321" y="131549"/>
                    <a:pt x="129496" y="144249"/>
                  </a:cubicBezTo>
                  <a:cubicBezTo>
                    <a:pt x="182200" y="111229"/>
                    <a:pt x="146641" y="163934"/>
                    <a:pt x="130766" y="183619"/>
                  </a:cubicBezTo>
                  <a:cubicBezTo>
                    <a:pt x="135210" y="210924"/>
                    <a:pt x="135846" y="238229"/>
                    <a:pt x="149181" y="265534"/>
                  </a:cubicBezTo>
                  <a:cubicBezTo>
                    <a:pt x="163785" y="256009"/>
                    <a:pt x="167596" y="243309"/>
                    <a:pt x="186646" y="248389"/>
                  </a:cubicBezTo>
                  <a:cubicBezTo>
                    <a:pt x="175216" y="271249"/>
                    <a:pt x="149181" y="286489"/>
                    <a:pt x="154896" y="311254"/>
                  </a:cubicBezTo>
                  <a:cubicBezTo>
                    <a:pt x="171406" y="348719"/>
                    <a:pt x="172675" y="392534"/>
                    <a:pt x="204425" y="422379"/>
                  </a:cubicBezTo>
                  <a:cubicBezTo>
                    <a:pt x="252050" y="285219"/>
                    <a:pt x="233635" y="137264"/>
                    <a:pt x="136481" y="27409"/>
                  </a:cubicBezTo>
                  <a:cubicBezTo>
                    <a:pt x="86950" y="-1166"/>
                    <a:pt x="19006" y="177269"/>
                    <a:pt x="24721" y="219814"/>
                  </a:cubicBezTo>
                  <a:cubicBezTo>
                    <a:pt x="8846" y="328399"/>
                    <a:pt x="72346" y="405869"/>
                    <a:pt x="175216" y="431269"/>
                  </a:cubicBezTo>
                  <a:cubicBezTo>
                    <a:pt x="170135" y="362689"/>
                    <a:pt x="112350" y="366499"/>
                    <a:pt x="80600" y="323954"/>
                  </a:cubicBezTo>
                  <a:cubicBezTo>
                    <a:pt x="106635" y="317604"/>
                    <a:pt x="118700" y="347449"/>
                    <a:pt x="140925" y="338559"/>
                  </a:cubicBezTo>
                  <a:cubicBezTo>
                    <a:pt x="128225" y="305539"/>
                    <a:pt x="128860" y="270614"/>
                    <a:pt x="114891" y="236959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5" name="Google Shape;479;p8">
              <a:extLst>
                <a:ext uri="{FF2B5EF4-FFF2-40B4-BE49-F238E27FC236}">
                  <a16:creationId xmlns:a16="http://schemas.microsoft.com/office/drawing/2014/main" id="{0F50E663-39E1-4AD0-93A3-1908DAE033F1}"/>
                </a:ext>
              </a:extLst>
            </p:cNvPr>
            <p:cNvSpPr/>
            <p:nvPr/>
          </p:nvSpPr>
          <p:spPr>
            <a:xfrm>
              <a:off x="1756780" y="575182"/>
              <a:ext cx="134585" cy="137354"/>
            </a:xfrm>
            <a:custGeom>
              <a:avLst/>
              <a:gdLst/>
              <a:ahLst/>
              <a:cxnLst/>
              <a:rect l="l" t="t" r="r" b="b"/>
              <a:pathLst>
                <a:path w="277495" h="283204" extrusionOk="0">
                  <a:moveTo>
                    <a:pt x="208280" y="49133"/>
                  </a:moveTo>
                  <a:cubicBezTo>
                    <a:pt x="137795" y="91043"/>
                    <a:pt x="68580" y="136763"/>
                    <a:pt x="0" y="179943"/>
                  </a:cubicBezTo>
                  <a:cubicBezTo>
                    <a:pt x="8890" y="202168"/>
                    <a:pt x="26670" y="266938"/>
                    <a:pt x="57150" y="247888"/>
                  </a:cubicBezTo>
                  <a:cubicBezTo>
                    <a:pt x="130175" y="204708"/>
                    <a:pt x="208280" y="168513"/>
                    <a:pt x="277495" y="120888"/>
                  </a:cubicBezTo>
                  <a:cubicBezTo>
                    <a:pt x="258445" y="97393"/>
                    <a:pt x="247650" y="28178"/>
                    <a:pt x="208280" y="49133"/>
                  </a:cubicBezTo>
                  <a:close/>
                  <a:moveTo>
                    <a:pt x="46355" y="226933"/>
                  </a:moveTo>
                  <a:cubicBezTo>
                    <a:pt x="33655" y="218043"/>
                    <a:pt x="29210" y="206613"/>
                    <a:pt x="25400" y="192643"/>
                  </a:cubicBezTo>
                  <a:cubicBezTo>
                    <a:pt x="88265" y="150733"/>
                    <a:pt x="149225" y="105648"/>
                    <a:pt x="218440" y="71358"/>
                  </a:cubicBezTo>
                  <a:cubicBezTo>
                    <a:pt x="236220" y="75803"/>
                    <a:pt x="240030" y="91678"/>
                    <a:pt x="247015" y="107553"/>
                  </a:cubicBezTo>
                  <a:cubicBezTo>
                    <a:pt x="186055" y="158353"/>
                    <a:pt x="114300" y="189468"/>
                    <a:pt x="46355" y="226933"/>
                  </a:cubicBezTo>
                  <a:close/>
                  <a:moveTo>
                    <a:pt x="181610" y="200898"/>
                  </a:moveTo>
                  <a:cubicBezTo>
                    <a:pt x="130810" y="200898"/>
                    <a:pt x="120650" y="289798"/>
                    <a:pt x="181610" y="282813"/>
                  </a:cubicBezTo>
                  <a:cubicBezTo>
                    <a:pt x="240665" y="284083"/>
                    <a:pt x="243840" y="201533"/>
                    <a:pt x="181610" y="200898"/>
                  </a:cubicBezTo>
                  <a:close/>
                  <a:moveTo>
                    <a:pt x="163830" y="259318"/>
                  </a:moveTo>
                  <a:cubicBezTo>
                    <a:pt x="159385" y="227568"/>
                    <a:pt x="184785" y="232013"/>
                    <a:pt x="205105" y="234553"/>
                  </a:cubicBezTo>
                  <a:cubicBezTo>
                    <a:pt x="208280" y="258683"/>
                    <a:pt x="182245" y="268843"/>
                    <a:pt x="163830" y="259318"/>
                  </a:cubicBezTo>
                  <a:close/>
                  <a:moveTo>
                    <a:pt x="123190" y="32623"/>
                  </a:moveTo>
                  <a:cubicBezTo>
                    <a:pt x="104140" y="-16272"/>
                    <a:pt x="28575" y="-9922"/>
                    <a:pt x="29210" y="49768"/>
                  </a:cubicBezTo>
                  <a:cubicBezTo>
                    <a:pt x="38735" y="111998"/>
                    <a:pt x="126365" y="90408"/>
                    <a:pt x="123190" y="32623"/>
                  </a:cubicBezTo>
                  <a:close/>
                  <a:moveTo>
                    <a:pt x="81280" y="20558"/>
                  </a:moveTo>
                  <a:cubicBezTo>
                    <a:pt x="127635" y="19923"/>
                    <a:pt x="81915" y="87868"/>
                    <a:pt x="55880" y="63103"/>
                  </a:cubicBezTo>
                  <a:cubicBezTo>
                    <a:pt x="37465" y="47228"/>
                    <a:pt x="61595" y="16748"/>
                    <a:pt x="81280" y="20558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6" name="Google Shape;480;p8">
              <a:extLst>
                <a:ext uri="{FF2B5EF4-FFF2-40B4-BE49-F238E27FC236}">
                  <a16:creationId xmlns:a16="http://schemas.microsoft.com/office/drawing/2014/main" id="{71494E0A-A727-4295-A68E-7B51FCE149E5}"/>
                </a:ext>
              </a:extLst>
            </p:cNvPr>
            <p:cNvSpPr/>
            <p:nvPr/>
          </p:nvSpPr>
          <p:spPr>
            <a:xfrm>
              <a:off x="4716478" y="737980"/>
              <a:ext cx="145419" cy="160635"/>
            </a:xfrm>
            <a:custGeom>
              <a:avLst/>
              <a:gdLst/>
              <a:ahLst/>
              <a:cxnLst/>
              <a:rect l="l" t="t" r="r" b="b"/>
              <a:pathLst>
                <a:path w="299833" h="331207" extrusionOk="0">
                  <a:moveTo>
                    <a:pt x="209405" y="209687"/>
                  </a:moveTo>
                  <a:cubicBezTo>
                    <a:pt x="197340" y="292237"/>
                    <a:pt x="224645" y="334782"/>
                    <a:pt x="116695" y="330972"/>
                  </a:cubicBezTo>
                  <a:cubicBezTo>
                    <a:pt x="76690" y="318272"/>
                    <a:pt x="105900" y="251597"/>
                    <a:pt x="82405" y="221752"/>
                  </a:cubicBezTo>
                  <a:cubicBezTo>
                    <a:pt x="-9670" y="236992"/>
                    <a:pt x="-780" y="222387"/>
                    <a:pt x="1125" y="136662"/>
                  </a:cubicBezTo>
                  <a:cubicBezTo>
                    <a:pt x="15730" y="118882"/>
                    <a:pt x="46210" y="123327"/>
                    <a:pt x="67800" y="118247"/>
                  </a:cubicBezTo>
                  <a:cubicBezTo>
                    <a:pt x="113520" y="107452"/>
                    <a:pt x="65895" y="38872"/>
                    <a:pt x="89390" y="5852"/>
                  </a:cubicBezTo>
                  <a:cubicBezTo>
                    <a:pt x="202420" y="-15103"/>
                    <a:pt x="175750" y="20457"/>
                    <a:pt x="194165" y="108722"/>
                  </a:cubicBezTo>
                  <a:cubicBezTo>
                    <a:pt x="225280" y="118247"/>
                    <a:pt x="286240" y="96022"/>
                    <a:pt x="293225" y="135392"/>
                  </a:cubicBezTo>
                  <a:cubicBezTo>
                    <a:pt x="318625" y="214767"/>
                    <a:pt x="266555" y="199527"/>
                    <a:pt x="209405" y="209687"/>
                  </a:cubicBezTo>
                  <a:close/>
                  <a:moveTo>
                    <a:pt x="27795" y="202067"/>
                  </a:moveTo>
                  <a:cubicBezTo>
                    <a:pt x="155430" y="169682"/>
                    <a:pt x="92565" y="223657"/>
                    <a:pt x="125585" y="302397"/>
                  </a:cubicBezTo>
                  <a:cubicBezTo>
                    <a:pt x="140190" y="304302"/>
                    <a:pt x="156065" y="306842"/>
                    <a:pt x="171305" y="301127"/>
                  </a:cubicBezTo>
                  <a:cubicBezTo>
                    <a:pt x="195435" y="266202"/>
                    <a:pt x="166860" y="221752"/>
                    <a:pt x="189720" y="188097"/>
                  </a:cubicBezTo>
                  <a:cubicBezTo>
                    <a:pt x="215755" y="184287"/>
                    <a:pt x="243695" y="179842"/>
                    <a:pt x="271635" y="175397"/>
                  </a:cubicBezTo>
                  <a:cubicBezTo>
                    <a:pt x="276715" y="160792"/>
                    <a:pt x="276715" y="149362"/>
                    <a:pt x="267825" y="137932"/>
                  </a:cubicBezTo>
                  <a:cubicBezTo>
                    <a:pt x="176385" y="125867"/>
                    <a:pt x="163050" y="146187"/>
                    <a:pt x="160510" y="40142"/>
                  </a:cubicBezTo>
                  <a:cubicBezTo>
                    <a:pt x="158605" y="17917"/>
                    <a:pt x="136380" y="21092"/>
                    <a:pt x="120505" y="26172"/>
                  </a:cubicBezTo>
                  <a:cubicBezTo>
                    <a:pt x="85580" y="45857"/>
                    <a:pt x="120505" y="101737"/>
                    <a:pt x="108440" y="134757"/>
                  </a:cubicBezTo>
                  <a:cubicBezTo>
                    <a:pt x="77325" y="141742"/>
                    <a:pt x="53195" y="136662"/>
                    <a:pt x="23350" y="153172"/>
                  </a:cubicBezTo>
                  <a:cubicBezTo>
                    <a:pt x="23350" y="172857"/>
                    <a:pt x="23350" y="182382"/>
                    <a:pt x="27795" y="202067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7" name="Google Shape;481;p8">
              <a:extLst>
                <a:ext uri="{FF2B5EF4-FFF2-40B4-BE49-F238E27FC236}">
                  <a16:creationId xmlns:a16="http://schemas.microsoft.com/office/drawing/2014/main" id="{631DB046-E1DA-46FF-B77D-914F220E12DF}"/>
                </a:ext>
              </a:extLst>
            </p:cNvPr>
            <p:cNvSpPr/>
            <p:nvPr/>
          </p:nvSpPr>
          <p:spPr>
            <a:xfrm>
              <a:off x="1639378" y="819333"/>
              <a:ext cx="126045" cy="135687"/>
            </a:xfrm>
            <a:custGeom>
              <a:avLst/>
              <a:gdLst/>
              <a:ahLst/>
              <a:cxnLst/>
              <a:rect l="l" t="t" r="r" b="b"/>
              <a:pathLst>
                <a:path w="259887" h="279767" extrusionOk="0">
                  <a:moveTo>
                    <a:pt x="226736" y="166830"/>
                  </a:moveTo>
                  <a:cubicBezTo>
                    <a:pt x="228641" y="137620"/>
                    <a:pt x="231180" y="110950"/>
                    <a:pt x="233086" y="83010"/>
                  </a:cubicBezTo>
                  <a:cubicBezTo>
                    <a:pt x="187366" y="68405"/>
                    <a:pt x="153711" y="96345"/>
                    <a:pt x="111166" y="110315"/>
                  </a:cubicBezTo>
                  <a:cubicBezTo>
                    <a:pt x="97195" y="152860"/>
                    <a:pt x="133391" y="210010"/>
                    <a:pt x="90211" y="242395"/>
                  </a:cubicBezTo>
                  <a:cubicBezTo>
                    <a:pt x="-25359" y="349710"/>
                    <a:pt x="-34250" y="191595"/>
                    <a:pt x="88941" y="193500"/>
                  </a:cubicBezTo>
                  <a:cubicBezTo>
                    <a:pt x="97195" y="143970"/>
                    <a:pt x="63541" y="67135"/>
                    <a:pt x="101005" y="31575"/>
                  </a:cubicBezTo>
                  <a:cubicBezTo>
                    <a:pt x="208320" y="6175"/>
                    <a:pt x="274995" y="-51610"/>
                    <a:pt x="252770" y="105870"/>
                  </a:cubicBezTo>
                  <a:cubicBezTo>
                    <a:pt x="241975" y="140160"/>
                    <a:pt x="264200" y="170005"/>
                    <a:pt x="259120" y="201120"/>
                  </a:cubicBezTo>
                  <a:cubicBezTo>
                    <a:pt x="198161" y="328120"/>
                    <a:pt x="109261" y="242395"/>
                    <a:pt x="226736" y="166830"/>
                  </a:cubicBezTo>
                  <a:close/>
                  <a:moveTo>
                    <a:pt x="115611" y="79835"/>
                  </a:moveTo>
                  <a:cubicBezTo>
                    <a:pt x="146091" y="80470"/>
                    <a:pt x="172125" y="56975"/>
                    <a:pt x="203875" y="58245"/>
                  </a:cubicBezTo>
                  <a:cubicBezTo>
                    <a:pt x="229275" y="60150"/>
                    <a:pt x="238800" y="46180"/>
                    <a:pt x="229911" y="22050"/>
                  </a:cubicBezTo>
                  <a:cubicBezTo>
                    <a:pt x="198161" y="38560"/>
                    <a:pt x="97195" y="29035"/>
                    <a:pt x="115611" y="79835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8" name="Google Shape;482;p8">
              <a:extLst>
                <a:ext uri="{FF2B5EF4-FFF2-40B4-BE49-F238E27FC236}">
                  <a16:creationId xmlns:a16="http://schemas.microsoft.com/office/drawing/2014/main" id="{6C3F2E69-7F19-4BB4-9196-BC1986750B11}"/>
                </a:ext>
              </a:extLst>
            </p:cNvPr>
            <p:cNvSpPr/>
            <p:nvPr/>
          </p:nvSpPr>
          <p:spPr>
            <a:xfrm>
              <a:off x="8172573" y="555140"/>
              <a:ext cx="115263" cy="157296"/>
            </a:xfrm>
            <a:custGeom>
              <a:avLst/>
              <a:gdLst/>
              <a:ahLst/>
              <a:cxnLst/>
              <a:rect l="l" t="t" r="r" b="b"/>
              <a:pathLst>
                <a:path w="237655" h="324321" extrusionOk="0">
                  <a:moveTo>
                    <a:pt x="103670" y="224422"/>
                  </a:moveTo>
                  <a:cubicBezTo>
                    <a:pt x="118910" y="164097"/>
                    <a:pt x="80810" y="37097"/>
                    <a:pt x="129070" y="1537"/>
                  </a:cubicBezTo>
                  <a:cubicBezTo>
                    <a:pt x="197650" y="-13703"/>
                    <a:pt x="200190" y="88532"/>
                    <a:pt x="237655" y="124092"/>
                  </a:cubicBezTo>
                  <a:cubicBezTo>
                    <a:pt x="219875" y="178702"/>
                    <a:pt x="165900" y="59957"/>
                    <a:pt x="132245" y="71387"/>
                  </a:cubicBezTo>
                  <a:cubicBezTo>
                    <a:pt x="115735" y="135522"/>
                    <a:pt x="151930" y="215532"/>
                    <a:pt x="110655" y="271412"/>
                  </a:cubicBezTo>
                  <a:cubicBezTo>
                    <a:pt x="-25235" y="413017"/>
                    <a:pt x="-45555" y="225692"/>
                    <a:pt x="103670" y="224422"/>
                  </a:cubicBezTo>
                  <a:close/>
                  <a:moveTo>
                    <a:pt x="176060" y="65672"/>
                  </a:moveTo>
                  <a:cubicBezTo>
                    <a:pt x="170980" y="47892"/>
                    <a:pt x="167170" y="29477"/>
                    <a:pt x="146850" y="25032"/>
                  </a:cubicBezTo>
                  <a:cubicBezTo>
                    <a:pt x="136690" y="33922"/>
                    <a:pt x="136690" y="33922"/>
                    <a:pt x="134785" y="44082"/>
                  </a:cubicBezTo>
                  <a:cubicBezTo>
                    <a:pt x="148755" y="51067"/>
                    <a:pt x="162090" y="58687"/>
                    <a:pt x="176060" y="65672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9" name="Google Shape;483;p8">
              <a:extLst>
                <a:ext uri="{FF2B5EF4-FFF2-40B4-BE49-F238E27FC236}">
                  <a16:creationId xmlns:a16="http://schemas.microsoft.com/office/drawing/2014/main" id="{9B2453D0-FA03-4643-84F5-9E3C91A5CBC8}"/>
                </a:ext>
              </a:extLst>
            </p:cNvPr>
            <p:cNvSpPr/>
            <p:nvPr/>
          </p:nvSpPr>
          <p:spPr>
            <a:xfrm>
              <a:off x="4481735" y="547509"/>
              <a:ext cx="87093" cy="153839"/>
            </a:xfrm>
            <a:custGeom>
              <a:avLst/>
              <a:gdLst/>
              <a:ahLst/>
              <a:cxnLst/>
              <a:rect l="l" t="t" r="r" b="b"/>
              <a:pathLst>
                <a:path w="179573" h="317193" extrusionOk="0">
                  <a:moveTo>
                    <a:pt x="48300" y="7056"/>
                  </a:moveTo>
                  <a:cubicBezTo>
                    <a:pt x="85130" y="8961"/>
                    <a:pt x="155616" y="-21519"/>
                    <a:pt x="159425" y="31186"/>
                  </a:cubicBezTo>
                  <a:cubicBezTo>
                    <a:pt x="167680" y="121356"/>
                    <a:pt x="186096" y="212796"/>
                    <a:pt x="177205" y="302966"/>
                  </a:cubicBezTo>
                  <a:cubicBezTo>
                    <a:pt x="142280" y="316301"/>
                    <a:pt x="114975" y="320111"/>
                    <a:pt x="85766" y="315031"/>
                  </a:cubicBezTo>
                  <a:cubicBezTo>
                    <a:pt x="69255" y="264231"/>
                    <a:pt x="90211" y="208351"/>
                    <a:pt x="78780" y="154376"/>
                  </a:cubicBezTo>
                  <a:cubicBezTo>
                    <a:pt x="-62189" y="192476"/>
                    <a:pt x="24171" y="74366"/>
                    <a:pt x="48300" y="7056"/>
                  </a:cubicBezTo>
                  <a:close/>
                  <a:moveTo>
                    <a:pt x="109261" y="290901"/>
                  </a:moveTo>
                  <a:cubicBezTo>
                    <a:pt x="134025" y="291536"/>
                    <a:pt x="134025" y="291536"/>
                    <a:pt x="154346" y="278836"/>
                  </a:cubicBezTo>
                  <a:cubicBezTo>
                    <a:pt x="153075" y="219781"/>
                    <a:pt x="167680" y="54046"/>
                    <a:pt x="118786" y="24201"/>
                  </a:cubicBezTo>
                  <a:cubicBezTo>
                    <a:pt x="53380" y="10231"/>
                    <a:pt x="40046" y="82621"/>
                    <a:pt x="20996" y="128976"/>
                  </a:cubicBezTo>
                  <a:cubicBezTo>
                    <a:pt x="48936" y="149931"/>
                    <a:pt x="55921" y="133421"/>
                    <a:pt x="69891" y="115641"/>
                  </a:cubicBezTo>
                  <a:cubicBezTo>
                    <a:pt x="135296" y="72461"/>
                    <a:pt x="83861" y="261691"/>
                    <a:pt x="109261" y="290901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0" name="Google Shape;484;p8">
              <a:extLst>
                <a:ext uri="{FF2B5EF4-FFF2-40B4-BE49-F238E27FC236}">
                  <a16:creationId xmlns:a16="http://schemas.microsoft.com/office/drawing/2014/main" id="{9807AEC3-39CD-4D14-B42A-CD3D9393FE2E}"/>
                </a:ext>
              </a:extLst>
            </p:cNvPr>
            <p:cNvSpPr/>
            <p:nvPr/>
          </p:nvSpPr>
          <p:spPr>
            <a:xfrm>
              <a:off x="2048182" y="505004"/>
              <a:ext cx="126077" cy="173483"/>
            </a:xfrm>
            <a:custGeom>
              <a:avLst/>
              <a:gdLst/>
              <a:ahLst/>
              <a:cxnLst/>
              <a:rect l="l" t="t" r="r" b="b"/>
              <a:pathLst>
                <a:path w="283319" h="389850" extrusionOk="0">
                  <a:moveTo>
                    <a:pt x="215764" y="169337"/>
                  </a:moveTo>
                  <a:cubicBezTo>
                    <a:pt x="302124" y="27097"/>
                    <a:pt x="90669" y="-68153"/>
                    <a:pt x="11294" y="60752"/>
                  </a:cubicBezTo>
                  <a:cubicBezTo>
                    <a:pt x="-7756" y="89962"/>
                    <a:pt x="-3946" y="100757"/>
                    <a:pt x="32249" y="114092"/>
                  </a:cubicBezTo>
                  <a:cubicBezTo>
                    <a:pt x="71619" y="115997"/>
                    <a:pt x="97019" y="51862"/>
                    <a:pt x="145279" y="76627"/>
                  </a:cubicBezTo>
                  <a:cubicBezTo>
                    <a:pt x="215764" y="123617"/>
                    <a:pt x="108449" y="154732"/>
                    <a:pt x="109719" y="185212"/>
                  </a:cubicBezTo>
                  <a:cubicBezTo>
                    <a:pt x="111624" y="209342"/>
                    <a:pt x="220844" y="209977"/>
                    <a:pt x="165599" y="293162"/>
                  </a:cubicBezTo>
                  <a:cubicBezTo>
                    <a:pt x="115434" y="342057"/>
                    <a:pt x="90669" y="265222"/>
                    <a:pt x="53204" y="286812"/>
                  </a:cubicBezTo>
                  <a:cubicBezTo>
                    <a:pt x="41774" y="293797"/>
                    <a:pt x="19549" y="293162"/>
                    <a:pt x="19549" y="310942"/>
                  </a:cubicBezTo>
                  <a:cubicBezTo>
                    <a:pt x="44949" y="470962"/>
                    <a:pt x="437379" y="369362"/>
                    <a:pt x="215764" y="169337"/>
                  </a:cubicBezTo>
                  <a:close/>
                  <a:moveTo>
                    <a:pt x="255769" y="311577"/>
                  </a:moveTo>
                  <a:cubicBezTo>
                    <a:pt x="230369" y="375712"/>
                    <a:pt x="58919" y="393492"/>
                    <a:pt x="43679" y="321102"/>
                  </a:cubicBezTo>
                  <a:cubicBezTo>
                    <a:pt x="53204" y="313482"/>
                    <a:pt x="60189" y="310942"/>
                    <a:pt x="70984" y="308402"/>
                  </a:cubicBezTo>
                  <a:cubicBezTo>
                    <a:pt x="145914" y="381427"/>
                    <a:pt x="251959" y="274112"/>
                    <a:pt x="178299" y="199817"/>
                  </a:cubicBezTo>
                  <a:cubicBezTo>
                    <a:pt x="157344" y="184577"/>
                    <a:pt x="144644" y="190927"/>
                    <a:pt x="171314" y="159812"/>
                  </a:cubicBezTo>
                  <a:cubicBezTo>
                    <a:pt x="239259" y="61387"/>
                    <a:pt x="99559" y="5507"/>
                    <a:pt x="35424" y="93772"/>
                  </a:cubicBezTo>
                  <a:cubicBezTo>
                    <a:pt x="-5851" y="29002"/>
                    <a:pt x="261484" y="-44023"/>
                    <a:pt x="204334" y="148382"/>
                  </a:cubicBezTo>
                  <a:cubicBezTo>
                    <a:pt x="201159" y="161082"/>
                    <a:pt x="201159" y="165527"/>
                    <a:pt x="188459" y="178227"/>
                  </a:cubicBezTo>
                  <a:cubicBezTo>
                    <a:pt x="227829" y="190292"/>
                    <a:pt x="275454" y="281097"/>
                    <a:pt x="255769" y="311577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1" name="Google Shape;485;p8">
              <a:extLst>
                <a:ext uri="{FF2B5EF4-FFF2-40B4-BE49-F238E27FC236}">
                  <a16:creationId xmlns:a16="http://schemas.microsoft.com/office/drawing/2014/main" id="{796D8525-F78B-4E8E-B835-32B685225339}"/>
                </a:ext>
              </a:extLst>
            </p:cNvPr>
            <p:cNvSpPr/>
            <p:nvPr/>
          </p:nvSpPr>
          <p:spPr>
            <a:xfrm>
              <a:off x="126658" y="1006747"/>
              <a:ext cx="126356" cy="163706"/>
            </a:xfrm>
            <a:custGeom>
              <a:avLst/>
              <a:gdLst/>
              <a:ahLst/>
              <a:cxnLst/>
              <a:rect l="l" t="t" r="r" b="b"/>
              <a:pathLst>
                <a:path w="260527" h="337538" extrusionOk="0">
                  <a:moveTo>
                    <a:pt x="70965" y="150214"/>
                  </a:moveTo>
                  <a:cubicBezTo>
                    <a:pt x="-31905" y="199744"/>
                    <a:pt x="-8410" y="53058"/>
                    <a:pt x="50010" y="19403"/>
                  </a:cubicBezTo>
                  <a:cubicBezTo>
                    <a:pt x="99540" y="-21237"/>
                    <a:pt x="175740" y="6703"/>
                    <a:pt x="204315" y="59408"/>
                  </a:cubicBezTo>
                  <a:cubicBezTo>
                    <a:pt x="234160" y="115923"/>
                    <a:pt x="183360" y="176248"/>
                    <a:pt x="162405" y="228953"/>
                  </a:cubicBezTo>
                  <a:cubicBezTo>
                    <a:pt x="222730" y="254353"/>
                    <a:pt x="280515" y="204189"/>
                    <a:pt x="253845" y="309598"/>
                  </a:cubicBezTo>
                  <a:cubicBezTo>
                    <a:pt x="202410" y="340078"/>
                    <a:pt x="118590" y="320394"/>
                    <a:pt x="56360" y="337539"/>
                  </a:cubicBezTo>
                  <a:cubicBezTo>
                    <a:pt x="-5235" y="325473"/>
                    <a:pt x="102715" y="185139"/>
                    <a:pt x="110970" y="145133"/>
                  </a:cubicBezTo>
                  <a:cubicBezTo>
                    <a:pt x="160500" y="75919"/>
                    <a:pt x="55725" y="82269"/>
                    <a:pt x="70965" y="150214"/>
                  </a:cubicBezTo>
                  <a:close/>
                  <a:moveTo>
                    <a:pt x="123670" y="254353"/>
                  </a:moveTo>
                  <a:cubicBezTo>
                    <a:pt x="140180" y="194664"/>
                    <a:pt x="211935" y="137514"/>
                    <a:pt x="182725" y="75283"/>
                  </a:cubicBezTo>
                  <a:cubicBezTo>
                    <a:pt x="171930" y="39088"/>
                    <a:pt x="127480" y="13053"/>
                    <a:pt x="92555" y="25119"/>
                  </a:cubicBezTo>
                  <a:cubicBezTo>
                    <a:pt x="36040" y="25119"/>
                    <a:pt x="-10315" y="170533"/>
                    <a:pt x="46200" y="130528"/>
                  </a:cubicBezTo>
                  <a:cubicBezTo>
                    <a:pt x="49375" y="47978"/>
                    <a:pt x="174470" y="60678"/>
                    <a:pt x="140180" y="141958"/>
                  </a:cubicBezTo>
                  <a:cubicBezTo>
                    <a:pt x="119225" y="196569"/>
                    <a:pt x="72870" y="253083"/>
                    <a:pt x="69060" y="309598"/>
                  </a:cubicBezTo>
                  <a:cubicBezTo>
                    <a:pt x="109065" y="316583"/>
                    <a:pt x="193520" y="307694"/>
                    <a:pt x="232890" y="291183"/>
                  </a:cubicBezTo>
                  <a:cubicBezTo>
                    <a:pt x="234795" y="282928"/>
                    <a:pt x="236700" y="274039"/>
                    <a:pt x="238605" y="264514"/>
                  </a:cubicBezTo>
                  <a:cubicBezTo>
                    <a:pt x="197330" y="251178"/>
                    <a:pt x="166215" y="267689"/>
                    <a:pt x="123670" y="254353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52" name="Google Shape;486;p8">
              <a:extLst>
                <a:ext uri="{FF2B5EF4-FFF2-40B4-BE49-F238E27FC236}">
                  <a16:creationId xmlns:a16="http://schemas.microsoft.com/office/drawing/2014/main" id="{1ED48132-0E3B-4C9F-8080-7B4FB0379E28}"/>
                </a:ext>
              </a:extLst>
            </p:cNvPr>
            <p:cNvGrpSpPr/>
            <p:nvPr/>
          </p:nvGrpSpPr>
          <p:grpSpPr>
            <a:xfrm>
              <a:off x="7836651" y="987182"/>
              <a:ext cx="121750" cy="155749"/>
              <a:chOff x="6422295" y="3351500"/>
              <a:chExt cx="252856" cy="323399"/>
            </a:xfrm>
          </p:grpSpPr>
          <p:sp>
            <p:nvSpPr>
              <p:cNvPr id="61" name="Google Shape;487;p8">
                <a:extLst>
                  <a:ext uri="{FF2B5EF4-FFF2-40B4-BE49-F238E27FC236}">
                    <a16:creationId xmlns:a16="http://schemas.microsoft.com/office/drawing/2014/main" id="{865D144E-115E-4C0F-858B-7AD446047D5F}"/>
                  </a:ext>
                </a:extLst>
              </p:cNvPr>
              <p:cNvSpPr/>
              <p:nvPr/>
            </p:nvSpPr>
            <p:spPr>
              <a:xfrm>
                <a:off x="6422295" y="3351500"/>
                <a:ext cx="252856" cy="323399"/>
              </a:xfrm>
              <a:custGeom>
                <a:avLst/>
                <a:gdLst/>
                <a:ahLst/>
                <a:cxnLst/>
                <a:rect l="l" t="t" r="r" b="b"/>
                <a:pathLst>
                  <a:path w="294019" h="376045" extrusionOk="0">
                    <a:moveTo>
                      <a:pt x="172720" y="274801"/>
                    </a:moveTo>
                    <a:cubicBezTo>
                      <a:pt x="154940" y="268451"/>
                      <a:pt x="140970" y="274801"/>
                      <a:pt x="126365" y="278611"/>
                    </a:cubicBezTo>
                    <a:cubicBezTo>
                      <a:pt x="109855" y="304011"/>
                      <a:pt x="109220" y="334491"/>
                      <a:pt x="99695" y="364336"/>
                    </a:cubicBezTo>
                    <a:cubicBezTo>
                      <a:pt x="71755" y="359256"/>
                      <a:pt x="0" y="392911"/>
                      <a:pt x="0" y="352906"/>
                    </a:cubicBezTo>
                    <a:cubicBezTo>
                      <a:pt x="38100" y="239241"/>
                      <a:pt x="70485" y="123671"/>
                      <a:pt x="102235" y="8101"/>
                    </a:cubicBezTo>
                    <a:cubicBezTo>
                      <a:pt x="248920" y="-26189"/>
                      <a:pt x="236855" y="52551"/>
                      <a:pt x="264160" y="165581"/>
                    </a:cubicBezTo>
                    <a:cubicBezTo>
                      <a:pt x="262255" y="201776"/>
                      <a:pt x="322580" y="359256"/>
                      <a:pt x="276860" y="358621"/>
                    </a:cubicBezTo>
                    <a:cubicBezTo>
                      <a:pt x="153670" y="357986"/>
                      <a:pt x="184150" y="433551"/>
                      <a:pt x="172720" y="274801"/>
                    </a:cubicBezTo>
                    <a:close/>
                    <a:moveTo>
                      <a:pt x="266700" y="331316"/>
                    </a:moveTo>
                    <a:cubicBezTo>
                      <a:pt x="262255" y="229081"/>
                      <a:pt x="236220" y="119861"/>
                      <a:pt x="201295" y="23341"/>
                    </a:cubicBezTo>
                    <a:cubicBezTo>
                      <a:pt x="175895" y="22071"/>
                      <a:pt x="129540" y="8736"/>
                      <a:pt x="120015" y="41121"/>
                    </a:cubicBezTo>
                    <a:cubicBezTo>
                      <a:pt x="86995" y="139546"/>
                      <a:pt x="53975" y="239876"/>
                      <a:pt x="33655" y="341476"/>
                    </a:cubicBezTo>
                    <a:cubicBezTo>
                      <a:pt x="90805" y="367511"/>
                      <a:pt x="90805" y="291946"/>
                      <a:pt x="106680" y="256386"/>
                    </a:cubicBezTo>
                    <a:cubicBezTo>
                      <a:pt x="290195" y="214476"/>
                      <a:pt x="113665" y="389736"/>
                      <a:pt x="266700" y="331316"/>
                    </a:cubicBezTo>
                    <a:close/>
                  </a:path>
                </a:pathLst>
              </a:custGeom>
              <a:solidFill>
                <a:srgbClr val="30485C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62" name="Google Shape;488;p8">
                <a:extLst>
                  <a:ext uri="{FF2B5EF4-FFF2-40B4-BE49-F238E27FC236}">
                    <a16:creationId xmlns:a16="http://schemas.microsoft.com/office/drawing/2014/main" id="{FBDD473D-941E-49C0-95D2-5368D36472F6}"/>
                  </a:ext>
                </a:extLst>
              </p:cNvPr>
              <p:cNvSpPr/>
              <p:nvPr/>
            </p:nvSpPr>
            <p:spPr>
              <a:xfrm>
                <a:off x="6523827" y="3405472"/>
                <a:ext cx="67661" cy="140626"/>
              </a:xfrm>
              <a:custGeom>
                <a:avLst/>
                <a:gdLst/>
                <a:ahLst/>
                <a:cxnLst/>
                <a:rect l="l" t="t" r="r" b="b"/>
                <a:pathLst>
                  <a:path w="78676" h="163519" extrusionOk="0">
                    <a:moveTo>
                      <a:pt x="47759" y="0"/>
                    </a:moveTo>
                    <a:cubicBezTo>
                      <a:pt x="77604" y="36830"/>
                      <a:pt x="59824" y="93345"/>
                      <a:pt x="76969" y="137160"/>
                    </a:cubicBezTo>
                    <a:cubicBezTo>
                      <a:pt x="82049" y="150495"/>
                      <a:pt x="75699" y="170180"/>
                      <a:pt x="59189" y="161290"/>
                    </a:cubicBezTo>
                    <a:cubicBezTo>
                      <a:pt x="38869" y="149860"/>
                      <a:pt x="-8756" y="165735"/>
                      <a:pt x="1404" y="127635"/>
                    </a:cubicBezTo>
                    <a:cubicBezTo>
                      <a:pt x="15374" y="83820"/>
                      <a:pt x="14104" y="35560"/>
                      <a:pt x="47759" y="0"/>
                    </a:cubicBezTo>
                    <a:close/>
                    <a:moveTo>
                      <a:pt x="25534" y="130810"/>
                    </a:moveTo>
                    <a:cubicBezTo>
                      <a:pt x="68714" y="151130"/>
                      <a:pt x="47124" y="101600"/>
                      <a:pt x="44584" y="77470"/>
                    </a:cubicBezTo>
                    <a:cubicBezTo>
                      <a:pt x="31249" y="97155"/>
                      <a:pt x="26804" y="113665"/>
                      <a:pt x="25534" y="130810"/>
                    </a:cubicBezTo>
                    <a:close/>
                  </a:path>
                </a:pathLst>
              </a:custGeom>
              <a:solidFill>
                <a:srgbClr val="30485C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53" name="Google Shape;489;p8">
              <a:extLst>
                <a:ext uri="{FF2B5EF4-FFF2-40B4-BE49-F238E27FC236}">
                  <a16:creationId xmlns:a16="http://schemas.microsoft.com/office/drawing/2014/main" id="{2CFDE35F-9C93-41AA-AF39-B673BE122D10}"/>
                </a:ext>
              </a:extLst>
            </p:cNvPr>
            <p:cNvSpPr/>
            <p:nvPr/>
          </p:nvSpPr>
          <p:spPr>
            <a:xfrm>
              <a:off x="1353734" y="881315"/>
              <a:ext cx="187420" cy="190001"/>
            </a:xfrm>
            <a:custGeom>
              <a:avLst/>
              <a:gdLst/>
              <a:ahLst/>
              <a:cxnLst/>
              <a:rect l="l" t="t" r="r" b="b"/>
              <a:pathLst>
                <a:path w="386433" h="391754" extrusionOk="0">
                  <a:moveTo>
                    <a:pt x="22225" y="106004"/>
                  </a:moveTo>
                  <a:cubicBezTo>
                    <a:pt x="40640" y="82509"/>
                    <a:pt x="84455" y="92670"/>
                    <a:pt x="109855" y="76795"/>
                  </a:cubicBezTo>
                  <a:cubicBezTo>
                    <a:pt x="113030" y="58379"/>
                    <a:pt x="107315" y="43139"/>
                    <a:pt x="98425" y="27264"/>
                  </a:cubicBezTo>
                  <a:cubicBezTo>
                    <a:pt x="122555" y="8850"/>
                    <a:pt x="153035" y="-7661"/>
                    <a:pt x="182880" y="3770"/>
                  </a:cubicBezTo>
                  <a:cubicBezTo>
                    <a:pt x="186690" y="19645"/>
                    <a:pt x="190500" y="36789"/>
                    <a:pt x="194945" y="55839"/>
                  </a:cubicBezTo>
                  <a:cubicBezTo>
                    <a:pt x="226695" y="60284"/>
                    <a:pt x="256540" y="42504"/>
                    <a:pt x="287020" y="52664"/>
                  </a:cubicBezTo>
                  <a:cubicBezTo>
                    <a:pt x="300355" y="119339"/>
                    <a:pt x="327660" y="186014"/>
                    <a:pt x="373380" y="237450"/>
                  </a:cubicBezTo>
                  <a:cubicBezTo>
                    <a:pt x="386080" y="250150"/>
                    <a:pt x="388620" y="262850"/>
                    <a:pt x="384810" y="280629"/>
                  </a:cubicBezTo>
                  <a:cubicBezTo>
                    <a:pt x="356870" y="380325"/>
                    <a:pt x="198755" y="356195"/>
                    <a:pt x="115570" y="391754"/>
                  </a:cubicBezTo>
                  <a:cubicBezTo>
                    <a:pt x="31115" y="324445"/>
                    <a:pt x="4445" y="213320"/>
                    <a:pt x="0" y="108545"/>
                  </a:cubicBezTo>
                  <a:cubicBezTo>
                    <a:pt x="8890" y="107275"/>
                    <a:pt x="15875" y="106004"/>
                    <a:pt x="22860" y="105370"/>
                  </a:cubicBezTo>
                  <a:cubicBezTo>
                    <a:pt x="16510" y="199984"/>
                    <a:pt x="46990" y="300314"/>
                    <a:pt x="115570" y="368259"/>
                  </a:cubicBezTo>
                  <a:cubicBezTo>
                    <a:pt x="184150" y="354925"/>
                    <a:pt x="258445" y="348575"/>
                    <a:pt x="323215" y="320634"/>
                  </a:cubicBezTo>
                  <a:cubicBezTo>
                    <a:pt x="316865" y="290789"/>
                    <a:pt x="302895" y="271104"/>
                    <a:pt x="309245" y="243164"/>
                  </a:cubicBezTo>
                  <a:cubicBezTo>
                    <a:pt x="322580" y="243164"/>
                    <a:pt x="333375" y="243164"/>
                    <a:pt x="347980" y="243164"/>
                  </a:cubicBezTo>
                  <a:cubicBezTo>
                    <a:pt x="325755" y="189825"/>
                    <a:pt x="288290" y="147279"/>
                    <a:pt x="278765" y="88225"/>
                  </a:cubicBezTo>
                  <a:cubicBezTo>
                    <a:pt x="273685" y="48220"/>
                    <a:pt x="226695" y="69809"/>
                    <a:pt x="203835" y="81875"/>
                  </a:cubicBezTo>
                  <a:cubicBezTo>
                    <a:pt x="206375" y="93304"/>
                    <a:pt x="208280" y="102829"/>
                    <a:pt x="210185" y="112354"/>
                  </a:cubicBezTo>
                  <a:cubicBezTo>
                    <a:pt x="182245" y="123784"/>
                    <a:pt x="158115" y="145375"/>
                    <a:pt x="128270" y="132675"/>
                  </a:cubicBezTo>
                  <a:cubicBezTo>
                    <a:pt x="121285" y="63459"/>
                    <a:pt x="57150" y="126325"/>
                    <a:pt x="22225" y="106004"/>
                  </a:cubicBezTo>
                  <a:close/>
                  <a:moveTo>
                    <a:pt x="165100" y="21550"/>
                  </a:moveTo>
                  <a:cubicBezTo>
                    <a:pt x="107315" y="11389"/>
                    <a:pt x="133350" y="88225"/>
                    <a:pt x="145415" y="118070"/>
                  </a:cubicBezTo>
                  <a:cubicBezTo>
                    <a:pt x="163195" y="119975"/>
                    <a:pt x="173355" y="109814"/>
                    <a:pt x="185420" y="100289"/>
                  </a:cubicBezTo>
                  <a:cubicBezTo>
                    <a:pt x="179070" y="72984"/>
                    <a:pt x="172720" y="46314"/>
                    <a:pt x="165100" y="21550"/>
                  </a:cubicBezTo>
                  <a:close/>
                  <a:moveTo>
                    <a:pt x="327660" y="266025"/>
                  </a:moveTo>
                  <a:cubicBezTo>
                    <a:pt x="328930" y="337145"/>
                    <a:pt x="368300" y="313014"/>
                    <a:pt x="357505" y="266025"/>
                  </a:cubicBezTo>
                  <a:cubicBezTo>
                    <a:pt x="349885" y="266025"/>
                    <a:pt x="340360" y="266025"/>
                    <a:pt x="327660" y="266025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4" name="Google Shape;490;p8">
              <a:extLst>
                <a:ext uri="{FF2B5EF4-FFF2-40B4-BE49-F238E27FC236}">
                  <a16:creationId xmlns:a16="http://schemas.microsoft.com/office/drawing/2014/main" id="{205D0610-BF1E-4924-B2BC-5F952001F3CA}"/>
                </a:ext>
              </a:extLst>
            </p:cNvPr>
            <p:cNvSpPr/>
            <p:nvPr/>
          </p:nvSpPr>
          <p:spPr>
            <a:xfrm>
              <a:off x="6088369" y="586056"/>
              <a:ext cx="149720" cy="115699"/>
            </a:xfrm>
            <a:custGeom>
              <a:avLst/>
              <a:gdLst/>
              <a:ahLst/>
              <a:cxnLst/>
              <a:rect l="l" t="t" r="r" b="b"/>
              <a:pathLst>
                <a:path w="308702" h="238555" extrusionOk="0">
                  <a:moveTo>
                    <a:pt x="275682" y="130540"/>
                  </a:moveTo>
                  <a:cubicBezTo>
                    <a:pt x="186782" y="134985"/>
                    <a:pt x="95977" y="143875"/>
                    <a:pt x="7712" y="150225"/>
                  </a:cubicBezTo>
                  <a:cubicBezTo>
                    <a:pt x="-8798" y="168640"/>
                    <a:pt x="1997" y="241030"/>
                    <a:pt x="32477" y="238490"/>
                  </a:cubicBezTo>
                  <a:cubicBezTo>
                    <a:pt x="126457" y="218805"/>
                    <a:pt x="214087" y="238490"/>
                    <a:pt x="308702" y="211820"/>
                  </a:cubicBezTo>
                  <a:cubicBezTo>
                    <a:pt x="278857" y="185150"/>
                    <a:pt x="322672" y="132445"/>
                    <a:pt x="275682" y="130540"/>
                  </a:cubicBezTo>
                  <a:close/>
                  <a:moveTo>
                    <a:pt x="271872" y="187690"/>
                  </a:moveTo>
                  <a:cubicBezTo>
                    <a:pt x="200752" y="219440"/>
                    <a:pt x="111217" y="202930"/>
                    <a:pt x="33112" y="211185"/>
                  </a:cubicBezTo>
                  <a:cubicBezTo>
                    <a:pt x="25492" y="195310"/>
                    <a:pt x="24857" y="195310"/>
                    <a:pt x="29302" y="175625"/>
                  </a:cubicBezTo>
                  <a:cubicBezTo>
                    <a:pt x="108677" y="166100"/>
                    <a:pt x="196307" y="146415"/>
                    <a:pt x="274412" y="159750"/>
                  </a:cubicBezTo>
                  <a:cubicBezTo>
                    <a:pt x="273777" y="169275"/>
                    <a:pt x="272507" y="179435"/>
                    <a:pt x="271872" y="187690"/>
                  </a:cubicBezTo>
                  <a:close/>
                  <a:moveTo>
                    <a:pt x="3902" y="80375"/>
                  </a:moveTo>
                  <a:cubicBezTo>
                    <a:pt x="10252" y="126095"/>
                    <a:pt x="181067" y="83550"/>
                    <a:pt x="218532" y="87995"/>
                  </a:cubicBezTo>
                  <a:cubicBezTo>
                    <a:pt x="295367" y="95615"/>
                    <a:pt x="307432" y="97520"/>
                    <a:pt x="293462" y="19415"/>
                  </a:cubicBezTo>
                  <a:cubicBezTo>
                    <a:pt x="285842" y="-17415"/>
                    <a:pt x="73117" y="11160"/>
                    <a:pt x="28032" y="2270"/>
                  </a:cubicBezTo>
                  <a:cubicBezTo>
                    <a:pt x="-10068" y="1635"/>
                    <a:pt x="6442" y="55610"/>
                    <a:pt x="3902" y="80375"/>
                  </a:cubicBezTo>
                  <a:close/>
                  <a:moveTo>
                    <a:pt x="40097" y="25130"/>
                  </a:moveTo>
                  <a:cubicBezTo>
                    <a:pt x="78197" y="25765"/>
                    <a:pt x="115027" y="14970"/>
                    <a:pt x="153762" y="23225"/>
                  </a:cubicBezTo>
                  <a:cubicBezTo>
                    <a:pt x="189957" y="39735"/>
                    <a:pt x="274412" y="-6620"/>
                    <a:pt x="276317" y="52435"/>
                  </a:cubicBezTo>
                  <a:cubicBezTo>
                    <a:pt x="287747" y="79105"/>
                    <a:pt x="54067" y="73390"/>
                    <a:pt x="26762" y="72120"/>
                  </a:cubicBezTo>
                  <a:cubicBezTo>
                    <a:pt x="27397" y="54975"/>
                    <a:pt x="15332" y="26400"/>
                    <a:pt x="40097" y="25130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55" name="Google Shape;491;p8">
              <a:extLst>
                <a:ext uri="{FF2B5EF4-FFF2-40B4-BE49-F238E27FC236}">
                  <a16:creationId xmlns:a16="http://schemas.microsoft.com/office/drawing/2014/main" id="{644799B6-39C4-4EDA-90F6-B1BA328AF112}"/>
                </a:ext>
              </a:extLst>
            </p:cNvPr>
            <p:cNvGrpSpPr/>
            <p:nvPr/>
          </p:nvGrpSpPr>
          <p:grpSpPr>
            <a:xfrm>
              <a:off x="3137402" y="1006079"/>
              <a:ext cx="129429" cy="165162"/>
              <a:chOff x="6793660" y="3322411"/>
              <a:chExt cx="268804" cy="342944"/>
            </a:xfrm>
          </p:grpSpPr>
          <p:sp>
            <p:nvSpPr>
              <p:cNvPr id="58" name="Google Shape;492;p8">
                <a:extLst>
                  <a:ext uri="{FF2B5EF4-FFF2-40B4-BE49-F238E27FC236}">
                    <a16:creationId xmlns:a16="http://schemas.microsoft.com/office/drawing/2014/main" id="{DA90D220-A61A-410A-82F9-F4435DFF17DB}"/>
                  </a:ext>
                </a:extLst>
              </p:cNvPr>
              <p:cNvSpPr/>
              <p:nvPr/>
            </p:nvSpPr>
            <p:spPr>
              <a:xfrm>
                <a:off x="6793660" y="3322411"/>
                <a:ext cx="268804" cy="342944"/>
              </a:xfrm>
              <a:custGeom>
                <a:avLst/>
                <a:gdLst/>
                <a:ahLst/>
                <a:cxnLst/>
                <a:rect l="l" t="t" r="r" b="b"/>
                <a:pathLst>
                  <a:path w="312563" h="398772" extrusionOk="0">
                    <a:moveTo>
                      <a:pt x="216826" y="153028"/>
                    </a:moveTo>
                    <a:cubicBezTo>
                      <a:pt x="221271" y="163188"/>
                      <a:pt x="230796" y="165093"/>
                      <a:pt x="238416" y="166997"/>
                    </a:cubicBezTo>
                    <a:cubicBezTo>
                      <a:pt x="302551" y="185413"/>
                      <a:pt x="337476" y="278758"/>
                      <a:pt x="291756" y="323843"/>
                    </a:cubicBezTo>
                    <a:cubicBezTo>
                      <a:pt x="232701" y="397503"/>
                      <a:pt x="134911" y="398772"/>
                      <a:pt x="48551" y="398772"/>
                    </a:cubicBezTo>
                    <a:cubicBezTo>
                      <a:pt x="926" y="373372"/>
                      <a:pt x="31406" y="246372"/>
                      <a:pt x="16166" y="193668"/>
                    </a:cubicBezTo>
                    <a:cubicBezTo>
                      <a:pt x="21881" y="142868"/>
                      <a:pt x="-23839" y="59047"/>
                      <a:pt x="17436" y="23488"/>
                    </a:cubicBezTo>
                    <a:cubicBezTo>
                      <a:pt x="114591" y="-33028"/>
                      <a:pt x="340016" y="13328"/>
                      <a:pt x="216826" y="153028"/>
                    </a:cubicBezTo>
                    <a:close/>
                    <a:moveTo>
                      <a:pt x="54901" y="378453"/>
                    </a:moveTo>
                    <a:cubicBezTo>
                      <a:pt x="170471" y="401313"/>
                      <a:pt x="394626" y="293997"/>
                      <a:pt x="234606" y="185413"/>
                    </a:cubicBezTo>
                    <a:cubicBezTo>
                      <a:pt x="203491" y="168903"/>
                      <a:pt x="153326" y="198747"/>
                      <a:pt x="133006" y="175253"/>
                    </a:cubicBezTo>
                    <a:cubicBezTo>
                      <a:pt x="144436" y="149218"/>
                      <a:pt x="190791" y="149218"/>
                      <a:pt x="209206" y="125088"/>
                    </a:cubicBezTo>
                    <a:cubicBezTo>
                      <a:pt x="287946" y="16503"/>
                      <a:pt x="107606" y="-642"/>
                      <a:pt x="40296" y="38093"/>
                    </a:cubicBezTo>
                    <a:cubicBezTo>
                      <a:pt x="2831" y="52697"/>
                      <a:pt x="33311" y="106672"/>
                      <a:pt x="30136" y="137153"/>
                    </a:cubicBezTo>
                    <a:cubicBezTo>
                      <a:pt x="44741" y="218433"/>
                      <a:pt x="40931" y="297808"/>
                      <a:pt x="54901" y="378453"/>
                    </a:cubicBezTo>
                    <a:close/>
                  </a:path>
                </a:pathLst>
              </a:custGeom>
              <a:solidFill>
                <a:srgbClr val="30485C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59" name="Google Shape;493;p8">
                <a:extLst>
                  <a:ext uri="{FF2B5EF4-FFF2-40B4-BE49-F238E27FC236}">
                    <a16:creationId xmlns:a16="http://schemas.microsoft.com/office/drawing/2014/main" id="{9207D843-5CE4-4D01-AACF-727765A8CE11}"/>
                  </a:ext>
                </a:extLst>
              </p:cNvPr>
              <p:cNvSpPr/>
              <p:nvPr/>
            </p:nvSpPr>
            <p:spPr>
              <a:xfrm>
                <a:off x="6856211" y="3513113"/>
                <a:ext cx="129046" cy="89953"/>
              </a:xfrm>
              <a:custGeom>
                <a:avLst/>
                <a:gdLst/>
                <a:ahLst/>
                <a:cxnLst/>
                <a:rect l="l" t="t" r="r" b="b"/>
                <a:pathLst>
                  <a:path w="150053" h="104597" extrusionOk="0">
                    <a:moveTo>
                      <a:pt x="0" y="23515"/>
                    </a:moveTo>
                    <a:cubicBezTo>
                      <a:pt x="96520" y="-43160"/>
                      <a:pt x="239395" y="48280"/>
                      <a:pt x="74930" y="95905"/>
                    </a:cubicBezTo>
                    <a:cubicBezTo>
                      <a:pt x="-23495" y="118765"/>
                      <a:pt x="19685" y="97175"/>
                      <a:pt x="0" y="23515"/>
                    </a:cubicBezTo>
                    <a:close/>
                    <a:moveTo>
                      <a:pt x="92075" y="16530"/>
                    </a:moveTo>
                    <a:cubicBezTo>
                      <a:pt x="57150" y="22880"/>
                      <a:pt x="17780" y="24150"/>
                      <a:pt x="31750" y="69235"/>
                    </a:cubicBezTo>
                    <a:cubicBezTo>
                      <a:pt x="53340" y="109875"/>
                      <a:pt x="184150" y="29230"/>
                      <a:pt x="92075" y="16530"/>
                    </a:cubicBezTo>
                    <a:close/>
                  </a:path>
                </a:pathLst>
              </a:custGeom>
              <a:solidFill>
                <a:srgbClr val="30485C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60" name="Google Shape;494;p8">
                <a:extLst>
                  <a:ext uri="{FF2B5EF4-FFF2-40B4-BE49-F238E27FC236}">
                    <a16:creationId xmlns:a16="http://schemas.microsoft.com/office/drawing/2014/main" id="{3B7AA49C-B52E-45C3-B4F0-5DB3CE9ACE95}"/>
                  </a:ext>
                </a:extLst>
              </p:cNvPr>
              <p:cNvSpPr/>
              <p:nvPr/>
            </p:nvSpPr>
            <p:spPr>
              <a:xfrm>
                <a:off x="6843642" y="3359143"/>
                <a:ext cx="112645" cy="75760"/>
              </a:xfrm>
              <a:custGeom>
                <a:avLst/>
                <a:gdLst/>
                <a:ahLst/>
                <a:cxnLst/>
                <a:rect l="l" t="t" r="r" b="b"/>
                <a:pathLst>
                  <a:path w="130983" h="88093" extrusionOk="0">
                    <a:moveTo>
                      <a:pt x="0" y="22716"/>
                    </a:moveTo>
                    <a:cubicBezTo>
                      <a:pt x="33020" y="8111"/>
                      <a:pt x="162560" y="-29989"/>
                      <a:pt x="123825" y="44941"/>
                    </a:cubicBezTo>
                    <a:cubicBezTo>
                      <a:pt x="67945" y="81136"/>
                      <a:pt x="0" y="130031"/>
                      <a:pt x="0" y="22716"/>
                    </a:cubicBezTo>
                    <a:close/>
                    <a:moveTo>
                      <a:pt x="34289" y="67166"/>
                    </a:moveTo>
                    <a:cubicBezTo>
                      <a:pt x="60325" y="58911"/>
                      <a:pt x="96520" y="46846"/>
                      <a:pt x="102235" y="20176"/>
                    </a:cubicBezTo>
                    <a:cubicBezTo>
                      <a:pt x="74295" y="17636"/>
                      <a:pt x="50164" y="25256"/>
                      <a:pt x="27305" y="37321"/>
                    </a:cubicBezTo>
                    <a:cubicBezTo>
                      <a:pt x="24130" y="49386"/>
                      <a:pt x="24764" y="57641"/>
                      <a:pt x="34289" y="67166"/>
                    </a:cubicBezTo>
                    <a:close/>
                  </a:path>
                </a:pathLst>
              </a:custGeom>
              <a:solidFill>
                <a:srgbClr val="30485C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56" name="Google Shape;495;p8">
              <a:extLst>
                <a:ext uri="{FF2B5EF4-FFF2-40B4-BE49-F238E27FC236}">
                  <a16:creationId xmlns:a16="http://schemas.microsoft.com/office/drawing/2014/main" id="{6F723D16-9CA1-4043-8ACE-CDD24A84CAAE}"/>
                </a:ext>
              </a:extLst>
            </p:cNvPr>
            <p:cNvSpPr/>
            <p:nvPr/>
          </p:nvSpPr>
          <p:spPr>
            <a:xfrm>
              <a:off x="2776508" y="1006744"/>
              <a:ext cx="212021" cy="115156"/>
            </a:xfrm>
            <a:custGeom>
              <a:avLst/>
              <a:gdLst/>
              <a:ahLst/>
              <a:cxnLst/>
              <a:rect l="l" t="t" r="r" b="b"/>
              <a:pathLst>
                <a:path w="550703" h="299106" extrusionOk="0">
                  <a:moveTo>
                    <a:pt x="315400" y="163550"/>
                  </a:moveTo>
                  <a:cubicBezTo>
                    <a:pt x="376995" y="159105"/>
                    <a:pt x="479865" y="221335"/>
                    <a:pt x="505265" y="137515"/>
                  </a:cubicBezTo>
                  <a:cubicBezTo>
                    <a:pt x="521140" y="29565"/>
                    <a:pt x="410015" y="17500"/>
                    <a:pt x="347150" y="85445"/>
                  </a:cubicBezTo>
                  <a:cubicBezTo>
                    <a:pt x="271585" y="162915"/>
                    <a:pt x="215070" y="322300"/>
                    <a:pt x="82355" y="296265"/>
                  </a:cubicBezTo>
                  <a:cubicBezTo>
                    <a:pt x="-122750" y="216255"/>
                    <a:pt x="103945" y="13055"/>
                    <a:pt x="235390" y="104495"/>
                  </a:cubicBezTo>
                  <a:cubicBezTo>
                    <a:pt x="255075" y="120370"/>
                    <a:pt x="243645" y="141960"/>
                    <a:pt x="220150" y="127990"/>
                  </a:cubicBezTo>
                  <a:cubicBezTo>
                    <a:pt x="107120" y="72745"/>
                    <a:pt x="-35755" y="251180"/>
                    <a:pt x="118550" y="248640"/>
                  </a:cubicBezTo>
                  <a:cubicBezTo>
                    <a:pt x="248725" y="211810"/>
                    <a:pt x="274760" y="49885"/>
                    <a:pt x="402395" y="9245"/>
                  </a:cubicBezTo>
                  <a:cubicBezTo>
                    <a:pt x="433510" y="1625"/>
                    <a:pt x="474785" y="-10440"/>
                    <a:pt x="498280" y="17500"/>
                  </a:cubicBezTo>
                  <a:cubicBezTo>
                    <a:pt x="519235" y="48615"/>
                    <a:pt x="559240" y="75920"/>
                    <a:pt x="549080" y="117830"/>
                  </a:cubicBezTo>
                  <a:cubicBezTo>
                    <a:pt x="541460" y="223240"/>
                    <a:pt x="350325" y="257530"/>
                    <a:pt x="315400" y="163550"/>
                  </a:cubicBezTo>
                  <a:close/>
                  <a:moveTo>
                    <a:pt x="128710" y="265785"/>
                  </a:moveTo>
                  <a:cubicBezTo>
                    <a:pt x="119820" y="279120"/>
                    <a:pt x="105215" y="267055"/>
                    <a:pt x="94420" y="274040"/>
                  </a:cubicBezTo>
                  <a:cubicBezTo>
                    <a:pt x="113470" y="281660"/>
                    <a:pt x="117280" y="256260"/>
                    <a:pt x="133790" y="268960"/>
                  </a:cubicBezTo>
                  <a:cubicBezTo>
                    <a:pt x="135060" y="268960"/>
                    <a:pt x="136330" y="267690"/>
                    <a:pt x="137600" y="267055"/>
                  </a:cubicBezTo>
                  <a:cubicBezTo>
                    <a:pt x="134425" y="266420"/>
                    <a:pt x="131885" y="266420"/>
                    <a:pt x="128710" y="265785"/>
                  </a:cubicBezTo>
                  <a:close/>
                  <a:moveTo>
                    <a:pt x="39175" y="164820"/>
                  </a:moveTo>
                  <a:cubicBezTo>
                    <a:pt x="11870" y="209270"/>
                    <a:pt x="25205" y="257530"/>
                    <a:pt x="65210" y="265150"/>
                  </a:cubicBezTo>
                  <a:cubicBezTo>
                    <a:pt x="34730" y="237210"/>
                    <a:pt x="20125" y="205460"/>
                    <a:pt x="39175" y="164820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7" name="Google Shape;496;p8">
              <a:extLst>
                <a:ext uri="{FF2B5EF4-FFF2-40B4-BE49-F238E27FC236}">
                  <a16:creationId xmlns:a16="http://schemas.microsoft.com/office/drawing/2014/main" id="{C4E55DC9-07C5-4BD4-87D7-ECDF770DF217}"/>
                </a:ext>
              </a:extLst>
            </p:cNvPr>
            <p:cNvSpPr/>
            <p:nvPr/>
          </p:nvSpPr>
          <p:spPr>
            <a:xfrm rot="1466637">
              <a:off x="5246242" y="579297"/>
              <a:ext cx="132710" cy="129208"/>
            </a:xfrm>
            <a:custGeom>
              <a:avLst/>
              <a:gdLst/>
              <a:ahLst/>
              <a:cxnLst/>
              <a:rect l="l" t="t" r="r" b="b"/>
              <a:pathLst>
                <a:path w="274579" h="267334" extrusionOk="0">
                  <a:moveTo>
                    <a:pt x="222259" y="167640"/>
                  </a:moveTo>
                  <a:cubicBezTo>
                    <a:pt x="200669" y="206375"/>
                    <a:pt x="227974" y="238760"/>
                    <a:pt x="193049" y="267335"/>
                  </a:cubicBezTo>
                  <a:cubicBezTo>
                    <a:pt x="166379" y="251460"/>
                    <a:pt x="158124" y="217805"/>
                    <a:pt x="132724" y="198755"/>
                  </a:cubicBezTo>
                  <a:cubicBezTo>
                    <a:pt x="50809" y="235585"/>
                    <a:pt x="-626" y="271780"/>
                    <a:pt x="51444" y="151130"/>
                  </a:cubicBezTo>
                  <a:cubicBezTo>
                    <a:pt x="27949" y="105410"/>
                    <a:pt x="-53966" y="71120"/>
                    <a:pt x="55889" y="73660"/>
                  </a:cubicBezTo>
                  <a:cubicBezTo>
                    <a:pt x="107959" y="83820"/>
                    <a:pt x="113674" y="19685"/>
                    <a:pt x="156854" y="0"/>
                  </a:cubicBezTo>
                  <a:cubicBezTo>
                    <a:pt x="186064" y="11430"/>
                    <a:pt x="174634" y="57785"/>
                    <a:pt x="184794" y="83185"/>
                  </a:cubicBezTo>
                  <a:cubicBezTo>
                    <a:pt x="215274" y="124460"/>
                    <a:pt x="346084" y="109220"/>
                    <a:pt x="222259" y="167640"/>
                  </a:cubicBezTo>
                  <a:close/>
                  <a:moveTo>
                    <a:pt x="151774" y="35560"/>
                  </a:moveTo>
                  <a:cubicBezTo>
                    <a:pt x="100339" y="85725"/>
                    <a:pt x="120659" y="93980"/>
                    <a:pt x="39379" y="97790"/>
                  </a:cubicBezTo>
                  <a:cubicBezTo>
                    <a:pt x="53349" y="115570"/>
                    <a:pt x="65414" y="131445"/>
                    <a:pt x="76844" y="146685"/>
                  </a:cubicBezTo>
                  <a:cubicBezTo>
                    <a:pt x="74304" y="165735"/>
                    <a:pt x="60969" y="180340"/>
                    <a:pt x="63509" y="201295"/>
                  </a:cubicBezTo>
                  <a:cubicBezTo>
                    <a:pt x="123199" y="180975"/>
                    <a:pt x="142884" y="154940"/>
                    <a:pt x="178444" y="226695"/>
                  </a:cubicBezTo>
                  <a:cubicBezTo>
                    <a:pt x="181619" y="231140"/>
                    <a:pt x="184794" y="234950"/>
                    <a:pt x="191779" y="231140"/>
                  </a:cubicBezTo>
                  <a:cubicBezTo>
                    <a:pt x="200034" y="175260"/>
                    <a:pt x="182889" y="165735"/>
                    <a:pt x="231784" y="129540"/>
                  </a:cubicBezTo>
                  <a:cubicBezTo>
                    <a:pt x="152409" y="103505"/>
                    <a:pt x="167014" y="113030"/>
                    <a:pt x="151774" y="35560"/>
                  </a:cubicBezTo>
                  <a:close/>
                </a:path>
              </a:pathLst>
            </a:custGeom>
            <a:solidFill>
              <a:srgbClr val="30485C">
                <a:alpha val="201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8018371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85830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/>
              <a:t>Mark placeholder to insert image using the Insert tab – Pictures or from Templaf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59734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18/04/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29470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en-GB" smtClean="0"/>
              <a:t>18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55002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add Name Last name</a:t>
            </a:r>
            <a:br>
              <a:rPr lang="en-GB"/>
            </a:br>
            <a:r>
              <a:rPr lang="en-GB"/>
              <a:t>Job title, Department</a:t>
            </a:r>
            <a:br>
              <a:rPr lang="en-GB"/>
            </a:br>
            <a:r>
              <a:rPr lang="en-GB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866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add Name Last name</a:t>
            </a:r>
            <a:br>
              <a:rPr lang="en-GB"/>
            </a:br>
            <a:r>
              <a:rPr lang="en-GB"/>
              <a:t>Job title, Department</a:t>
            </a:r>
            <a:br>
              <a:rPr lang="en-GB"/>
            </a:br>
            <a:r>
              <a:rPr lang="en-GB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2096728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add Name Last name</a:t>
            </a:r>
            <a:br>
              <a:rPr lang="en-GB"/>
            </a:br>
            <a:r>
              <a:rPr lang="en-GB"/>
              <a:t>Job title, Department</a:t>
            </a:r>
            <a:br>
              <a:rPr lang="en-GB"/>
            </a:br>
            <a:r>
              <a:rPr lang="en-GB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464205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074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826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en-GB" sz="9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en-GB" sz="900" b="0" i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en-GB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en-GB" smtClean="0"/>
              <a:t>18/04/2023</a:t>
            </a:fld>
            <a:endParaRPr lang="en-GB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en-GB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en-GB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 on the arrow next to </a:t>
            </a:r>
            <a:r>
              <a:rPr lang="en-GB" sz="900" b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en-GB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64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7015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000" b="0" noProof="0">
                <a:solidFill>
                  <a:schemeClr val="tx1"/>
                </a:solidFill>
              </a:rPr>
              <a:t>If you see any </a:t>
            </a:r>
            <a:r>
              <a:rPr lang="en-GB" sz="4000" b="1" i="1" noProof="0">
                <a:solidFill>
                  <a:schemeClr val="tx1"/>
                </a:solidFill>
              </a:rPr>
              <a:t>layouts after this </a:t>
            </a:r>
            <a:r>
              <a:rPr lang="en-GB" sz="4000" b="0" i="0" noProof="0">
                <a:solidFill>
                  <a:schemeClr val="tx1"/>
                </a:solidFill>
              </a:rPr>
              <a:t>one</a:t>
            </a:r>
            <a:r>
              <a:rPr lang="en-GB" sz="4000" b="1" i="1" noProof="0">
                <a:solidFill>
                  <a:schemeClr val="tx1"/>
                </a:solidFill>
              </a:rPr>
              <a:t>,</a:t>
            </a:r>
            <a:br>
              <a:rPr lang="en-GB" sz="4000" b="0" i="0" noProof="0">
                <a:solidFill>
                  <a:schemeClr val="tx1"/>
                </a:solidFill>
              </a:rPr>
            </a:br>
            <a:r>
              <a:rPr lang="en-GB" sz="4000" b="0" noProof="0">
                <a:solidFill>
                  <a:schemeClr val="tx1"/>
                </a:solidFill>
              </a:rPr>
              <a:t>do not use them. These layouts </a:t>
            </a:r>
            <a:r>
              <a:rPr lang="en-GB" sz="4000" b="1" i="1" u="none" noProof="0">
                <a:solidFill>
                  <a:schemeClr val="tx1"/>
                </a:solidFill>
              </a:rPr>
              <a:t>are not </a:t>
            </a:r>
            <a:r>
              <a:rPr lang="en-GB" sz="4000" b="0" noProof="0">
                <a:solidFill>
                  <a:schemeClr val="tx1"/>
                </a:solidFill>
              </a:rPr>
              <a:t>part of our corporate template.</a:t>
            </a:r>
            <a:endParaRPr lang="en-GB" sz="2400" b="0" noProof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500" b="1" i="1" noProof="0">
                <a:solidFill>
                  <a:schemeClr val="tx1"/>
                </a:solidFill>
              </a:rPr>
              <a:t>Do not use </a:t>
            </a:r>
            <a:endParaRPr lang="en-GB" sz="2000" b="1" i="1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en-GB" smtClean="0"/>
              <a:t>18/04/2023</a:t>
            </a:fld>
            <a:endParaRPr lang="en-GB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5976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9157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4044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6481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en-GB" smtClean="0"/>
              <a:t>18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475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en-GB" smtClean="0"/>
              <a:t>18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1030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en-GB" smtClean="0"/>
              <a:t>18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716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262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96963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28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162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553665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2322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93307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005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62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474620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830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en-GB" smtClean="0"/>
              <a:t>18/04/2023</a:t>
            </a:fld>
            <a:endParaRPr lang="en-GB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5920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0505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71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56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98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en-GB" smtClean="0"/>
              <a:t>18/04/2023</a:t>
            </a:fld>
            <a:endParaRPr lang="en-GB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51567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en-GB" smtClean="0"/>
              <a:t>18/04/2023</a:t>
            </a:fld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920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33085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1409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en-GB" smtClean="0"/>
              <a:t>18/04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9627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5980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6435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083077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21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21732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en-GB" smtClean="0"/>
              <a:t>18/04/2023</a:t>
            </a:fld>
            <a:endParaRPr lang="en-GB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7476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293249" y="4187860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2"/>
                </a:solidFill>
              </a:rPr>
              <a:t>Ramboll</a:t>
            </a:r>
          </a:p>
        </p:txBody>
      </p:sp>
      <p:grpSp>
        <p:nvGrpSpPr>
          <p:cNvPr id="9" name="Google Shape;112;p3">
            <a:extLst>
              <a:ext uri="{FF2B5EF4-FFF2-40B4-BE49-F238E27FC236}">
                <a16:creationId xmlns:a16="http://schemas.microsoft.com/office/drawing/2014/main" id="{07CC82E2-09C1-4622-A41A-D1941B226DC3}"/>
              </a:ext>
            </a:extLst>
          </p:cNvPr>
          <p:cNvGrpSpPr/>
          <p:nvPr userDrawn="1"/>
        </p:nvGrpSpPr>
        <p:grpSpPr>
          <a:xfrm>
            <a:off x="-31721" y="-76368"/>
            <a:ext cx="12255441" cy="7160172"/>
            <a:chOff x="-83913" y="-168653"/>
            <a:chExt cx="9288757" cy="5426904"/>
          </a:xfrm>
        </p:grpSpPr>
        <p:sp>
          <p:nvSpPr>
            <p:cNvPr id="10" name="Google Shape;113;p3">
              <a:extLst>
                <a:ext uri="{FF2B5EF4-FFF2-40B4-BE49-F238E27FC236}">
                  <a16:creationId xmlns:a16="http://schemas.microsoft.com/office/drawing/2014/main" id="{92B86184-6952-451E-8923-D1FFF61F2739}"/>
                </a:ext>
              </a:extLst>
            </p:cNvPr>
            <p:cNvSpPr/>
            <p:nvPr/>
          </p:nvSpPr>
          <p:spPr>
            <a:xfrm>
              <a:off x="3901992" y="271731"/>
              <a:ext cx="499650" cy="704779"/>
            </a:xfrm>
            <a:custGeom>
              <a:avLst/>
              <a:gdLst/>
              <a:ahLst/>
              <a:cxnLst/>
              <a:rect l="l" t="t" r="r" b="b"/>
              <a:pathLst>
                <a:path w="580988" h="819510" extrusionOk="0">
                  <a:moveTo>
                    <a:pt x="261759" y="635000"/>
                  </a:moveTo>
                  <a:cubicBezTo>
                    <a:pt x="260489" y="670560"/>
                    <a:pt x="259854" y="707390"/>
                    <a:pt x="258584" y="743585"/>
                  </a:cubicBezTo>
                  <a:cubicBezTo>
                    <a:pt x="292874" y="774065"/>
                    <a:pt x="337324" y="753745"/>
                    <a:pt x="370344" y="778510"/>
                  </a:cubicBezTo>
                  <a:cubicBezTo>
                    <a:pt x="388124" y="796290"/>
                    <a:pt x="360184" y="805815"/>
                    <a:pt x="345579" y="806450"/>
                  </a:cubicBezTo>
                  <a:cubicBezTo>
                    <a:pt x="281444" y="810895"/>
                    <a:pt x="120154" y="844550"/>
                    <a:pt x="84594" y="782320"/>
                  </a:cubicBezTo>
                  <a:cubicBezTo>
                    <a:pt x="104914" y="743585"/>
                    <a:pt x="160159" y="739140"/>
                    <a:pt x="200164" y="733425"/>
                  </a:cubicBezTo>
                  <a:cubicBezTo>
                    <a:pt x="208419" y="702310"/>
                    <a:pt x="212229" y="670560"/>
                    <a:pt x="214769" y="636905"/>
                  </a:cubicBezTo>
                  <a:cubicBezTo>
                    <a:pt x="180479" y="630555"/>
                    <a:pt x="21729" y="575945"/>
                    <a:pt x="35064" y="537210"/>
                  </a:cubicBezTo>
                  <a:cubicBezTo>
                    <a:pt x="45859" y="514985"/>
                    <a:pt x="66179" y="514985"/>
                    <a:pt x="85864" y="524510"/>
                  </a:cubicBezTo>
                  <a:cubicBezTo>
                    <a:pt x="101739" y="527685"/>
                    <a:pt x="102374" y="527685"/>
                    <a:pt x="110629" y="506730"/>
                  </a:cubicBezTo>
                  <a:cubicBezTo>
                    <a:pt x="-130036" y="377825"/>
                    <a:pt x="62369" y="18415"/>
                    <a:pt x="303034" y="81280"/>
                  </a:cubicBezTo>
                  <a:cubicBezTo>
                    <a:pt x="336054" y="60325"/>
                    <a:pt x="301764" y="19050"/>
                    <a:pt x="337959" y="0"/>
                  </a:cubicBezTo>
                  <a:cubicBezTo>
                    <a:pt x="712609" y="106045"/>
                    <a:pt x="628154" y="591820"/>
                    <a:pt x="261759" y="635000"/>
                  </a:cubicBezTo>
                  <a:close/>
                  <a:moveTo>
                    <a:pt x="499884" y="133350"/>
                  </a:moveTo>
                  <a:cubicBezTo>
                    <a:pt x="496709" y="130810"/>
                    <a:pt x="494169" y="128905"/>
                    <a:pt x="490994" y="126365"/>
                  </a:cubicBezTo>
                  <a:cubicBezTo>
                    <a:pt x="486549" y="104775"/>
                    <a:pt x="434479" y="60960"/>
                    <a:pt x="410349" y="62865"/>
                  </a:cubicBezTo>
                  <a:cubicBezTo>
                    <a:pt x="432574" y="86360"/>
                    <a:pt x="460514" y="116205"/>
                    <a:pt x="490994" y="125730"/>
                  </a:cubicBezTo>
                  <a:cubicBezTo>
                    <a:pt x="496074" y="130810"/>
                    <a:pt x="508774" y="133350"/>
                    <a:pt x="503694" y="142240"/>
                  </a:cubicBezTo>
                  <a:cubicBezTo>
                    <a:pt x="556399" y="230505"/>
                    <a:pt x="555764" y="327025"/>
                    <a:pt x="531634" y="424815"/>
                  </a:cubicBezTo>
                  <a:cubicBezTo>
                    <a:pt x="461784" y="501650"/>
                    <a:pt x="409079" y="557530"/>
                    <a:pt x="303669" y="596265"/>
                  </a:cubicBezTo>
                  <a:cubicBezTo>
                    <a:pt x="379869" y="597535"/>
                    <a:pt x="484644" y="531495"/>
                    <a:pt x="502424" y="456565"/>
                  </a:cubicBezTo>
                  <a:cubicBezTo>
                    <a:pt x="528459" y="450850"/>
                    <a:pt x="532904" y="424180"/>
                    <a:pt x="534174" y="401955"/>
                  </a:cubicBezTo>
                  <a:cubicBezTo>
                    <a:pt x="576719" y="365760"/>
                    <a:pt x="577354" y="186055"/>
                    <a:pt x="515759" y="169545"/>
                  </a:cubicBezTo>
                  <a:cubicBezTo>
                    <a:pt x="510679" y="167005"/>
                    <a:pt x="506234" y="163830"/>
                    <a:pt x="508774" y="156845"/>
                  </a:cubicBezTo>
                  <a:cubicBezTo>
                    <a:pt x="506234" y="149225"/>
                    <a:pt x="503694" y="140970"/>
                    <a:pt x="499884" y="133350"/>
                  </a:cubicBezTo>
                  <a:close/>
                  <a:moveTo>
                    <a:pt x="436384" y="353060"/>
                  </a:moveTo>
                  <a:cubicBezTo>
                    <a:pt x="407174" y="354330"/>
                    <a:pt x="381774" y="360680"/>
                    <a:pt x="357009" y="374650"/>
                  </a:cubicBezTo>
                  <a:cubicBezTo>
                    <a:pt x="315099" y="355600"/>
                    <a:pt x="231914" y="308610"/>
                    <a:pt x="218579" y="382905"/>
                  </a:cubicBezTo>
                  <a:cubicBezTo>
                    <a:pt x="273824" y="443230"/>
                    <a:pt x="255409" y="433070"/>
                    <a:pt x="251599" y="511175"/>
                  </a:cubicBezTo>
                  <a:cubicBezTo>
                    <a:pt x="299224" y="529590"/>
                    <a:pt x="336689" y="398145"/>
                    <a:pt x="367169" y="370205"/>
                  </a:cubicBezTo>
                  <a:cubicBezTo>
                    <a:pt x="385584" y="381635"/>
                    <a:pt x="386854" y="407035"/>
                    <a:pt x="405269" y="418465"/>
                  </a:cubicBezTo>
                  <a:cubicBezTo>
                    <a:pt x="433844" y="408305"/>
                    <a:pt x="393204" y="377190"/>
                    <a:pt x="412254" y="367030"/>
                  </a:cubicBezTo>
                  <a:cubicBezTo>
                    <a:pt x="416699" y="370840"/>
                    <a:pt x="421144" y="375285"/>
                    <a:pt x="424954" y="379095"/>
                  </a:cubicBezTo>
                  <a:cubicBezTo>
                    <a:pt x="441464" y="362585"/>
                    <a:pt x="432574" y="347345"/>
                    <a:pt x="445909" y="325755"/>
                  </a:cubicBezTo>
                  <a:cubicBezTo>
                    <a:pt x="430034" y="335280"/>
                    <a:pt x="435114" y="344805"/>
                    <a:pt x="436384" y="353060"/>
                  </a:cubicBezTo>
                  <a:close/>
                  <a:moveTo>
                    <a:pt x="230009" y="513715"/>
                  </a:moveTo>
                  <a:cubicBezTo>
                    <a:pt x="255409" y="407035"/>
                    <a:pt x="231279" y="448310"/>
                    <a:pt x="205244" y="394335"/>
                  </a:cubicBezTo>
                  <a:cubicBezTo>
                    <a:pt x="189369" y="314325"/>
                    <a:pt x="283349" y="313055"/>
                    <a:pt x="332879" y="344805"/>
                  </a:cubicBezTo>
                  <a:cubicBezTo>
                    <a:pt x="358914" y="363855"/>
                    <a:pt x="376694" y="337820"/>
                    <a:pt x="403364" y="332105"/>
                  </a:cubicBezTo>
                  <a:cubicBezTo>
                    <a:pt x="402094" y="320675"/>
                    <a:pt x="411619" y="307975"/>
                    <a:pt x="402094" y="296545"/>
                  </a:cubicBezTo>
                  <a:cubicBezTo>
                    <a:pt x="353199" y="279400"/>
                    <a:pt x="317004" y="340360"/>
                    <a:pt x="268109" y="302260"/>
                  </a:cubicBezTo>
                  <a:cubicBezTo>
                    <a:pt x="269379" y="285115"/>
                    <a:pt x="264934" y="267335"/>
                    <a:pt x="270649" y="250190"/>
                  </a:cubicBezTo>
                  <a:cubicBezTo>
                    <a:pt x="300494" y="255270"/>
                    <a:pt x="300494" y="255270"/>
                    <a:pt x="325894" y="247650"/>
                  </a:cubicBezTo>
                  <a:cubicBezTo>
                    <a:pt x="323989" y="200025"/>
                    <a:pt x="376694" y="215265"/>
                    <a:pt x="358279" y="186055"/>
                  </a:cubicBezTo>
                  <a:cubicBezTo>
                    <a:pt x="304939" y="220345"/>
                    <a:pt x="315099" y="162560"/>
                    <a:pt x="344944" y="137795"/>
                  </a:cubicBezTo>
                  <a:cubicBezTo>
                    <a:pt x="302399" y="85725"/>
                    <a:pt x="217944" y="74930"/>
                    <a:pt x="165239" y="116205"/>
                  </a:cubicBezTo>
                  <a:cubicBezTo>
                    <a:pt x="174129" y="136525"/>
                    <a:pt x="202704" y="120650"/>
                    <a:pt x="210324" y="145415"/>
                  </a:cubicBezTo>
                  <a:cubicBezTo>
                    <a:pt x="183019" y="164465"/>
                    <a:pt x="149364" y="167640"/>
                    <a:pt x="120154" y="178435"/>
                  </a:cubicBezTo>
                  <a:cubicBezTo>
                    <a:pt x="119519" y="249555"/>
                    <a:pt x="77609" y="200660"/>
                    <a:pt x="53479" y="242570"/>
                  </a:cubicBezTo>
                  <a:cubicBezTo>
                    <a:pt x="52844" y="280670"/>
                    <a:pt x="111899" y="318770"/>
                    <a:pt x="89674" y="349885"/>
                  </a:cubicBezTo>
                  <a:cubicBezTo>
                    <a:pt x="61734" y="365760"/>
                    <a:pt x="50939" y="386080"/>
                    <a:pt x="61734" y="417830"/>
                  </a:cubicBezTo>
                  <a:cubicBezTo>
                    <a:pt x="66814" y="497840"/>
                    <a:pt x="167779" y="506730"/>
                    <a:pt x="230009" y="513715"/>
                  </a:cubicBezTo>
                  <a:close/>
                  <a:moveTo>
                    <a:pt x="146824" y="548005"/>
                  </a:moveTo>
                  <a:cubicBezTo>
                    <a:pt x="246519" y="612140"/>
                    <a:pt x="365264" y="559435"/>
                    <a:pt x="444639" y="488315"/>
                  </a:cubicBezTo>
                  <a:cubicBezTo>
                    <a:pt x="592594" y="370205"/>
                    <a:pt x="534809" y="123190"/>
                    <a:pt x="361454" y="66040"/>
                  </a:cubicBezTo>
                  <a:cubicBezTo>
                    <a:pt x="356374" y="76200"/>
                    <a:pt x="351929" y="86995"/>
                    <a:pt x="347484" y="97155"/>
                  </a:cubicBezTo>
                  <a:cubicBezTo>
                    <a:pt x="399554" y="145415"/>
                    <a:pt x="445274" y="203835"/>
                    <a:pt x="470039" y="269875"/>
                  </a:cubicBezTo>
                  <a:cubicBezTo>
                    <a:pt x="482739" y="398145"/>
                    <a:pt x="370979" y="535940"/>
                    <a:pt x="239534" y="533400"/>
                  </a:cubicBezTo>
                  <a:cubicBezTo>
                    <a:pt x="208419" y="534670"/>
                    <a:pt x="155714" y="500380"/>
                    <a:pt x="146824" y="548005"/>
                  </a:cubicBezTo>
                  <a:close/>
                  <a:moveTo>
                    <a:pt x="349389" y="258445"/>
                  </a:moveTo>
                  <a:cubicBezTo>
                    <a:pt x="328434" y="275590"/>
                    <a:pt x="303034" y="261620"/>
                    <a:pt x="280174" y="271145"/>
                  </a:cubicBezTo>
                  <a:cubicBezTo>
                    <a:pt x="280809" y="276225"/>
                    <a:pt x="280809" y="282575"/>
                    <a:pt x="281444" y="287655"/>
                  </a:cubicBezTo>
                  <a:cubicBezTo>
                    <a:pt x="318909" y="297815"/>
                    <a:pt x="320814" y="297815"/>
                    <a:pt x="345579" y="276225"/>
                  </a:cubicBezTo>
                  <a:cubicBezTo>
                    <a:pt x="369709" y="259080"/>
                    <a:pt x="380504" y="287655"/>
                    <a:pt x="414159" y="257175"/>
                  </a:cubicBezTo>
                  <a:cubicBezTo>
                    <a:pt x="501154" y="334010"/>
                    <a:pt x="394474" y="136525"/>
                    <a:pt x="369709" y="156845"/>
                  </a:cubicBezTo>
                  <a:cubicBezTo>
                    <a:pt x="384314" y="175895"/>
                    <a:pt x="384314" y="196850"/>
                    <a:pt x="379234" y="217805"/>
                  </a:cubicBezTo>
                  <a:cubicBezTo>
                    <a:pt x="368439" y="223520"/>
                    <a:pt x="359549" y="227965"/>
                    <a:pt x="349389" y="233045"/>
                  </a:cubicBezTo>
                  <a:cubicBezTo>
                    <a:pt x="349389" y="241935"/>
                    <a:pt x="349389" y="250190"/>
                    <a:pt x="349389" y="258445"/>
                  </a:cubicBezTo>
                  <a:close/>
                  <a:moveTo>
                    <a:pt x="311289" y="781685"/>
                  </a:moveTo>
                  <a:cubicBezTo>
                    <a:pt x="221754" y="765175"/>
                    <a:pt x="239534" y="797560"/>
                    <a:pt x="234454" y="698500"/>
                  </a:cubicBezTo>
                  <a:cubicBezTo>
                    <a:pt x="219214" y="720090"/>
                    <a:pt x="230644" y="746125"/>
                    <a:pt x="213499" y="765175"/>
                  </a:cubicBezTo>
                  <a:cubicBezTo>
                    <a:pt x="205244" y="761365"/>
                    <a:pt x="196989" y="756920"/>
                    <a:pt x="189369" y="753745"/>
                  </a:cubicBezTo>
                  <a:cubicBezTo>
                    <a:pt x="132854" y="764540"/>
                    <a:pt x="122694" y="769620"/>
                    <a:pt x="115709" y="788035"/>
                  </a:cubicBezTo>
                  <a:cubicBezTo>
                    <a:pt x="178574" y="794385"/>
                    <a:pt x="254774" y="810895"/>
                    <a:pt x="311289" y="781685"/>
                  </a:cubicBezTo>
                  <a:close/>
                  <a:moveTo>
                    <a:pt x="34429" y="252095"/>
                  </a:moveTo>
                  <a:cubicBezTo>
                    <a:pt x="6489" y="302895"/>
                    <a:pt x="9664" y="356870"/>
                    <a:pt x="39509" y="404495"/>
                  </a:cubicBezTo>
                  <a:cubicBezTo>
                    <a:pt x="31889" y="368935"/>
                    <a:pt x="53479" y="352425"/>
                    <a:pt x="78879" y="331470"/>
                  </a:cubicBezTo>
                  <a:cubicBezTo>
                    <a:pt x="64909" y="305435"/>
                    <a:pt x="50939" y="281305"/>
                    <a:pt x="34429" y="252095"/>
                  </a:cubicBezTo>
                  <a:close/>
                  <a:moveTo>
                    <a:pt x="259854" y="602615"/>
                  </a:moveTo>
                  <a:cubicBezTo>
                    <a:pt x="205879" y="591185"/>
                    <a:pt x="151269" y="582930"/>
                    <a:pt x="104279" y="551815"/>
                  </a:cubicBezTo>
                  <a:cubicBezTo>
                    <a:pt x="93484" y="545465"/>
                    <a:pt x="82689" y="538480"/>
                    <a:pt x="66179" y="544195"/>
                  </a:cubicBezTo>
                  <a:cubicBezTo>
                    <a:pt x="116979" y="590550"/>
                    <a:pt x="191909" y="628650"/>
                    <a:pt x="259854" y="602615"/>
                  </a:cubicBezTo>
                  <a:close/>
                  <a:moveTo>
                    <a:pt x="372249" y="408940"/>
                  </a:moveTo>
                  <a:cubicBezTo>
                    <a:pt x="360184" y="434975"/>
                    <a:pt x="317639" y="460375"/>
                    <a:pt x="330974" y="486410"/>
                  </a:cubicBezTo>
                  <a:cubicBezTo>
                    <a:pt x="354469" y="474345"/>
                    <a:pt x="376059" y="459105"/>
                    <a:pt x="390029" y="434975"/>
                  </a:cubicBezTo>
                  <a:cubicBezTo>
                    <a:pt x="387489" y="422910"/>
                    <a:pt x="383044" y="414020"/>
                    <a:pt x="372249" y="408940"/>
                  </a:cubicBezTo>
                  <a:close/>
                  <a:moveTo>
                    <a:pt x="172859" y="144145"/>
                  </a:moveTo>
                  <a:cubicBezTo>
                    <a:pt x="151904" y="118745"/>
                    <a:pt x="120154" y="129540"/>
                    <a:pt x="109994" y="155575"/>
                  </a:cubicBezTo>
                  <a:cubicBezTo>
                    <a:pt x="132854" y="161925"/>
                    <a:pt x="150634" y="152400"/>
                    <a:pt x="172859" y="144145"/>
                  </a:cubicBezTo>
                  <a:close/>
                  <a:moveTo>
                    <a:pt x="92214" y="161290"/>
                  </a:moveTo>
                  <a:cubicBezTo>
                    <a:pt x="76339" y="176530"/>
                    <a:pt x="62369" y="186690"/>
                    <a:pt x="59829" y="206375"/>
                  </a:cubicBezTo>
                  <a:cubicBezTo>
                    <a:pt x="106184" y="216535"/>
                    <a:pt x="99834" y="196215"/>
                    <a:pt x="92214" y="161290"/>
                  </a:cubicBezTo>
                  <a:close/>
                  <a:moveTo>
                    <a:pt x="342404" y="28575"/>
                  </a:moveTo>
                  <a:cubicBezTo>
                    <a:pt x="351294" y="37465"/>
                    <a:pt x="362089" y="39370"/>
                    <a:pt x="374154" y="41910"/>
                  </a:cubicBezTo>
                  <a:cubicBezTo>
                    <a:pt x="362089" y="22860"/>
                    <a:pt x="362089" y="22860"/>
                    <a:pt x="342404" y="285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2" name="Google Shape;114;p3">
              <a:extLst>
                <a:ext uri="{FF2B5EF4-FFF2-40B4-BE49-F238E27FC236}">
                  <a16:creationId xmlns:a16="http://schemas.microsoft.com/office/drawing/2014/main" id="{C71AF609-7BB7-450F-A8AB-E493826AA9E9}"/>
                </a:ext>
              </a:extLst>
            </p:cNvPr>
            <p:cNvSpPr/>
            <p:nvPr/>
          </p:nvSpPr>
          <p:spPr>
            <a:xfrm>
              <a:off x="-73851" y="4335362"/>
              <a:ext cx="601266" cy="549535"/>
            </a:xfrm>
            <a:custGeom>
              <a:avLst/>
              <a:gdLst/>
              <a:ahLst/>
              <a:cxnLst/>
              <a:rect l="l" t="t" r="r" b="b"/>
              <a:pathLst>
                <a:path w="699146" h="638994" extrusionOk="0">
                  <a:moveTo>
                    <a:pt x="334626" y="637812"/>
                  </a:moveTo>
                  <a:cubicBezTo>
                    <a:pt x="189211" y="651782"/>
                    <a:pt x="48876" y="540022"/>
                    <a:pt x="13317" y="404132"/>
                  </a:cubicBezTo>
                  <a:cubicBezTo>
                    <a:pt x="-46374" y="233317"/>
                    <a:pt x="105392" y="76472"/>
                    <a:pt x="253981" y="15512"/>
                  </a:cubicBezTo>
                  <a:cubicBezTo>
                    <a:pt x="395586" y="-39733"/>
                    <a:pt x="599422" y="61232"/>
                    <a:pt x="675622" y="181882"/>
                  </a:cubicBezTo>
                  <a:cubicBezTo>
                    <a:pt x="770236" y="397782"/>
                    <a:pt x="563861" y="655592"/>
                    <a:pt x="334626" y="637812"/>
                  </a:cubicBezTo>
                  <a:close/>
                  <a:moveTo>
                    <a:pt x="613392" y="131082"/>
                  </a:moveTo>
                  <a:lnTo>
                    <a:pt x="611486" y="131082"/>
                  </a:lnTo>
                  <a:lnTo>
                    <a:pt x="613392" y="131082"/>
                  </a:lnTo>
                  <a:cubicBezTo>
                    <a:pt x="570211" y="82187"/>
                    <a:pt x="497822" y="81552"/>
                    <a:pt x="458451" y="32657"/>
                  </a:cubicBezTo>
                  <a:cubicBezTo>
                    <a:pt x="373361" y="9162"/>
                    <a:pt x="331451" y="164102"/>
                    <a:pt x="314306" y="226967"/>
                  </a:cubicBezTo>
                  <a:cubicBezTo>
                    <a:pt x="346056" y="228872"/>
                    <a:pt x="373997" y="225697"/>
                    <a:pt x="403206" y="239667"/>
                  </a:cubicBezTo>
                  <a:cubicBezTo>
                    <a:pt x="474961" y="249192"/>
                    <a:pt x="436226" y="145052"/>
                    <a:pt x="613392" y="131082"/>
                  </a:cubicBezTo>
                  <a:close/>
                  <a:moveTo>
                    <a:pt x="497822" y="580662"/>
                  </a:moveTo>
                  <a:cubicBezTo>
                    <a:pt x="403206" y="503192"/>
                    <a:pt x="376536" y="373017"/>
                    <a:pt x="411461" y="262527"/>
                  </a:cubicBezTo>
                  <a:cubicBezTo>
                    <a:pt x="356217" y="241572"/>
                    <a:pt x="351136" y="240937"/>
                    <a:pt x="305417" y="250462"/>
                  </a:cubicBezTo>
                  <a:cubicBezTo>
                    <a:pt x="280017" y="369207"/>
                    <a:pt x="273667" y="510812"/>
                    <a:pt x="327006" y="621937"/>
                  </a:cubicBezTo>
                  <a:cubicBezTo>
                    <a:pt x="389236" y="628922"/>
                    <a:pt x="468611" y="609872"/>
                    <a:pt x="497822" y="580662"/>
                  </a:cubicBezTo>
                  <a:close/>
                  <a:moveTo>
                    <a:pt x="224136" y="244747"/>
                  </a:moveTo>
                  <a:cubicBezTo>
                    <a:pt x="207626" y="345077"/>
                    <a:pt x="129522" y="414927"/>
                    <a:pt x="60306" y="475887"/>
                  </a:cubicBezTo>
                  <a:cubicBezTo>
                    <a:pt x="118726" y="541927"/>
                    <a:pt x="194926" y="632732"/>
                    <a:pt x="292717" y="618762"/>
                  </a:cubicBezTo>
                  <a:cubicBezTo>
                    <a:pt x="262872" y="495572"/>
                    <a:pt x="258426" y="366667"/>
                    <a:pt x="280017" y="240937"/>
                  </a:cubicBezTo>
                  <a:cubicBezTo>
                    <a:pt x="259697" y="230142"/>
                    <a:pt x="242551" y="238397"/>
                    <a:pt x="224136" y="244747"/>
                  </a:cubicBezTo>
                  <a:close/>
                  <a:moveTo>
                    <a:pt x="634347" y="444137"/>
                  </a:moveTo>
                  <a:cubicBezTo>
                    <a:pt x="599422" y="357142"/>
                    <a:pt x="534017" y="297452"/>
                    <a:pt x="445117" y="264432"/>
                  </a:cubicBezTo>
                  <a:cubicBezTo>
                    <a:pt x="379711" y="353332"/>
                    <a:pt x="426067" y="494937"/>
                    <a:pt x="506076" y="560342"/>
                  </a:cubicBezTo>
                  <a:cubicBezTo>
                    <a:pt x="565767" y="583202"/>
                    <a:pt x="602597" y="482237"/>
                    <a:pt x="634347" y="444137"/>
                  </a:cubicBezTo>
                  <a:close/>
                  <a:moveTo>
                    <a:pt x="647681" y="409847"/>
                  </a:moveTo>
                  <a:cubicBezTo>
                    <a:pt x="694672" y="340632"/>
                    <a:pt x="688956" y="242207"/>
                    <a:pt x="647681" y="173627"/>
                  </a:cubicBezTo>
                  <a:cubicBezTo>
                    <a:pt x="591167" y="110762"/>
                    <a:pt x="481947" y="178072"/>
                    <a:pt x="458451" y="242842"/>
                  </a:cubicBezTo>
                  <a:cubicBezTo>
                    <a:pt x="527667" y="293642"/>
                    <a:pt x="607677" y="325392"/>
                    <a:pt x="647681" y="409847"/>
                  </a:cubicBezTo>
                  <a:close/>
                  <a:moveTo>
                    <a:pt x="290176" y="219982"/>
                  </a:moveTo>
                  <a:cubicBezTo>
                    <a:pt x="307956" y="145052"/>
                    <a:pt x="356851" y="82187"/>
                    <a:pt x="383522" y="14877"/>
                  </a:cubicBezTo>
                  <a:cubicBezTo>
                    <a:pt x="335261" y="-4808"/>
                    <a:pt x="213976" y="38372"/>
                    <a:pt x="172701" y="84092"/>
                  </a:cubicBezTo>
                  <a:cubicBezTo>
                    <a:pt x="215881" y="116477"/>
                    <a:pt x="213976" y="171087"/>
                    <a:pt x="222231" y="219982"/>
                  </a:cubicBezTo>
                  <a:cubicBezTo>
                    <a:pt x="244456" y="219982"/>
                    <a:pt x="265411" y="219982"/>
                    <a:pt x="290176" y="219982"/>
                  </a:cubicBezTo>
                  <a:close/>
                  <a:moveTo>
                    <a:pt x="194292" y="240302"/>
                  </a:moveTo>
                  <a:cubicBezTo>
                    <a:pt x="140317" y="229507"/>
                    <a:pt x="82531" y="254907"/>
                    <a:pt x="34906" y="279037"/>
                  </a:cubicBezTo>
                  <a:cubicBezTo>
                    <a:pt x="-1924" y="324122"/>
                    <a:pt x="29192" y="402227"/>
                    <a:pt x="50781" y="449217"/>
                  </a:cubicBezTo>
                  <a:cubicBezTo>
                    <a:pt x="120631" y="414927"/>
                    <a:pt x="199372" y="320947"/>
                    <a:pt x="194292" y="240302"/>
                  </a:cubicBezTo>
                  <a:close/>
                  <a:moveTo>
                    <a:pt x="147936" y="100602"/>
                  </a:moveTo>
                  <a:cubicBezTo>
                    <a:pt x="98406" y="135527"/>
                    <a:pt x="46972" y="193947"/>
                    <a:pt x="38081" y="253637"/>
                  </a:cubicBezTo>
                  <a:cubicBezTo>
                    <a:pt x="88881" y="228237"/>
                    <a:pt x="141586" y="224427"/>
                    <a:pt x="193656" y="217442"/>
                  </a:cubicBezTo>
                  <a:cubicBezTo>
                    <a:pt x="200642" y="176167"/>
                    <a:pt x="195561" y="112032"/>
                    <a:pt x="147936" y="1006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3" name="Google Shape;115;p3">
              <a:extLst>
                <a:ext uri="{FF2B5EF4-FFF2-40B4-BE49-F238E27FC236}">
                  <a16:creationId xmlns:a16="http://schemas.microsoft.com/office/drawing/2014/main" id="{AED2F901-8026-448D-A349-9CA72B883ABC}"/>
                </a:ext>
              </a:extLst>
            </p:cNvPr>
            <p:cNvSpPr/>
            <p:nvPr/>
          </p:nvSpPr>
          <p:spPr>
            <a:xfrm rot="2001982">
              <a:off x="136143" y="2216866"/>
              <a:ext cx="321474" cy="709766"/>
            </a:xfrm>
            <a:custGeom>
              <a:avLst/>
              <a:gdLst/>
              <a:ahLst/>
              <a:cxnLst/>
              <a:rect l="l" t="t" r="r" b="b"/>
              <a:pathLst>
                <a:path w="374196" h="826169" extrusionOk="0">
                  <a:moveTo>
                    <a:pt x="319578" y="542496"/>
                  </a:moveTo>
                  <a:cubicBezTo>
                    <a:pt x="337993" y="538051"/>
                    <a:pt x="360853" y="525986"/>
                    <a:pt x="365933" y="549481"/>
                  </a:cubicBezTo>
                  <a:cubicBezTo>
                    <a:pt x="372283" y="584406"/>
                    <a:pt x="389428" y="625046"/>
                    <a:pt x="341803" y="634571"/>
                  </a:cubicBezTo>
                  <a:cubicBezTo>
                    <a:pt x="344978" y="696801"/>
                    <a:pt x="374823" y="756491"/>
                    <a:pt x="362758" y="819356"/>
                  </a:cubicBezTo>
                  <a:cubicBezTo>
                    <a:pt x="256078" y="683466"/>
                    <a:pt x="252268" y="452961"/>
                    <a:pt x="169718" y="289131"/>
                  </a:cubicBezTo>
                  <a:cubicBezTo>
                    <a:pt x="120823" y="395176"/>
                    <a:pt x="-22052" y="1176861"/>
                    <a:pt x="34463" y="639016"/>
                  </a:cubicBezTo>
                  <a:cubicBezTo>
                    <a:pt x="31288" y="635206"/>
                    <a:pt x="30018" y="632666"/>
                    <a:pt x="28113" y="632666"/>
                  </a:cubicBezTo>
                  <a:cubicBezTo>
                    <a:pt x="-23957" y="623141"/>
                    <a:pt x="12873" y="572341"/>
                    <a:pt x="9698" y="536146"/>
                  </a:cubicBezTo>
                  <a:cubicBezTo>
                    <a:pt x="20493" y="531066"/>
                    <a:pt x="35098" y="532336"/>
                    <a:pt x="47163" y="534241"/>
                  </a:cubicBezTo>
                  <a:cubicBezTo>
                    <a:pt x="79548" y="416131"/>
                    <a:pt x="89708" y="287226"/>
                    <a:pt x="105583" y="164036"/>
                  </a:cubicBezTo>
                  <a:cubicBezTo>
                    <a:pt x="103043" y="132286"/>
                    <a:pt x="128443" y="141811"/>
                    <a:pt x="150033" y="136731"/>
                  </a:cubicBezTo>
                  <a:cubicBezTo>
                    <a:pt x="148128" y="119586"/>
                    <a:pt x="111933" y="3381"/>
                    <a:pt x="143683" y="4016"/>
                  </a:cubicBezTo>
                  <a:cubicBezTo>
                    <a:pt x="226868" y="-22019"/>
                    <a:pt x="207183" y="85296"/>
                    <a:pt x="187498" y="131651"/>
                  </a:cubicBezTo>
                  <a:cubicBezTo>
                    <a:pt x="214168" y="144351"/>
                    <a:pt x="240838" y="139906"/>
                    <a:pt x="242743" y="179911"/>
                  </a:cubicBezTo>
                  <a:cubicBezTo>
                    <a:pt x="263063" y="301196"/>
                    <a:pt x="290368" y="422481"/>
                    <a:pt x="319578" y="542496"/>
                  </a:cubicBezTo>
                  <a:close/>
                  <a:moveTo>
                    <a:pt x="311323" y="649811"/>
                  </a:moveTo>
                  <a:cubicBezTo>
                    <a:pt x="294178" y="503126"/>
                    <a:pt x="253538" y="351996"/>
                    <a:pt x="217978" y="207851"/>
                  </a:cubicBezTo>
                  <a:cubicBezTo>
                    <a:pt x="200833" y="217376"/>
                    <a:pt x="197658" y="242776"/>
                    <a:pt x="186228" y="258651"/>
                  </a:cubicBezTo>
                  <a:cubicBezTo>
                    <a:pt x="236393" y="387556"/>
                    <a:pt x="258618" y="523446"/>
                    <a:pt x="311323" y="649811"/>
                  </a:cubicBezTo>
                  <a:close/>
                  <a:moveTo>
                    <a:pt x="77643" y="517731"/>
                  </a:moveTo>
                  <a:cubicBezTo>
                    <a:pt x="112568" y="444071"/>
                    <a:pt x="112568" y="363426"/>
                    <a:pt x="141778" y="288496"/>
                  </a:cubicBezTo>
                  <a:cubicBezTo>
                    <a:pt x="153208" y="259921"/>
                    <a:pt x="143048" y="230711"/>
                    <a:pt x="123998" y="208486"/>
                  </a:cubicBezTo>
                  <a:cubicBezTo>
                    <a:pt x="100503" y="312626"/>
                    <a:pt x="94788" y="412956"/>
                    <a:pt x="77643" y="517731"/>
                  </a:cubicBezTo>
                  <a:close/>
                  <a:moveTo>
                    <a:pt x="166543" y="240871"/>
                  </a:moveTo>
                  <a:cubicBezTo>
                    <a:pt x="183053" y="211026"/>
                    <a:pt x="205913" y="190706"/>
                    <a:pt x="204008" y="160861"/>
                  </a:cubicBezTo>
                  <a:cubicBezTo>
                    <a:pt x="175433" y="152606"/>
                    <a:pt x="167813" y="152606"/>
                    <a:pt x="141778" y="164671"/>
                  </a:cubicBezTo>
                  <a:cubicBezTo>
                    <a:pt x="145588" y="188801"/>
                    <a:pt x="154478" y="211661"/>
                    <a:pt x="166543" y="240871"/>
                  </a:cubicBezTo>
                  <a:close/>
                  <a:moveTo>
                    <a:pt x="171623" y="104346"/>
                  </a:moveTo>
                  <a:cubicBezTo>
                    <a:pt x="183053" y="73231"/>
                    <a:pt x="181783" y="45291"/>
                    <a:pt x="167813" y="21796"/>
                  </a:cubicBezTo>
                  <a:cubicBezTo>
                    <a:pt x="152573" y="37036"/>
                    <a:pt x="148128" y="94821"/>
                    <a:pt x="171623" y="10434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4" name="Google Shape;116;p3">
              <a:extLst>
                <a:ext uri="{FF2B5EF4-FFF2-40B4-BE49-F238E27FC236}">
                  <a16:creationId xmlns:a16="http://schemas.microsoft.com/office/drawing/2014/main" id="{13A0FF20-A9BC-4DAA-BC16-E4C747D6646E}"/>
                </a:ext>
              </a:extLst>
            </p:cNvPr>
            <p:cNvSpPr/>
            <p:nvPr/>
          </p:nvSpPr>
          <p:spPr>
            <a:xfrm rot="-1974315">
              <a:off x="1151275" y="3720972"/>
              <a:ext cx="252371" cy="554298"/>
            </a:xfrm>
            <a:custGeom>
              <a:avLst/>
              <a:gdLst/>
              <a:ahLst/>
              <a:cxnLst/>
              <a:rect l="l" t="t" r="r" b="b"/>
              <a:pathLst>
                <a:path w="293264" h="644114" extrusionOk="0">
                  <a:moveTo>
                    <a:pt x="192317" y="238399"/>
                  </a:moveTo>
                  <a:cubicBezTo>
                    <a:pt x="164377" y="222524"/>
                    <a:pt x="132627" y="214904"/>
                    <a:pt x="98972" y="219349"/>
                  </a:cubicBezTo>
                  <a:cubicBezTo>
                    <a:pt x="129452" y="294914"/>
                    <a:pt x="237402" y="315234"/>
                    <a:pt x="251372" y="404769"/>
                  </a:cubicBezTo>
                  <a:cubicBezTo>
                    <a:pt x="252642" y="460649"/>
                    <a:pt x="311697" y="543834"/>
                    <a:pt x="261532" y="586379"/>
                  </a:cubicBezTo>
                  <a:cubicBezTo>
                    <a:pt x="224067" y="575584"/>
                    <a:pt x="258357" y="527959"/>
                    <a:pt x="234227" y="507004"/>
                  </a:cubicBezTo>
                  <a:cubicBezTo>
                    <a:pt x="194222" y="529864"/>
                    <a:pt x="63412" y="557804"/>
                    <a:pt x="62142" y="603524"/>
                  </a:cubicBezTo>
                  <a:cubicBezTo>
                    <a:pt x="62777" y="619399"/>
                    <a:pt x="64682" y="648609"/>
                    <a:pt x="41187" y="643529"/>
                  </a:cubicBezTo>
                  <a:cubicBezTo>
                    <a:pt x="-4533" y="623209"/>
                    <a:pt x="16422" y="457474"/>
                    <a:pt x="36107" y="414929"/>
                  </a:cubicBezTo>
                  <a:cubicBezTo>
                    <a:pt x="50077" y="373654"/>
                    <a:pt x="121832" y="296819"/>
                    <a:pt x="102782" y="394609"/>
                  </a:cubicBezTo>
                  <a:cubicBezTo>
                    <a:pt x="127547" y="386989"/>
                    <a:pt x="143422" y="371749"/>
                    <a:pt x="161202" y="357779"/>
                  </a:cubicBezTo>
                  <a:cubicBezTo>
                    <a:pt x="144692" y="329204"/>
                    <a:pt x="111037" y="319044"/>
                    <a:pt x="85637" y="299994"/>
                  </a:cubicBezTo>
                  <a:cubicBezTo>
                    <a:pt x="547" y="235859"/>
                    <a:pt x="-10248" y="106954"/>
                    <a:pt x="6897" y="8529"/>
                  </a:cubicBezTo>
                  <a:cubicBezTo>
                    <a:pt x="22772" y="-996"/>
                    <a:pt x="36742" y="-1631"/>
                    <a:pt x="53887" y="2179"/>
                  </a:cubicBezTo>
                  <a:cubicBezTo>
                    <a:pt x="55792" y="13609"/>
                    <a:pt x="57062" y="23769"/>
                    <a:pt x="58332" y="35834"/>
                  </a:cubicBezTo>
                  <a:cubicBezTo>
                    <a:pt x="118022" y="49169"/>
                    <a:pt x="178347" y="68219"/>
                    <a:pt x="239307" y="69489"/>
                  </a:cubicBezTo>
                  <a:cubicBezTo>
                    <a:pt x="248197" y="52344"/>
                    <a:pt x="239942" y="35199"/>
                    <a:pt x="241847" y="16784"/>
                  </a:cubicBezTo>
                  <a:cubicBezTo>
                    <a:pt x="338367" y="-44176"/>
                    <a:pt x="278042" y="223159"/>
                    <a:pt x="230417" y="240939"/>
                  </a:cubicBezTo>
                  <a:cubicBezTo>
                    <a:pt x="215812" y="249829"/>
                    <a:pt x="209462" y="267609"/>
                    <a:pt x="193587" y="273959"/>
                  </a:cubicBezTo>
                  <a:cubicBezTo>
                    <a:pt x="163107" y="281579"/>
                    <a:pt x="175807" y="250464"/>
                    <a:pt x="192317" y="238399"/>
                  </a:cubicBezTo>
                  <a:close/>
                  <a:moveTo>
                    <a:pt x="59602" y="64409"/>
                  </a:moveTo>
                  <a:cubicBezTo>
                    <a:pt x="51347" y="143149"/>
                    <a:pt x="151677" y="122829"/>
                    <a:pt x="202477" y="142514"/>
                  </a:cubicBezTo>
                  <a:cubicBezTo>
                    <a:pt x="236767" y="152039"/>
                    <a:pt x="234862" y="150769"/>
                    <a:pt x="241212" y="114574"/>
                  </a:cubicBezTo>
                  <a:cubicBezTo>
                    <a:pt x="245657" y="81554"/>
                    <a:pt x="196127" y="91079"/>
                    <a:pt x="175172" y="82189"/>
                  </a:cubicBezTo>
                  <a:cubicBezTo>
                    <a:pt x="136437" y="77744"/>
                    <a:pt x="98337" y="58059"/>
                    <a:pt x="59602" y="64409"/>
                  </a:cubicBezTo>
                  <a:close/>
                  <a:moveTo>
                    <a:pt x="217082" y="436519"/>
                  </a:moveTo>
                  <a:cubicBezTo>
                    <a:pt x="169457" y="446044"/>
                    <a:pt x="128182" y="479064"/>
                    <a:pt x="83097" y="497479"/>
                  </a:cubicBezTo>
                  <a:cubicBezTo>
                    <a:pt x="58967" y="507004"/>
                    <a:pt x="61507" y="531134"/>
                    <a:pt x="65317" y="553359"/>
                  </a:cubicBezTo>
                  <a:cubicBezTo>
                    <a:pt x="122467" y="537484"/>
                    <a:pt x="180887" y="512719"/>
                    <a:pt x="229782" y="479699"/>
                  </a:cubicBezTo>
                  <a:cubicBezTo>
                    <a:pt x="232322" y="462554"/>
                    <a:pt x="225972" y="448584"/>
                    <a:pt x="217082" y="436519"/>
                  </a:cubicBezTo>
                  <a:close/>
                  <a:moveTo>
                    <a:pt x="78017" y="185694"/>
                  </a:moveTo>
                  <a:cubicBezTo>
                    <a:pt x="120562" y="199029"/>
                    <a:pt x="173267" y="219349"/>
                    <a:pt x="214542" y="207919"/>
                  </a:cubicBezTo>
                  <a:cubicBezTo>
                    <a:pt x="232957" y="186964"/>
                    <a:pt x="227877" y="167914"/>
                    <a:pt x="201207" y="160929"/>
                  </a:cubicBezTo>
                  <a:cubicBezTo>
                    <a:pt x="158027" y="153944"/>
                    <a:pt x="114847" y="138069"/>
                    <a:pt x="71032" y="136164"/>
                  </a:cubicBezTo>
                  <a:cubicBezTo>
                    <a:pt x="69127" y="160929"/>
                    <a:pt x="69127" y="160929"/>
                    <a:pt x="78017" y="185694"/>
                  </a:cubicBezTo>
                  <a:close/>
                  <a:moveTo>
                    <a:pt x="72302" y="477159"/>
                  </a:moveTo>
                  <a:cubicBezTo>
                    <a:pt x="123102" y="460649"/>
                    <a:pt x="162472" y="436519"/>
                    <a:pt x="205652" y="414294"/>
                  </a:cubicBezTo>
                  <a:cubicBezTo>
                    <a:pt x="202477" y="377464"/>
                    <a:pt x="173902" y="366034"/>
                    <a:pt x="148502" y="391434"/>
                  </a:cubicBezTo>
                  <a:cubicBezTo>
                    <a:pt x="113577" y="415564"/>
                    <a:pt x="72937" y="425089"/>
                    <a:pt x="72302" y="477159"/>
                  </a:cubicBezTo>
                  <a:close/>
                  <a:moveTo>
                    <a:pt x="105322" y="284119"/>
                  </a:moveTo>
                  <a:cubicBezTo>
                    <a:pt x="105957" y="282849"/>
                    <a:pt x="107227" y="282214"/>
                    <a:pt x="107862" y="280944"/>
                  </a:cubicBezTo>
                  <a:cubicBezTo>
                    <a:pt x="40552" y="217444"/>
                    <a:pt x="52617" y="132989"/>
                    <a:pt x="27852" y="52979"/>
                  </a:cubicBezTo>
                  <a:cubicBezTo>
                    <a:pt x="18962" y="131719"/>
                    <a:pt x="35472" y="237129"/>
                    <a:pt x="105322" y="2841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5" name="Google Shape;117;p3">
              <a:extLst>
                <a:ext uri="{FF2B5EF4-FFF2-40B4-BE49-F238E27FC236}">
                  <a16:creationId xmlns:a16="http://schemas.microsoft.com/office/drawing/2014/main" id="{62047D3D-2B35-4A87-9CEF-A9996A3BA36D}"/>
                </a:ext>
              </a:extLst>
            </p:cNvPr>
            <p:cNvSpPr/>
            <p:nvPr/>
          </p:nvSpPr>
          <p:spPr>
            <a:xfrm>
              <a:off x="4101001" y="4649180"/>
              <a:ext cx="376856" cy="254902"/>
            </a:xfrm>
            <a:custGeom>
              <a:avLst/>
              <a:gdLst/>
              <a:ahLst/>
              <a:cxnLst/>
              <a:rect l="l" t="t" r="r" b="b"/>
              <a:pathLst>
                <a:path w="575352" h="389164" extrusionOk="0">
                  <a:moveTo>
                    <a:pt x="575352" y="173355"/>
                  </a:moveTo>
                  <a:cubicBezTo>
                    <a:pt x="489627" y="224155"/>
                    <a:pt x="287063" y="336550"/>
                    <a:pt x="285793" y="356235"/>
                  </a:cubicBezTo>
                  <a:cubicBezTo>
                    <a:pt x="285158" y="365760"/>
                    <a:pt x="273093" y="372745"/>
                    <a:pt x="263568" y="368935"/>
                  </a:cubicBezTo>
                  <a:cubicBezTo>
                    <a:pt x="189273" y="366395"/>
                    <a:pt x="106088" y="378460"/>
                    <a:pt x="31793" y="385445"/>
                  </a:cubicBezTo>
                  <a:cubicBezTo>
                    <a:pt x="9568" y="398145"/>
                    <a:pt x="-9482" y="375920"/>
                    <a:pt x="5123" y="354965"/>
                  </a:cubicBezTo>
                  <a:cubicBezTo>
                    <a:pt x="34333" y="295275"/>
                    <a:pt x="47033" y="213995"/>
                    <a:pt x="97198" y="170180"/>
                  </a:cubicBezTo>
                  <a:cubicBezTo>
                    <a:pt x="198163" y="112395"/>
                    <a:pt x="294683" y="47625"/>
                    <a:pt x="400727" y="0"/>
                  </a:cubicBezTo>
                  <a:cubicBezTo>
                    <a:pt x="583608" y="18415"/>
                    <a:pt x="570273" y="-16510"/>
                    <a:pt x="575352" y="173355"/>
                  </a:cubicBezTo>
                  <a:close/>
                  <a:moveTo>
                    <a:pt x="292777" y="199390"/>
                  </a:moveTo>
                  <a:cubicBezTo>
                    <a:pt x="223563" y="208915"/>
                    <a:pt x="154983" y="208280"/>
                    <a:pt x="86402" y="220980"/>
                  </a:cubicBezTo>
                  <a:cubicBezTo>
                    <a:pt x="70527" y="268605"/>
                    <a:pt x="27983" y="310515"/>
                    <a:pt x="32427" y="359410"/>
                  </a:cubicBezTo>
                  <a:cubicBezTo>
                    <a:pt x="98468" y="358775"/>
                    <a:pt x="165143" y="359410"/>
                    <a:pt x="229913" y="343535"/>
                  </a:cubicBezTo>
                  <a:cubicBezTo>
                    <a:pt x="285793" y="323215"/>
                    <a:pt x="275633" y="250190"/>
                    <a:pt x="292777" y="199390"/>
                  </a:cubicBezTo>
                  <a:close/>
                  <a:moveTo>
                    <a:pt x="398188" y="146685"/>
                  </a:moveTo>
                  <a:cubicBezTo>
                    <a:pt x="374693" y="151765"/>
                    <a:pt x="340402" y="168910"/>
                    <a:pt x="320083" y="186055"/>
                  </a:cubicBezTo>
                  <a:cubicBezTo>
                    <a:pt x="314368" y="225425"/>
                    <a:pt x="288968" y="274320"/>
                    <a:pt x="292143" y="320040"/>
                  </a:cubicBezTo>
                  <a:cubicBezTo>
                    <a:pt x="327702" y="303530"/>
                    <a:pt x="361993" y="272415"/>
                    <a:pt x="392473" y="250825"/>
                  </a:cubicBezTo>
                  <a:cubicBezTo>
                    <a:pt x="389933" y="213995"/>
                    <a:pt x="397552" y="181610"/>
                    <a:pt x="398188" y="146685"/>
                  </a:cubicBezTo>
                  <a:close/>
                  <a:moveTo>
                    <a:pt x="115613" y="186055"/>
                  </a:moveTo>
                  <a:cubicBezTo>
                    <a:pt x="167683" y="207010"/>
                    <a:pt x="302302" y="179705"/>
                    <a:pt x="346118" y="135890"/>
                  </a:cubicBezTo>
                  <a:cubicBezTo>
                    <a:pt x="266743" y="97155"/>
                    <a:pt x="180383" y="131445"/>
                    <a:pt x="115613" y="186055"/>
                  </a:cubicBezTo>
                  <a:close/>
                  <a:moveTo>
                    <a:pt x="417238" y="231775"/>
                  </a:moveTo>
                  <a:cubicBezTo>
                    <a:pt x="433748" y="227330"/>
                    <a:pt x="435018" y="226060"/>
                    <a:pt x="435018" y="215265"/>
                  </a:cubicBezTo>
                  <a:cubicBezTo>
                    <a:pt x="431843" y="191135"/>
                    <a:pt x="440733" y="163195"/>
                    <a:pt x="429302" y="140970"/>
                  </a:cubicBezTo>
                  <a:cubicBezTo>
                    <a:pt x="415333" y="166370"/>
                    <a:pt x="410252" y="204470"/>
                    <a:pt x="417238" y="231775"/>
                  </a:cubicBezTo>
                  <a:close/>
                  <a:moveTo>
                    <a:pt x="506138" y="85090"/>
                  </a:moveTo>
                  <a:cubicBezTo>
                    <a:pt x="509948" y="120650"/>
                    <a:pt x="498518" y="147955"/>
                    <a:pt x="507408" y="184785"/>
                  </a:cubicBezTo>
                  <a:cubicBezTo>
                    <a:pt x="526458" y="157480"/>
                    <a:pt x="517568" y="111125"/>
                    <a:pt x="506138" y="85090"/>
                  </a:cubicBezTo>
                  <a:close/>
                  <a:moveTo>
                    <a:pt x="482643" y="190500"/>
                  </a:moveTo>
                  <a:cubicBezTo>
                    <a:pt x="480738" y="159385"/>
                    <a:pt x="497883" y="125095"/>
                    <a:pt x="481373" y="101600"/>
                  </a:cubicBezTo>
                  <a:cubicBezTo>
                    <a:pt x="473118" y="125730"/>
                    <a:pt x="473118" y="147955"/>
                    <a:pt x="482643" y="190500"/>
                  </a:cubicBezTo>
                  <a:close/>
                  <a:moveTo>
                    <a:pt x="453433" y="168275"/>
                  </a:moveTo>
                  <a:cubicBezTo>
                    <a:pt x="445177" y="182880"/>
                    <a:pt x="440098" y="203200"/>
                    <a:pt x="457877" y="212090"/>
                  </a:cubicBezTo>
                  <a:cubicBezTo>
                    <a:pt x="462323" y="194945"/>
                    <a:pt x="461052" y="181610"/>
                    <a:pt x="453433" y="168275"/>
                  </a:cubicBezTo>
                  <a:close/>
                  <a:moveTo>
                    <a:pt x="408348" y="66675"/>
                  </a:moveTo>
                  <a:cubicBezTo>
                    <a:pt x="412158" y="80645"/>
                    <a:pt x="437558" y="79375"/>
                    <a:pt x="453433" y="74930"/>
                  </a:cubicBezTo>
                  <a:cubicBezTo>
                    <a:pt x="437558" y="62865"/>
                    <a:pt x="422952" y="67945"/>
                    <a:pt x="408348" y="66675"/>
                  </a:cubicBezTo>
                  <a:close/>
                  <a:moveTo>
                    <a:pt x="495343" y="48895"/>
                  </a:moveTo>
                  <a:cubicBezTo>
                    <a:pt x="479468" y="37465"/>
                    <a:pt x="471213" y="36195"/>
                    <a:pt x="442638" y="40640"/>
                  </a:cubicBezTo>
                  <a:cubicBezTo>
                    <a:pt x="464227" y="42545"/>
                    <a:pt x="478833" y="53340"/>
                    <a:pt x="495343" y="48895"/>
                  </a:cubicBezTo>
                  <a:close/>
                  <a:moveTo>
                    <a:pt x="335958" y="89535"/>
                  </a:moveTo>
                  <a:cubicBezTo>
                    <a:pt x="321352" y="76200"/>
                    <a:pt x="305477" y="73025"/>
                    <a:pt x="293413" y="88900"/>
                  </a:cubicBezTo>
                  <a:cubicBezTo>
                    <a:pt x="308652" y="92710"/>
                    <a:pt x="320718" y="92710"/>
                    <a:pt x="335958" y="89535"/>
                  </a:cubicBezTo>
                  <a:close/>
                  <a:moveTo>
                    <a:pt x="539793" y="65405"/>
                  </a:moveTo>
                  <a:cubicBezTo>
                    <a:pt x="527727" y="76200"/>
                    <a:pt x="528363" y="81280"/>
                    <a:pt x="540427" y="92075"/>
                  </a:cubicBezTo>
                  <a:cubicBezTo>
                    <a:pt x="543602" y="83185"/>
                    <a:pt x="544873" y="74295"/>
                    <a:pt x="539793" y="6540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6" name="Google Shape;118;p3">
              <a:extLst>
                <a:ext uri="{FF2B5EF4-FFF2-40B4-BE49-F238E27FC236}">
                  <a16:creationId xmlns:a16="http://schemas.microsoft.com/office/drawing/2014/main" id="{36BACEDB-3231-4638-A682-B189FBE3FC4A}"/>
                </a:ext>
              </a:extLst>
            </p:cNvPr>
            <p:cNvSpPr/>
            <p:nvPr/>
          </p:nvSpPr>
          <p:spPr>
            <a:xfrm>
              <a:off x="8091625" y="827000"/>
              <a:ext cx="485245" cy="329049"/>
            </a:xfrm>
            <a:custGeom>
              <a:avLst/>
              <a:gdLst/>
              <a:ahLst/>
              <a:cxnLst/>
              <a:rect l="l" t="t" r="r" b="b"/>
              <a:pathLst>
                <a:path w="620122" h="420510" extrusionOk="0">
                  <a:moveTo>
                    <a:pt x="1362" y="54610"/>
                  </a:moveTo>
                  <a:cubicBezTo>
                    <a:pt x="-31023" y="-68580"/>
                    <a:pt x="523967" y="55245"/>
                    <a:pt x="605247" y="54610"/>
                  </a:cubicBezTo>
                  <a:cubicBezTo>
                    <a:pt x="675732" y="78740"/>
                    <a:pt x="469992" y="177800"/>
                    <a:pt x="522062" y="355600"/>
                  </a:cubicBezTo>
                  <a:cubicBezTo>
                    <a:pt x="492217" y="360045"/>
                    <a:pt x="461102" y="331470"/>
                    <a:pt x="433162" y="323850"/>
                  </a:cubicBezTo>
                  <a:cubicBezTo>
                    <a:pt x="398237" y="328930"/>
                    <a:pt x="342992" y="455930"/>
                    <a:pt x="327752" y="410845"/>
                  </a:cubicBezTo>
                  <a:cubicBezTo>
                    <a:pt x="228057" y="287020"/>
                    <a:pt x="113757" y="169545"/>
                    <a:pt x="1362" y="54610"/>
                  </a:cubicBezTo>
                  <a:close/>
                  <a:moveTo>
                    <a:pt x="591277" y="78740"/>
                  </a:moveTo>
                  <a:cubicBezTo>
                    <a:pt x="418557" y="50800"/>
                    <a:pt x="245837" y="13335"/>
                    <a:pt x="69942" y="28575"/>
                  </a:cubicBezTo>
                  <a:cubicBezTo>
                    <a:pt x="217262" y="83820"/>
                    <a:pt x="363947" y="134620"/>
                    <a:pt x="513807" y="186055"/>
                  </a:cubicBezTo>
                  <a:cubicBezTo>
                    <a:pt x="542382" y="154305"/>
                    <a:pt x="569052" y="120650"/>
                    <a:pt x="591277" y="78740"/>
                  </a:cubicBezTo>
                  <a:close/>
                  <a:moveTo>
                    <a:pt x="443957" y="267335"/>
                  </a:moveTo>
                  <a:cubicBezTo>
                    <a:pt x="319497" y="199390"/>
                    <a:pt x="185512" y="113665"/>
                    <a:pt x="57242" y="74930"/>
                  </a:cubicBezTo>
                  <a:cubicBezTo>
                    <a:pt x="154397" y="174625"/>
                    <a:pt x="238852" y="289560"/>
                    <a:pt x="344897" y="379095"/>
                  </a:cubicBezTo>
                  <a:cubicBezTo>
                    <a:pt x="380457" y="344170"/>
                    <a:pt x="414747" y="311150"/>
                    <a:pt x="443957" y="267335"/>
                  </a:cubicBezTo>
                  <a:close/>
                  <a:moveTo>
                    <a:pt x="494122" y="207010"/>
                  </a:moveTo>
                  <a:cubicBezTo>
                    <a:pt x="380457" y="167640"/>
                    <a:pt x="263617" y="100330"/>
                    <a:pt x="146777" y="87630"/>
                  </a:cubicBezTo>
                  <a:cubicBezTo>
                    <a:pt x="262347" y="134620"/>
                    <a:pt x="363947" y="216535"/>
                    <a:pt x="484597" y="246380"/>
                  </a:cubicBezTo>
                  <a:cubicBezTo>
                    <a:pt x="480787" y="264795"/>
                    <a:pt x="472532" y="281305"/>
                    <a:pt x="490947" y="292735"/>
                  </a:cubicBezTo>
                  <a:cubicBezTo>
                    <a:pt x="503012" y="251460"/>
                    <a:pt x="502377" y="238125"/>
                    <a:pt x="494122" y="20701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7" name="Google Shape;119;p3">
              <a:extLst>
                <a:ext uri="{FF2B5EF4-FFF2-40B4-BE49-F238E27FC236}">
                  <a16:creationId xmlns:a16="http://schemas.microsoft.com/office/drawing/2014/main" id="{80CF381C-9814-44B2-9E55-B8EC0B0AB8C4}"/>
                </a:ext>
              </a:extLst>
            </p:cNvPr>
            <p:cNvSpPr/>
            <p:nvPr/>
          </p:nvSpPr>
          <p:spPr>
            <a:xfrm rot="3971375">
              <a:off x="3138581" y="4622816"/>
              <a:ext cx="362909" cy="668479"/>
            </a:xfrm>
            <a:custGeom>
              <a:avLst/>
              <a:gdLst/>
              <a:ahLst/>
              <a:cxnLst/>
              <a:rect l="l" t="t" r="r" b="b"/>
              <a:pathLst>
                <a:path w="421613" h="776612" extrusionOk="0">
                  <a:moveTo>
                    <a:pt x="99839" y="349282"/>
                  </a:moveTo>
                  <a:cubicBezTo>
                    <a:pt x="-9381" y="246412"/>
                    <a:pt x="19194" y="15272"/>
                    <a:pt x="189374" y="32"/>
                  </a:cubicBezTo>
                  <a:cubicBezTo>
                    <a:pt x="381144" y="-3143"/>
                    <a:pt x="497984" y="232442"/>
                    <a:pt x="363999" y="377222"/>
                  </a:cubicBezTo>
                  <a:cubicBezTo>
                    <a:pt x="448453" y="504222"/>
                    <a:pt x="402734" y="743617"/>
                    <a:pt x="235728" y="773462"/>
                  </a:cubicBezTo>
                  <a:cubicBezTo>
                    <a:pt x="125874" y="796957"/>
                    <a:pt x="24909" y="684562"/>
                    <a:pt x="4589" y="585502"/>
                  </a:cubicBezTo>
                  <a:cubicBezTo>
                    <a:pt x="-17001" y="491522"/>
                    <a:pt x="41419" y="414052"/>
                    <a:pt x="99839" y="349282"/>
                  </a:cubicBezTo>
                  <a:close/>
                  <a:moveTo>
                    <a:pt x="113174" y="363887"/>
                  </a:moveTo>
                  <a:cubicBezTo>
                    <a:pt x="60469" y="429927"/>
                    <a:pt x="-6206" y="502317"/>
                    <a:pt x="28084" y="594392"/>
                  </a:cubicBezTo>
                  <a:cubicBezTo>
                    <a:pt x="55389" y="680117"/>
                    <a:pt x="137939" y="773462"/>
                    <a:pt x="236999" y="755047"/>
                  </a:cubicBezTo>
                  <a:cubicBezTo>
                    <a:pt x="372253" y="724567"/>
                    <a:pt x="403369" y="568357"/>
                    <a:pt x="375428" y="450247"/>
                  </a:cubicBezTo>
                  <a:cubicBezTo>
                    <a:pt x="371619" y="427387"/>
                    <a:pt x="367809" y="403257"/>
                    <a:pt x="340503" y="395002"/>
                  </a:cubicBezTo>
                  <a:cubicBezTo>
                    <a:pt x="330344" y="400082"/>
                    <a:pt x="316374" y="404527"/>
                    <a:pt x="306214" y="412782"/>
                  </a:cubicBezTo>
                  <a:cubicBezTo>
                    <a:pt x="292244" y="424212"/>
                    <a:pt x="276369" y="408337"/>
                    <a:pt x="263669" y="418497"/>
                  </a:cubicBezTo>
                  <a:cubicBezTo>
                    <a:pt x="206519" y="425482"/>
                    <a:pt x="159528" y="398177"/>
                    <a:pt x="113174" y="363887"/>
                  </a:cubicBezTo>
                  <a:close/>
                  <a:moveTo>
                    <a:pt x="343678" y="364522"/>
                  </a:moveTo>
                  <a:cubicBezTo>
                    <a:pt x="427499" y="287052"/>
                    <a:pt x="415434" y="127032"/>
                    <a:pt x="317009" y="67342"/>
                  </a:cubicBezTo>
                  <a:cubicBezTo>
                    <a:pt x="218584" y="-10128"/>
                    <a:pt x="108728" y="4477"/>
                    <a:pt x="61739" y="125762"/>
                  </a:cubicBezTo>
                  <a:cubicBezTo>
                    <a:pt x="49039" y="190532"/>
                    <a:pt x="59199" y="321977"/>
                    <a:pt x="138574" y="332772"/>
                  </a:cubicBezTo>
                  <a:cubicBezTo>
                    <a:pt x="207789" y="290227"/>
                    <a:pt x="282719" y="322612"/>
                    <a:pt x="343678" y="364522"/>
                  </a:cubicBezTo>
                  <a:close/>
                  <a:moveTo>
                    <a:pt x="318914" y="379127"/>
                  </a:moveTo>
                  <a:cubicBezTo>
                    <a:pt x="306849" y="365792"/>
                    <a:pt x="294784" y="353727"/>
                    <a:pt x="273828" y="349282"/>
                  </a:cubicBezTo>
                  <a:cubicBezTo>
                    <a:pt x="280178" y="372777"/>
                    <a:pt x="291609" y="400717"/>
                    <a:pt x="318914" y="379127"/>
                  </a:cubicBezTo>
                  <a:close/>
                  <a:moveTo>
                    <a:pt x="211599" y="382302"/>
                  </a:moveTo>
                  <a:cubicBezTo>
                    <a:pt x="208424" y="357537"/>
                    <a:pt x="203344" y="315627"/>
                    <a:pt x="179849" y="340392"/>
                  </a:cubicBezTo>
                  <a:cubicBezTo>
                    <a:pt x="191278" y="353092"/>
                    <a:pt x="196994" y="369602"/>
                    <a:pt x="211599" y="382302"/>
                  </a:cubicBezTo>
                  <a:close/>
                  <a:moveTo>
                    <a:pt x="265574" y="395637"/>
                  </a:moveTo>
                  <a:cubicBezTo>
                    <a:pt x="251603" y="373412"/>
                    <a:pt x="248428" y="351822"/>
                    <a:pt x="233189" y="341027"/>
                  </a:cubicBezTo>
                  <a:cubicBezTo>
                    <a:pt x="229378" y="361982"/>
                    <a:pt x="236999" y="377222"/>
                    <a:pt x="265574" y="395637"/>
                  </a:cubicBezTo>
                  <a:close/>
                  <a:moveTo>
                    <a:pt x="167784" y="366427"/>
                  </a:moveTo>
                  <a:cubicBezTo>
                    <a:pt x="165244" y="354997"/>
                    <a:pt x="156989" y="341027"/>
                    <a:pt x="146828" y="349917"/>
                  </a:cubicBezTo>
                  <a:cubicBezTo>
                    <a:pt x="147464" y="361347"/>
                    <a:pt x="156989" y="368332"/>
                    <a:pt x="167784" y="36642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8" name="Google Shape;120;p3">
              <a:extLst>
                <a:ext uri="{FF2B5EF4-FFF2-40B4-BE49-F238E27FC236}">
                  <a16:creationId xmlns:a16="http://schemas.microsoft.com/office/drawing/2014/main" id="{DFDF226F-A40F-4BAA-9FAA-D845B566B9F8}"/>
                </a:ext>
              </a:extLst>
            </p:cNvPr>
            <p:cNvSpPr/>
            <p:nvPr/>
          </p:nvSpPr>
          <p:spPr>
            <a:xfrm rot="-3375824">
              <a:off x="8508205" y="4088864"/>
              <a:ext cx="623152" cy="166730"/>
            </a:xfrm>
            <a:custGeom>
              <a:avLst/>
              <a:gdLst/>
              <a:ahLst/>
              <a:cxnLst/>
              <a:rect l="l" t="t" r="r" b="b"/>
              <a:pathLst>
                <a:path w="724776" h="193920" extrusionOk="0">
                  <a:moveTo>
                    <a:pt x="536612" y="138058"/>
                  </a:moveTo>
                  <a:cubicBezTo>
                    <a:pt x="412787" y="137423"/>
                    <a:pt x="278168" y="171713"/>
                    <a:pt x="151168" y="192033"/>
                  </a:cubicBezTo>
                  <a:cubicBezTo>
                    <a:pt x="124497" y="199653"/>
                    <a:pt x="-29807" y="184413"/>
                    <a:pt x="5118" y="142503"/>
                  </a:cubicBezTo>
                  <a:cubicBezTo>
                    <a:pt x="118783" y="37093"/>
                    <a:pt x="265468" y="56778"/>
                    <a:pt x="408978" y="32013"/>
                  </a:cubicBezTo>
                  <a:cubicBezTo>
                    <a:pt x="490258" y="33283"/>
                    <a:pt x="579158" y="-16882"/>
                    <a:pt x="655358" y="5978"/>
                  </a:cubicBezTo>
                  <a:cubicBezTo>
                    <a:pt x="675043" y="28203"/>
                    <a:pt x="713143" y="-12437"/>
                    <a:pt x="722033" y="26933"/>
                  </a:cubicBezTo>
                  <a:cubicBezTo>
                    <a:pt x="725208" y="40268"/>
                    <a:pt x="727747" y="54238"/>
                    <a:pt x="716953" y="68208"/>
                  </a:cubicBezTo>
                  <a:cubicBezTo>
                    <a:pt x="673137" y="67573"/>
                    <a:pt x="667422" y="106943"/>
                    <a:pt x="643928" y="137423"/>
                  </a:cubicBezTo>
                  <a:cubicBezTo>
                    <a:pt x="555662" y="152663"/>
                    <a:pt x="452793" y="199653"/>
                    <a:pt x="367068" y="192033"/>
                  </a:cubicBezTo>
                  <a:cubicBezTo>
                    <a:pt x="370878" y="153933"/>
                    <a:pt x="501053" y="157108"/>
                    <a:pt x="536612" y="138058"/>
                  </a:cubicBezTo>
                  <a:close/>
                  <a:moveTo>
                    <a:pt x="388658" y="121548"/>
                  </a:moveTo>
                  <a:cubicBezTo>
                    <a:pt x="450887" y="124723"/>
                    <a:pt x="612812" y="113928"/>
                    <a:pt x="651547" y="66303"/>
                  </a:cubicBezTo>
                  <a:cubicBezTo>
                    <a:pt x="658533" y="42808"/>
                    <a:pt x="636943" y="18043"/>
                    <a:pt x="613447" y="21218"/>
                  </a:cubicBezTo>
                  <a:cubicBezTo>
                    <a:pt x="537883" y="43443"/>
                    <a:pt x="438822" y="31378"/>
                    <a:pt x="374053" y="70748"/>
                  </a:cubicBezTo>
                  <a:cubicBezTo>
                    <a:pt x="377862" y="86623"/>
                    <a:pt x="382943" y="103133"/>
                    <a:pt x="388658" y="121548"/>
                  </a:cubicBezTo>
                  <a:close/>
                  <a:moveTo>
                    <a:pt x="347383" y="65668"/>
                  </a:moveTo>
                  <a:cubicBezTo>
                    <a:pt x="275628" y="73288"/>
                    <a:pt x="201968" y="68843"/>
                    <a:pt x="133387" y="91703"/>
                  </a:cubicBezTo>
                  <a:cubicBezTo>
                    <a:pt x="131483" y="119008"/>
                    <a:pt x="132753" y="145678"/>
                    <a:pt x="144818" y="169808"/>
                  </a:cubicBezTo>
                  <a:cubicBezTo>
                    <a:pt x="207047" y="142503"/>
                    <a:pt x="415962" y="182508"/>
                    <a:pt x="347383" y="65668"/>
                  </a:cubicBezTo>
                  <a:close/>
                  <a:moveTo>
                    <a:pt x="106083" y="110118"/>
                  </a:moveTo>
                  <a:cubicBezTo>
                    <a:pt x="81318" y="115198"/>
                    <a:pt x="37503" y="132978"/>
                    <a:pt x="52743" y="161553"/>
                  </a:cubicBezTo>
                  <a:cubicBezTo>
                    <a:pt x="71158" y="167903"/>
                    <a:pt x="90208" y="171078"/>
                    <a:pt x="111797" y="169808"/>
                  </a:cubicBezTo>
                  <a:cubicBezTo>
                    <a:pt x="115608" y="148218"/>
                    <a:pt x="114972" y="129803"/>
                    <a:pt x="106083" y="110118"/>
                  </a:cubicBezTo>
                  <a:close/>
                  <a:moveTo>
                    <a:pt x="680122" y="49793"/>
                  </a:moveTo>
                  <a:cubicBezTo>
                    <a:pt x="687743" y="47253"/>
                    <a:pt x="701712" y="49158"/>
                    <a:pt x="699172" y="37728"/>
                  </a:cubicBezTo>
                  <a:cubicBezTo>
                    <a:pt x="692187" y="30743"/>
                    <a:pt x="679487" y="37093"/>
                    <a:pt x="680122" y="4979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19" name="Google Shape;121;p3">
              <a:extLst>
                <a:ext uri="{FF2B5EF4-FFF2-40B4-BE49-F238E27FC236}">
                  <a16:creationId xmlns:a16="http://schemas.microsoft.com/office/drawing/2014/main" id="{65745712-0C3F-45EC-9C30-CA73E2C17891}"/>
                </a:ext>
              </a:extLst>
            </p:cNvPr>
            <p:cNvSpPr/>
            <p:nvPr/>
          </p:nvSpPr>
          <p:spPr>
            <a:xfrm rot="3011666">
              <a:off x="3210524" y="657803"/>
              <a:ext cx="199800" cy="513948"/>
            </a:xfrm>
            <a:custGeom>
              <a:avLst/>
              <a:gdLst/>
              <a:ahLst/>
              <a:cxnLst/>
              <a:rect l="l" t="t" r="r" b="b"/>
              <a:pathLst>
                <a:path w="232561" h="598221" extrusionOk="0">
                  <a:moveTo>
                    <a:pt x="113282" y="495986"/>
                  </a:moveTo>
                  <a:cubicBezTo>
                    <a:pt x="77722" y="519481"/>
                    <a:pt x="56132" y="585521"/>
                    <a:pt x="22477" y="598221"/>
                  </a:cubicBezTo>
                  <a:cubicBezTo>
                    <a:pt x="-37848" y="484556"/>
                    <a:pt x="39622" y="335966"/>
                    <a:pt x="64388" y="215316"/>
                  </a:cubicBezTo>
                  <a:cubicBezTo>
                    <a:pt x="82802" y="153086"/>
                    <a:pt x="100582" y="90856"/>
                    <a:pt x="115822" y="27991"/>
                  </a:cubicBezTo>
                  <a:cubicBezTo>
                    <a:pt x="125982" y="-24714"/>
                    <a:pt x="192657" y="10846"/>
                    <a:pt x="223772" y="23546"/>
                  </a:cubicBezTo>
                  <a:cubicBezTo>
                    <a:pt x="247268" y="47041"/>
                    <a:pt x="216788" y="92761"/>
                    <a:pt x="211707" y="121971"/>
                  </a:cubicBezTo>
                  <a:cubicBezTo>
                    <a:pt x="177418" y="245161"/>
                    <a:pt x="139952" y="370891"/>
                    <a:pt x="113282" y="495986"/>
                  </a:cubicBezTo>
                  <a:close/>
                  <a:moveTo>
                    <a:pt x="45338" y="459156"/>
                  </a:moveTo>
                  <a:cubicBezTo>
                    <a:pt x="74547" y="330886"/>
                    <a:pt x="116457" y="203886"/>
                    <a:pt x="145668" y="76886"/>
                  </a:cubicBezTo>
                  <a:cubicBezTo>
                    <a:pt x="109472" y="78156"/>
                    <a:pt x="92963" y="222301"/>
                    <a:pt x="77088" y="257861"/>
                  </a:cubicBezTo>
                  <a:cubicBezTo>
                    <a:pt x="76452" y="295961"/>
                    <a:pt x="252" y="454076"/>
                    <a:pt x="45972" y="458521"/>
                  </a:cubicBezTo>
                  <a:cubicBezTo>
                    <a:pt x="56768" y="469316"/>
                    <a:pt x="69468" y="475666"/>
                    <a:pt x="85977" y="474396"/>
                  </a:cubicBezTo>
                  <a:cubicBezTo>
                    <a:pt x="99313" y="448996"/>
                    <a:pt x="223772" y="55296"/>
                    <a:pt x="175513" y="85776"/>
                  </a:cubicBezTo>
                  <a:cubicBezTo>
                    <a:pt x="122807" y="140386"/>
                    <a:pt x="105027" y="464871"/>
                    <a:pt x="45338" y="459156"/>
                  </a:cubicBezTo>
                  <a:close/>
                  <a:moveTo>
                    <a:pt x="202818" y="67361"/>
                  </a:moveTo>
                  <a:cubicBezTo>
                    <a:pt x="204722" y="55296"/>
                    <a:pt x="205357" y="47676"/>
                    <a:pt x="206627" y="40691"/>
                  </a:cubicBezTo>
                  <a:cubicBezTo>
                    <a:pt x="183768" y="22276"/>
                    <a:pt x="139318" y="7671"/>
                    <a:pt x="136777" y="48311"/>
                  </a:cubicBezTo>
                  <a:cubicBezTo>
                    <a:pt x="156463" y="61011"/>
                    <a:pt x="178052" y="61646"/>
                    <a:pt x="202818" y="67361"/>
                  </a:cubicBezTo>
                  <a:close/>
                  <a:moveTo>
                    <a:pt x="28193" y="481381"/>
                  </a:moveTo>
                  <a:cubicBezTo>
                    <a:pt x="20572" y="551231"/>
                    <a:pt x="45338" y="558216"/>
                    <a:pt x="77088" y="497891"/>
                  </a:cubicBezTo>
                  <a:cubicBezTo>
                    <a:pt x="61847" y="488366"/>
                    <a:pt x="45972" y="487096"/>
                    <a:pt x="28193" y="48138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0" name="Google Shape;122;p3">
              <a:extLst>
                <a:ext uri="{FF2B5EF4-FFF2-40B4-BE49-F238E27FC236}">
                  <a16:creationId xmlns:a16="http://schemas.microsoft.com/office/drawing/2014/main" id="{7B829C39-2590-47E2-8710-BABEF413F2C4}"/>
                </a:ext>
              </a:extLst>
            </p:cNvPr>
            <p:cNvSpPr/>
            <p:nvPr/>
          </p:nvSpPr>
          <p:spPr>
            <a:xfrm rot="2196195">
              <a:off x="6146037" y="457710"/>
              <a:ext cx="248001" cy="649145"/>
            </a:xfrm>
            <a:custGeom>
              <a:avLst/>
              <a:gdLst/>
              <a:ahLst/>
              <a:cxnLst/>
              <a:rect l="l" t="t" r="r" b="b"/>
              <a:pathLst>
                <a:path w="288538" h="755251" extrusionOk="0">
                  <a:moveTo>
                    <a:pt x="159385" y="203835"/>
                  </a:moveTo>
                  <a:cubicBezTo>
                    <a:pt x="135890" y="116840"/>
                    <a:pt x="239395" y="74295"/>
                    <a:pt x="262890" y="0"/>
                  </a:cubicBezTo>
                  <a:cubicBezTo>
                    <a:pt x="320675" y="52070"/>
                    <a:pt x="269240" y="174625"/>
                    <a:pt x="222250" y="224155"/>
                  </a:cubicBezTo>
                  <a:cubicBezTo>
                    <a:pt x="234950" y="327660"/>
                    <a:pt x="174625" y="408305"/>
                    <a:pt x="143510" y="500380"/>
                  </a:cubicBezTo>
                  <a:cubicBezTo>
                    <a:pt x="127635" y="528955"/>
                    <a:pt x="31750" y="815975"/>
                    <a:pt x="0" y="743585"/>
                  </a:cubicBezTo>
                  <a:cubicBezTo>
                    <a:pt x="43180" y="565150"/>
                    <a:pt x="33020" y="346710"/>
                    <a:pt x="159385" y="203835"/>
                  </a:cubicBezTo>
                  <a:close/>
                  <a:moveTo>
                    <a:pt x="43180" y="661035"/>
                  </a:moveTo>
                  <a:cubicBezTo>
                    <a:pt x="103505" y="576580"/>
                    <a:pt x="121920" y="466725"/>
                    <a:pt x="172085" y="375285"/>
                  </a:cubicBezTo>
                  <a:cubicBezTo>
                    <a:pt x="180340" y="353060"/>
                    <a:pt x="195580" y="327025"/>
                    <a:pt x="191135" y="303530"/>
                  </a:cubicBezTo>
                  <a:cubicBezTo>
                    <a:pt x="171450" y="297815"/>
                    <a:pt x="151765" y="292735"/>
                    <a:pt x="130810" y="287020"/>
                  </a:cubicBezTo>
                  <a:cubicBezTo>
                    <a:pt x="74295" y="403225"/>
                    <a:pt x="55880" y="534035"/>
                    <a:pt x="43180" y="661035"/>
                  </a:cubicBezTo>
                  <a:close/>
                  <a:moveTo>
                    <a:pt x="261620" y="67945"/>
                  </a:moveTo>
                  <a:cubicBezTo>
                    <a:pt x="259715" y="67310"/>
                    <a:pt x="257175" y="66040"/>
                    <a:pt x="255270" y="65405"/>
                  </a:cubicBezTo>
                  <a:cubicBezTo>
                    <a:pt x="223520" y="100965"/>
                    <a:pt x="139700" y="176530"/>
                    <a:pt x="197485" y="217805"/>
                  </a:cubicBezTo>
                  <a:cubicBezTo>
                    <a:pt x="239395" y="175260"/>
                    <a:pt x="261620" y="126365"/>
                    <a:pt x="261620" y="67945"/>
                  </a:cubicBezTo>
                  <a:close/>
                  <a:moveTo>
                    <a:pt x="194945" y="281305"/>
                  </a:moveTo>
                  <a:cubicBezTo>
                    <a:pt x="201295" y="267970"/>
                    <a:pt x="201930" y="255905"/>
                    <a:pt x="198120" y="244475"/>
                  </a:cubicBezTo>
                  <a:cubicBezTo>
                    <a:pt x="167640" y="227330"/>
                    <a:pt x="156210" y="233045"/>
                    <a:pt x="146685" y="267335"/>
                  </a:cubicBezTo>
                  <a:cubicBezTo>
                    <a:pt x="158750" y="282575"/>
                    <a:pt x="175260" y="283210"/>
                    <a:pt x="194945" y="28130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1" name="Google Shape;123;p3">
              <a:extLst>
                <a:ext uri="{FF2B5EF4-FFF2-40B4-BE49-F238E27FC236}">
                  <a16:creationId xmlns:a16="http://schemas.microsoft.com/office/drawing/2014/main" id="{E2175861-EC9F-4D11-A9B9-5ED7178A5D26}"/>
                </a:ext>
              </a:extLst>
            </p:cNvPr>
            <p:cNvSpPr/>
            <p:nvPr/>
          </p:nvSpPr>
          <p:spPr>
            <a:xfrm rot="9911830">
              <a:off x="5498424" y="4613124"/>
              <a:ext cx="338915" cy="323847"/>
            </a:xfrm>
            <a:custGeom>
              <a:avLst/>
              <a:gdLst/>
              <a:ahLst/>
              <a:cxnLst/>
              <a:rect l="l" t="t" r="r" b="b"/>
              <a:pathLst>
                <a:path w="393594" h="376095" extrusionOk="0">
                  <a:moveTo>
                    <a:pt x="214418" y="305042"/>
                  </a:moveTo>
                  <a:cubicBezTo>
                    <a:pt x="268393" y="256783"/>
                    <a:pt x="326179" y="286627"/>
                    <a:pt x="373168" y="327902"/>
                  </a:cubicBezTo>
                  <a:cubicBezTo>
                    <a:pt x="334433" y="348222"/>
                    <a:pt x="287443" y="358383"/>
                    <a:pt x="242358" y="352667"/>
                  </a:cubicBezTo>
                  <a:cubicBezTo>
                    <a:pt x="242358" y="360922"/>
                    <a:pt x="242358" y="367908"/>
                    <a:pt x="242358" y="374892"/>
                  </a:cubicBezTo>
                  <a:cubicBezTo>
                    <a:pt x="208704" y="387592"/>
                    <a:pt x="190289" y="296152"/>
                    <a:pt x="189654" y="269483"/>
                  </a:cubicBezTo>
                  <a:cubicBezTo>
                    <a:pt x="-846" y="341237"/>
                    <a:pt x="-74507" y="101208"/>
                    <a:pt x="94404" y="17387"/>
                  </a:cubicBezTo>
                  <a:cubicBezTo>
                    <a:pt x="178858" y="4052"/>
                    <a:pt x="289983" y="-24523"/>
                    <a:pt x="357293" y="44058"/>
                  </a:cubicBezTo>
                  <a:cubicBezTo>
                    <a:pt x="419523" y="101208"/>
                    <a:pt x="399839" y="240272"/>
                    <a:pt x="312843" y="258687"/>
                  </a:cubicBezTo>
                  <a:cubicBezTo>
                    <a:pt x="260139" y="256147"/>
                    <a:pt x="199179" y="220587"/>
                    <a:pt x="214418" y="305042"/>
                  </a:cubicBezTo>
                  <a:close/>
                  <a:moveTo>
                    <a:pt x="369993" y="131687"/>
                  </a:moveTo>
                  <a:cubicBezTo>
                    <a:pt x="377614" y="58662"/>
                    <a:pt x="298873" y="-2298"/>
                    <a:pt x="229658" y="22467"/>
                  </a:cubicBezTo>
                  <a:cubicBezTo>
                    <a:pt x="215054" y="28817"/>
                    <a:pt x="199179" y="30722"/>
                    <a:pt x="183304" y="23737"/>
                  </a:cubicBezTo>
                  <a:cubicBezTo>
                    <a:pt x="79164" y="3417"/>
                    <a:pt x="-14182" y="120258"/>
                    <a:pt x="37254" y="217412"/>
                  </a:cubicBezTo>
                  <a:cubicBezTo>
                    <a:pt x="86148" y="318377"/>
                    <a:pt x="176954" y="218047"/>
                    <a:pt x="249979" y="231383"/>
                  </a:cubicBezTo>
                  <a:cubicBezTo>
                    <a:pt x="321098" y="265037"/>
                    <a:pt x="372533" y="203442"/>
                    <a:pt x="369993" y="131687"/>
                  </a:cubicBezTo>
                  <a:close/>
                  <a:moveTo>
                    <a:pt x="329354" y="320283"/>
                  </a:moveTo>
                  <a:cubicBezTo>
                    <a:pt x="316654" y="302502"/>
                    <a:pt x="260773" y="284087"/>
                    <a:pt x="255693" y="313297"/>
                  </a:cubicBezTo>
                  <a:cubicBezTo>
                    <a:pt x="266489" y="313297"/>
                    <a:pt x="288714" y="301233"/>
                    <a:pt x="289348" y="318377"/>
                  </a:cubicBezTo>
                  <a:cubicBezTo>
                    <a:pt x="289348" y="327902"/>
                    <a:pt x="272839" y="324092"/>
                    <a:pt x="275379" y="337427"/>
                  </a:cubicBezTo>
                  <a:cubicBezTo>
                    <a:pt x="293158" y="336158"/>
                    <a:pt x="310304" y="333617"/>
                    <a:pt x="329354" y="32028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2" name="Google Shape;124;p3">
              <a:extLst>
                <a:ext uri="{FF2B5EF4-FFF2-40B4-BE49-F238E27FC236}">
                  <a16:creationId xmlns:a16="http://schemas.microsoft.com/office/drawing/2014/main" id="{1A3525D8-70CE-4CE1-B00C-FC50C9741911}"/>
                </a:ext>
              </a:extLst>
            </p:cNvPr>
            <p:cNvSpPr/>
            <p:nvPr/>
          </p:nvSpPr>
          <p:spPr>
            <a:xfrm>
              <a:off x="510215" y="271717"/>
              <a:ext cx="557022" cy="619823"/>
            </a:xfrm>
            <a:custGeom>
              <a:avLst/>
              <a:gdLst/>
              <a:ahLst/>
              <a:cxnLst/>
              <a:rect l="l" t="t" r="r" b="b"/>
              <a:pathLst>
                <a:path w="647700" h="720725" extrusionOk="0">
                  <a:moveTo>
                    <a:pt x="513080" y="323850"/>
                  </a:moveTo>
                  <a:cubicBezTo>
                    <a:pt x="517525" y="130810"/>
                    <a:pt x="228600" y="72390"/>
                    <a:pt x="142240" y="236220"/>
                  </a:cubicBezTo>
                  <a:cubicBezTo>
                    <a:pt x="74930" y="348615"/>
                    <a:pt x="219075" y="481330"/>
                    <a:pt x="144145" y="591820"/>
                  </a:cubicBezTo>
                  <a:cubicBezTo>
                    <a:pt x="140970" y="600710"/>
                    <a:pt x="146685" y="608965"/>
                    <a:pt x="156210" y="609600"/>
                  </a:cubicBezTo>
                  <a:cubicBezTo>
                    <a:pt x="183515" y="603250"/>
                    <a:pt x="471170" y="659130"/>
                    <a:pt x="370205" y="597535"/>
                  </a:cubicBezTo>
                  <a:cubicBezTo>
                    <a:pt x="366395" y="480695"/>
                    <a:pt x="525780" y="439420"/>
                    <a:pt x="513080" y="323850"/>
                  </a:cubicBezTo>
                  <a:close/>
                  <a:moveTo>
                    <a:pt x="249555" y="588010"/>
                  </a:moveTo>
                  <a:cubicBezTo>
                    <a:pt x="230505" y="510540"/>
                    <a:pt x="259080" y="430530"/>
                    <a:pt x="233680" y="354965"/>
                  </a:cubicBezTo>
                  <a:cubicBezTo>
                    <a:pt x="264795" y="384175"/>
                    <a:pt x="260985" y="381635"/>
                    <a:pt x="294640" y="368300"/>
                  </a:cubicBezTo>
                  <a:cubicBezTo>
                    <a:pt x="311785" y="385445"/>
                    <a:pt x="311785" y="385445"/>
                    <a:pt x="334010" y="392430"/>
                  </a:cubicBezTo>
                  <a:cubicBezTo>
                    <a:pt x="320675" y="454660"/>
                    <a:pt x="300355" y="514985"/>
                    <a:pt x="284480" y="576580"/>
                  </a:cubicBezTo>
                  <a:cubicBezTo>
                    <a:pt x="281305" y="594995"/>
                    <a:pt x="267335" y="597535"/>
                    <a:pt x="249555" y="588010"/>
                  </a:cubicBezTo>
                  <a:close/>
                  <a:moveTo>
                    <a:pt x="340360" y="595630"/>
                  </a:moveTo>
                  <a:cubicBezTo>
                    <a:pt x="326390" y="598805"/>
                    <a:pt x="316865" y="598805"/>
                    <a:pt x="306070" y="589280"/>
                  </a:cubicBezTo>
                  <a:cubicBezTo>
                    <a:pt x="324485" y="520065"/>
                    <a:pt x="330200" y="430530"/>
                    <a:pt x="379730" y="377825"/>
                  </a:cubicBezTo>
                  <a:cubicBezTo>
                    <a:pt x="368300" y="346075"/>
                    <a:pt x="354965" y="335915"/>
                    <a:pt x="327025" y="359410"/>
                  </a:cubicBezTo>
                  <a:cubicBezTo>
                    <a:pt x="293370" y="341630"/>
                    <a:pt x="296545" y="333375"/>
                    <a:pt x="266700" y="354330"/>
                  </a:cubicBezTo>
                  <a:cubicBezTo>
                    <a:pt x="259715" y="342900"/>
                    <a:pt x="253365" y="331470"/>
                    <a:pt x="246380" y="320040"/>
                  </a:cubicBezTo>
                  <a:cubicBezTo>
                    <a:pt x="173355" y="307975"/>
                    <a:pt x="207010" y="382905"/>
                    <a:pt x="216535" y="386715"/>
                  </a:cubicBezTo>
                  <a:cubicBezTo>
                    <a:pt x="220345" y="452120"/>
                    <a:pt x="218440" y="519430"/>
                    <a:pt x="220980" y="584835"/>
                  </a:cubicBezTo>
                  <a:cubicBezTo>
                    <a:pt x="203200" y="588645"/>
                    <a:pt x="203200" y="589280"/>
                    <a:pt x="184785" y="581660"/>
                  </a:cubicBezTo>
                  <a:cubicBezTo>
                    <a:pt x="217170" y="478790"/>
                    <a:pt x="132080" y="381635"/>
                    <a:pt x="150495" y="281305"/>
                  </a:cubicBezTo>
                  <a:cubicBezTo>
                    <a:pt x="176530" y="188595"/>
                    <a:pt x="277495" y="156210"/>
                    <a:pt x="364490" y="170180"/>
                  </a:cubicBezTo>
                  <a:cubicBezTo>
                    <a:pt x="437515" y="178435"/>
                    <a:pt x="478155" y="247650"/>
                    <a:pt x="485140" y="314325"/>
                  </a:cubicBezTo>
                  <a:cubicBezTo>
                    <a:pt x="493395" y="430530"/>
                    <a:pt x="337820" y="475615"/>
                    <a:pt x="340360" y="595630"/>
                  </a:cubicBezTo>
                  <a:close/>
                  <a:moveTo>
                    <a:pt x="325755" y="644525"/>
                  </a:moveTo>
                  <a:cubicBezTo>
                    <a:pt x="270510" y="646430"/>
                    <a:pt x="215900" y="626745"/>
                    <a:pt x="161925" y="631190"/>
                  </a:cubicBezTo>
                  <a:cubicBezTo>
                    <a:pt x="137795" y="666750"/>
                    <a:pt x="304165" y="661035"/>
                    <a:pt x="325120" y="671195"/>
                  </a:cubicBezTo>
                  <a:cubicBezTo>
                    <a:pt x="360680" y="675640"/>
                    <a:pt x="353695" y="645160"/>
                    <a:pt x="325755" y="644525"/>
                  </a:cubicBezTo>
                  <a:close/>
                  <a:moveTo>
                    <a:pt x="176530" y="681990"/>
                  </a:moveTo>
                  <a:cubicBezTo>
                    <a:pt x="167005" y="729615"/>
                    <a:pt x="273050" y="708025"/>
                    <a:pt x="304165" y="720725"/>
                  </a:cubicBezTo>
                  <a:cubicBezTo>
                    <a:pt x="378460" y="691515"/>
                    <a:pt x="199390" y="686435"/>
                    <a:pt x="176530" y="681990"/>
                  </a:cubicBezTo>
                  <a:close/>
                  <a:moveTo>
                    <a:pt x="555625" y="214630"/>
                  </a:moveTo>
                  <a:cubicBezTo>
                    <a:pt x="588010" y="198755"/>
                    <a:pt x="614045" y="179705"/>
                    <a:pt x="647700" y="162560"/>
                  </a:cubicBezTo>
                  <a:cubicBezTo>
                    <a:pt x="629285" y="140335"/>
                    <a:pt x="513080" y="196850"/>
                    <a:pt x="555625" y="214630"/>
                  </a:cubicBezTo>
                  <a:close/>
                  <a:moveTo>
                    <a:pt x="0" y="465455"/>
                  </a:moveTo>
                  <a:cubicBezTo>
                    <a:pt x="14605" y="500380"/>
                    <a:pt x="64135" y="459105"/>
                    <a:pt x="78105" y="439420"/>
                  </a:cubicBezTo>
                  <a:cubicBezTo>
                    <a:pt x="49530" y="413385"/>
                    <a:pt x="29210" y="454660"/>
                    <a:pt x="0" y="465455"/>
                  </a:cubicBezTo>
                  <a:close/>
                  <a:moveTo>
                    <a:pt x="30480" y="86360"/>
                  </a:moveTo>
                  <a:cubicBezTo>
                    <a:pt x="35560" y="98425"/>
                    <a:pt x="99060" y="177800"/>
                    <a:pt x="105410" y="149860"/>
                  </a:cubicBezTo>
                  <a:cubicBezTo>
                    <a:pt x="90170" y="130175"/>
                    <a:pt x="60325" y="67945"/>
                    <a:pt x="30480" y="86360"/>
                  </a:cubicBezTo>
                  <a:close/>
                  <a:moveTo>
                    <a:pt x="351790" y="76200"/>
                  </a:moveTo>
                  <a:cubicBezTo>
                    <a:pt x="374015" y="69215"/>
                    <a:pt x="363220" y="30480"/>
                    <a:pt x="369570" y="11430"/>
                  </a:cubicBezTo>
                  <a:cubicBezTo>
                    <a:pt x="370205" y="5080"/>
                    <a:pt x="364490" y="0"/>
                    <a:pt x="357505" y="0"/>
                  </a:cubicBezTo>
                  <a:cubicBezTo>
                    <a:pt x="335915" y="635"/>
                    <a:pt x="345440" y="30480"/>
                    <a:pt x="342265" y="45085"/>
                  </a:cubicBezTo>
                  <a:cubicBezTo>
                    <a:pt x="342265" y="45085"/>
                    <a:pt x="342265" y="45085"/>
                    <a:pt x="342900" y="45085"/>
                  </a:cubicBezTo>
                  <a:cubicBezTo>
                    <a:pt x="342265" y="55245"/>
                    <a:pt x="336550" y="75565"/>
                    <a:pt x="351790" y="76200"/>
                  </a:cubicBezTo>
                  <a:close/>
                  <a:moveTo>
                    <a:pt x="519430" y="487045"/>
                  </a:moveTo>
                  <a:cubicBezTo>
                    <a:pt x="540385" y="495935"/>
                    <a:pt x="566420" y="540385"/>
                    <a:pt x="589280" y="520700"/>
                  </a:cubicBezTo>
                  <a:cubicBezTo>
                    <a:pt x="585470" y="502920"/>
                    <a:pt x="500380" y="438785"/>
                    <a:pt x="519430" y="48704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3" name="Google Shape;125;p3">
              <a:extLst>
                <a:ext uri="{FF2B5EF4-FFF2-40B4-BE49-F238E27FC236}">
                  <a16:creationId xmlns:a16="http://schemas.microsoft.com/office/drawing/2014/main" id="{C350A2E7-53C0-405C-9A2C-01C66AD3068C}"/>
                </a:ext>
              </a:extLst>
            </p:cNvPr>
            <p:cNvSpPr/>
            <p:nvPr/>
          </p:nvSpPr>
          <p:spPr>
            <a:xfrm>
              <a:off x="1778886" y="4237081"/>
              <a:ext cx="556337" cy="631409"/>
            </a:xfrm>
            <a:custGeom>
              <a:avLst/>
              <a:gdLst/>
              <a:ahLst/>
              <a:cxnLst/>
              <a:rect l="l" t="t" r="r" b="b"/>
              <a:pathLst>
                <a:path w="646904" h="734197" extrusionOk="0">
                  <a:moveTo>
                    <a:pt x="624840" y="487872"/>
                  </a:moveTo>
                  <a:cubicBezTo>
                    <a:pt x="596265" y="353252"/>
                    <a:pt x="540386" y="227522"/>
                    <a:pt x="497840" y="97347"/>
                  </a:cubicBezTo>
                  <a:cubicBezTo>
                    <a:pt x="482600" y="59247"/>
                    <a:pt x="474345" y="-1078"/>
                    <a:pt x="420370" y="28132"/>
                  </a:cubicBezTo>
                  <a:cubicBezTo>
                    <a:pt x="389255" y="44007"/>
                    <a:pt x="387986" y="-11238"/>
                    <a:pt x="354330" y="2097"/>
                  </a:cubicBezTo>
                  <a:cubicBezTo>
                    <a:pt x="234315" y="31307"/>
                    <a:pt x="104775" y="90362"/>
                    <a:pt x="0" y="151322"/>
                  </a:cubicBezTo>
                  <a:cubicBezTo>
                    <a:pt x="163195" y="779972"/>
                    <a:pt x="226061" y="866332"/>
                    <a:pt x="21590" y="162117"/>
                  </a:cubicBezTo>
                  <a:cubicBezTo>
                    <a:pt x="130811" y="105602"/>
                    <a:pt x="241300" y="40832"/>
                    <a:pt x="364490" y="23687"/>
                  </a:cubicBezTo>
                  <a:cubicBezTo>
                    <a:pt x="395605" y="56707"/>
                    <a:pt x="396240" y="56072"/>
                    <a:pt x="402590" y="79567"/>
                  </a:cubicBezTo>
                  <a:cubicBezTo>
                    <a:pt x="463550" y="226252"/>
                    <a:pt x="509905" y="375477"/>
                    <a:pt x="556261" y="526607"/>
                  </a:cubicBezTo>
                  <a:cubicBezTo>
                    <a:pt x="426086" y="593917"/>
                    <a:pt x="282575" y="667577"/>
                    <a:pt x="134620" y="680912"/>
                  </a:cubicBezTo>
                  <a:cubicBezTo>
                    <a:pt x="128270" y="680912"/>
                    <a:pt x="125095" y="689167"/>
                    <a:pt x="130175" y="693612"/>
                  </a:cubicBezTo>
                  <a:cubicBezTo>
                    <a:pt x="151765" y="709487"/>
                    <a:pt x="182245" y="690437"/>
                    <a:pt x="204470" y="688532"/>
                  </a:cubicBezTo>
                  <a:cubicBezTo>
                    <a:pt x="226061" y="700597"/>
                    <a:pt x="211455" y="728537"/>
                    <a:pt x="238125" y="732982"/>
                  </a:cubicBezTo>
                  <a:cubicBezTo>
                    <a:pt x="331470" y="744412"/>
                    <a:pt x="414655" y="672022"/>
                    <a:pt x="503555" y="649162"/>
                  </a:cubicBezTo>
                  <a:cubicBezTo>
                    <a:pt x="545465" y="633922"/>
                    <a:pt x="589280" y="623762"/>
                    <a:pt x="627380" y="599632"/>
                  </a:cubicBezTo>
                  <a:cubicBezTo>
                    <a:pt x="671830" y="579312"/>
                    <a:pt x="626745" y="524067"/>
                    <a:pt x="624840" y="487872"/>
                  </a:cubicBezTo>
                  <a:close/>
                  <a:moveTo>
                    <a:pt x="504825" y="628842"/>
                  </a:moveTo>
                  <a:cubicBezTo>
                    <a:pt x="418465" y="663132"/>
                    <a:pt x="337186" y="702502"/>
                    <a:pt x="245745" y="724092"/>
                  </a:cubicBezTo>
                  <a:cubicBezTo>
                    <a:pt x="241936" y="710122"/>
                    <a:pt x="238761" y="698057"/>
                    <a:pt x="234950" y="684087"/>
                  </a:cubicBezTo>
                  <a:cubicBezTo>
                    <a:pt x="339725" y="641542"/>
                    <a:pt x="449580" y="602172"/>
                    <a:pt x="553086" y="554547"/>
                  </a:cubicBezTo>
                  <a:cubicBezTo>
                    <a:pt x="556261" y="557087"/>
                    <a:pt x="591820" y="542482"/>
                    <a:pt x="588645" y="522797"/>
                  </a:cubicBezTo>
                  <a:cubicBezTo>
                    <a:pt x="537211" y="472632"/>
                    <a:pt x="544830" y="386907"/>
                    <a:pt x="516255" y="324677"/>
                  </a:cubicBezTo>
                  <a:cubicBezTo>
                    <a:pt x="488315" y="235142"/>
                    <a:pt x="447040" y="152592"/>
                    <a:pt x="418465" y="62422"/>
                  </a:cubicBezTo>
                  <a:cubicBezTo>
                    <a:pt x="469900" y="-53148"/>
                    <a:pt x="604520" y="513272"/>
                    <a:pt x="619761" y="552642"/>
                  </a:cubicBezTo>
                  <a:cubicBezTo>
                    <a:pt x="631825" y="607887"/>
                    <a:pt x="539750" y="607887"/>
                    <a:pt x="504825" y="628842"/>
                  </a:cubicBezTo>
                  <a:close/>
                  <a:moveTo>
                    <a:pt x="180975" y="522162"/>
                  </a:moveTo>
                  <a:cubicBezTo>
                    <a:pt x="182880" y="565977"/>
                    <a:pt x="377825" y="458027"/>
                    <a:pt x="415925" y="453582"/>
                  </a:cubicBezTo>
                  <a:cubicBezTo>
                    <a:pt x="636270" y="342457"/>
                    <a:pt x="215265" y="507557"/>
                    <a:pt x="180975" y="522162"/>
                  </a:cubicBezTo>
                  <a:close/>
                  <a:moveTo>
                    <a:pt x="90170" y="144972"/>
                  </a:moveTo>
                  <a:cubicBezTo>
                    <a:pt x="73661" y="159577"/>
                    <a:pt x="67945" y="299277"/>
                    <a:pt x="104140" y="277687"/>
                  </a:cubicBezTo>
                  <a:cubicBezTo>
                    <a:pt x="104775" y="271337"/>
                    <a:pt x="105411" y="264987"/>
                    <a:pt x="106045" y="258637"/>
                  </a:cubicBezTo>
                  <a:cubicBezTo>
                    <a:pt x="122555" y="253557"/>
                    <a:pt x="137795" y="248477"/>
                    <a:pt x="151765" y="244032"/>
                  </a:cubicBezTo>
                  <a:cubicBezTo>
                    <a:pt x="161290" y="252287"/>
                    <a:pt x="167640" y="270702"/>
                    <a:pt x="180975" y="258637"/>
                  </a:cubicBezTo>
                  <a:cubicBezTo>
                    <a:pt x="158115" y="219902"/>
                    <a:pt x="127000" y="169102"/>
                    <a:pt x="90170" y="144972"/>
                  </a:cubicBezTo>
                  <a:close/>
                  <a:moveTo>
                    <a:pt x="137161" y="222442"/>
                  </a:moveTo>
                  <a:cubicBezTo>
                    <a:pt x="128905" y="233872"/>
                    <a:pt x="118745" y="235777"/>
                    <a:pt x="105411" y="233872"/>
                  </a:cubicBezTo>
                  <a:cubicBezTo>
                    <a:pt x="100965" y="218632"/>
                    <a:pt x="99061" y="204662"/>
                    <a:pt x="104140" y="188152"/>
                  </a:cubicBezTo>
                  <a:cubicBezTo>
                    <a:pt x="121286" y="195137"/>
                    <a:pt x="127636" y="209742"/>
                    <a:pt x="137161" y="222442"/>
                  </a:cubicBezTo>
                  <a:close/>
                  <a:moveTo>
                    <a:pt x="400050" y="245937"/>
                  </a:moveTo>
                  <a:cubicBezTo>
                    <a:pt x="407670" y="200852"/>
                    <a:pt x="140336" y="324677"/>
                    <a:pt x="111761" y="337377"/>
                  </a:cubicBezTo>
                  <a:cubicBezTo>
                    <a:pt x="191136" y="350712"/>
                    <a:pt x="314325" y="265622"/>
                    <a:pt x="400050" y="245937"/>
                  </a:cubicBezTo>
                  <a:close/>
                  <a:moveTo>
                    <a:pt x="462915" y="478347"/>
                  </a:moveTo>
                  <a:cubicBezTo>
                    <a:pt x="382905" y="475807"/>
                    <a:pt x="304165" y="539942"/>
                    <a:pt x="224155" y="558357"/>
                  </a:cubicBezTo>
                  <a:cubicBezTo>
                    <a:pt x="88900" y="640907"/>
                    <a:pt x="455930" y="496127"/>
                    <a:pt x="462915" y="478347"/>
                  </a:cubicBezTo>
                  <a:close/>
                  <a:moveTo>
                    <a:pt x="168275" y="373572"/>
                  </a:moveTo>
                  <a:cubicBezTo>
                    <a:pt x="155575" y="376747"/>
                    <a:pt x="143511" y="387542"/>
                    <a:pt x="154940" y="399607"/>
                  </a:cubicBezTo>
                  <a:cubicBezTo>
                    <a:pt x="441325" y="299277"/>
                    <a:pt x="540386" y="220537"/>
                    <a:pt x="168275" y="373572"/>
                  </a:cubicBezTo>
                  <a:close/>
                  <a:moveTo>
                    <a:pt x="262890" y="426912"/>
                  </a:moveTo>
                  <a:cubicBezTo>
                    <a:pt x="226695" y="428817"/>
                    <a:pt x="195580" y="449772"/>
                    <a:pt x="158750" y="459297"/>
                  </a:cubicBezTo>
                  <a:cubicBezTo>
                    <a:pt x="159386" y="473902"/>
                    <a:pt x="169545" y="479617"/>
                    <a:pt x="182245" y="473902"/>
                  </a:cubicBezTo>
                  <a:cubicBezTo>
                    <a:pt x="198120" y="463742"/>
                    <a:pt x="290830" y="451042"/>
                    <a:pt x="262890" y="426912"/>
                  </a:cubicBezTo>
                  <a:close/>
                  <a:moveTo>
                    <a:pt x="179070" y="182437"/>
                  </a:moveTo>
                  <a:cubicBezTo>
                    <a:pt x="177165" y="163387"/>
                    <a:pt x="179705" y="157672"/>
                    <a:pt x="190500" y="141797"/>
                  </a:cubicBezTo>
                  <a:cubicBezTo>
                    <a:pt x="161290" y="150687"/>
                    <a:pt x="162561" y="113857"/>
                    <a:pt x="143511" y="124017"/>
                  </a:cubicBezTo>
                  <a:cubicBezTo>
                    <a:pt x="144145" y="146877"/>
                    <a:pt x="144145" y="146877"/>
                    <a:pt x="137161" y="163387"/>
                  </a:cubicBezTo>
                  <a:cubicBezTo>
                    <a:pt x="150495" y="169102"/>
                    <a:pt x="163195" y="175452"/>
                    <a:pt x="179070" y="182437"/>
                  </a:cubicBezTo>
                  <a:close/>
                  <a:moveTo>
                    <a:pt x="372111" y="153227"/>
                  </a:moveTo>
                  <a:cubicBezTo>
                    <a:pt x="307340" y="148147"/>
                    <a:pt x="240665" y="219902"/>
                    <a:pt x="346711" y="174817"/>
                  </a:cubicBezTo>
                  <a:cubicBezTo>
                    <a:pt x="358775" y="169737"/>
                    <a:pt x="368936" y="169737"/>
                    <a:pt x="372111" y="153227"/>
                  </a:cubicBezTo>
                  <a:close/>
                  <a:moveTo>
                    <a:pt x="304800" y="228792"/>
                  </a:moveTo>
                  <a:cubicBezTo>
                    <a:pt x="324486" y="222442"/>
                    <a:pt x="358775" y="224347"/>
                    <a:pt x="360045" y="197042"/>
                  </a:cubicBezTo>
                  <a:cubicBezTo>
                    <a:pt x="343536" y="202757"/>
                    <a:pt x="276861" y="207837"/>
                    <a:pt x="304800" y="22879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4" name="Google Shape;126;p3">
              <a:extLst>
                <a:ext uri="{FF2B5EF4-FFF2-40B4-BE49-F238E27FC236}">
                  <a16:creationId xmlns:a16="http://schemas.microsoft.com/office/drawing/2014/main" id="{D93D1F43-D738-46E7-8390-A696F6D1FDAD}"/>
                </a:ext>
              </a:extLst>
            </p:cNvPr>
            <p:cNvSpPr/>
            <p:nvPr/>
          </p:nvSpPr>
          <p:spPr>
            <a:xfrm rot="-982808">
              <a:off x="7867083" y="4603094"/>
              <a:ext cx="701993" cy="567693"/>
            </a:xfrm>
            <a:custGeom>
              <a:avLst/>
              <a:gdLst/>
              <a:ahLst/>
              <a:cxnLst/>
              <a:rect l="l" t="t" r="r" b="b"/>
              <a:pathLst>
                <a:path w="816364" h="660184" extrusionOk="0">
                  <a:moveTo>
                    <a:pt x="816263" y="506476"/>
                  </a:moveTo>
                  <a:cubicBezTo>
                    <a:pt x="711488" y="-86613"/>
                    <a:pt x="921672" y="-14858"/>
                    <a:pt x="306357" y="27051"/>
                  </a:cubicBezTo>
                  <a:cubicBezTo>
                    <a:pt x="279052" y="-13588"/>
                    <a:pt x="225077" y="19432"/>
                    <a:pt x="186342" y="20701"/>
                  </a:cubicBezTo>
                  <a:cubicBezTo>
                    <a:pt x="182532" y="28957"/>
                    <a:pt x="179357" y="35942"/>
                    <a:pt x="174912" y="45467"/>
                  </a:cubicBezTo>
                  <a:cubicBezTo>
                    <a:pt x="147607" y="9907"/>
                    <a:pt x="110142" y="29592"/>
                    <a:pt x="73312" y="35307"/>
                  </a:cubicBezTo>
                  <a:cubicBezTo>
                    <a:pt x="70137" y="42292"/>
                    <a:pt x="67597" y="48007"/>
                    <a:pt x="65057" y="54357"/>
                  </a:cubicBezTo>
                  <a:cubicBezTo>
                    <a:pt x="7272" y="56897"/>
                    <a:pt x="-8603" y="109601"/>
                    <a:pt x="4097" y="159132"/>
                  </a:cubicBezTo>
                  <a:cubicBezTo>
                    <a:pt x="10447" y="316612"/>
                    <a:pt x="42832" y="472822"/>
                    <a:pt x="51722" y="630301"/>
                  </a:cubicBezTo>
                  <a:cubicBezTo>
                    <a:pt x="86647" y="676657"/>
                    <a:pt x="126652" y="659512"/>
                    <a:pt x="171737" y="642367"/>
                  </a:cubicBezTo>
                  <a:cubicBezTo>
                    <a:pt x="243492" y="636017"/>
                    <a:pt x="313977" y="620142"/>
                    <a:pt x="385732" y="615062"/>
                  </a:cubicBezTo>
                  <a:cubicBezTo>
                    <a:pt x="477172" y="610617"/>
                    <a:pt x="567342" y="594742"/>
                    <a:pt x="657513" y="588392"/>
                  </a:cubicBezTo>
                  <a:cubicBezTo>
                    <a:pt x="715933" y="571247"/>
                    <a:pt x="820072" y="597282"/>
                    <a:pt x="816263" y="506476"/>
                  </a:cubicBezTo>
                  <a:close/>
                  <a:moveTo>
                    <a:pt x="761652" y="549022"/>
                  </a:moveTo>
                  <a:cubicBezTo>
                    <a:pt x="573692" y="583947"/>
                    <a:pt x="382557" y="591567"/>
                    <a:pt x="193962" y="618872"/>
                  </a:cubicBezTo>
                  <a:cubicBezTo>
                    <a:pt x="156497" y="613792"/>
                    <a:pt x="82202" y="665226"/>
                    <a:pt x="73312" y="606172"/>
                  </a:cubicBezTo>
                  <a:cubicBezTo>
                    <a:pt x="59977" y="492507"/>
                    <a:pt x="45372" y="378842"/>
                    <a:pt x="32037" y="265176"/>
                  </a:cubicBezTo>
                  <a:cubicBezTo>
                    <a:pt x="36482" y="210567"/>
                    <a:pt x="-8603" y="112142"/>
                    <a:pt x="52357" y="82297"/>
                  </a:cubicBezTo>
                  <a:cubicBezTo>
                    <a:pt x="189517" y="63247"/>
                    <a:pt x="327312" y="41022"/>
                    <a:pt x="466377" y="38482"/>
                  </a:cubicBezTo>
                  <a:cubicBezTo>
                    <a:pt x="769272" y="14351"/>
                    <a:pt x="740697" y="-41528"/>
                    <a:pt x="764192" y="281687"/>
                  </a:cubicBezTo>
                  <a:cubicBezTo>
                    <a:pt x="755302" y="281051"/>
                    <a:pt x="757842" y="274067"/>
                    <a:pt x="755302" y="270257"/>
                  </a:cubicBezTo>
                  <a:cubicBezTo>
                    <a:pt x="741967" y="249301"/>
                    <a:pt x="721647" y="263272"/>
                    <a:pt x="709583" y="277242"/>
                  </a:cubicBezTo>
                  <a:cubicBezTo>
                    <a:pt x="686088" y="242317"/>
                    <a:pt x="697517" y="60707"/>
                    <a:pt x="653702" y="63882"/>
                  </a:cubicBezTo>
                  <a:cubicBezTo>
                    <a:pt x="461297" y="91187"/>
                    <a:pt x="268257" y="108967"/>
                    <a:pt x="75217" y="126747"/>
                  </a:cubicBezTo>
                  <a:cubicBezTo>
                    <a:pt x="87917" y="245492"/>
                    <a:pt x="110777" y="356617"/>
                    <a:pt x="119667" y="474726"/>
                  </a:cubicBezTo>
                  <a:cubicBezTo>
                    <a:pt x="127287" y="501397"/>
                    <a:pt x="109507" y="568072"/>
                    <a:pt x="150782" y="565532"/>
                  </a:cubicBezTo>
                  <a:cubicBezTo>
                    <a:pt x="333027" y="540767"/>
                    <a:pt x="519717" y="557276"/>
                    <a:pt x="700058" y="507112"/>
                  </a:cubicBezTo>
                  <a:cubicBezTo>
                    <a:pt x="759747" y="495047"/>
                    <a:pt x="701327" y="358522"/>
                    <a:pt x="705138" y="312167"/>
                  </a:cubicBezTo>
                  <a:cubicBezTo>
                    <a:pt x="729267" y="306451"/>
                    <a:pt x="721647" y="345187"/>
                    <a:pt x="761652" y="308357"/>
                  </a:cubicBezTo>
                  <a:cubicBezTo>
                    <a:pt x="775622" y="349632"/>
                    <a:pt x="820072" y="536957"/>
                    <a:pt x="761652" y="549022"/>
                  </a:cubicBezTo>
                  <a:close/>
                  <a:moveTo>
                    <a:pt x="700692" y="478537"/>
                  </a:moveTo>
                  <a:cubicBezTo>
                    <a:pt x="522892" y="538862"/>
                    <a:pt x="337472" y="526162"/>
                    <a:pt x="152687" y="542037"/>
                  </a:cubicBezTo>
                  <a:cubicBezTo>
                    <a:pt x="130462" y="412497"/>
                    <a:pt x="112682" y="276607"/>
                    <a:pt x="102522" y="144526"/>
                  </a:cubicBezTo>
                  <a:cubicBezTo>
                    <a:pt x="282227" y="127382"/>
                    <a:pt x="467012" y="96901"/>
                    <a:pt x="647988" y="93726"/>
                  </a:cubicBezTo>
                  <a:cubicBezTo>
                    <a:pt x="682913" y="218187"/>
                    <a:pt x="694342" y="348997"/>
                    <a:pt x="700692" y="478537"/>
                  </a:cubicBezTo>
                  <a:close/>
                  <a:moveTo>
                    <a:pt x="502572" y="293751"/>
                  </a:moveTo>
                  <a:cubicBezTo>
                    <a:pt x="436532" y="277876"/>
                    <a:pt x="374937" y="230251"/>
                    <a:pt x="307627" y="228982"/>
                  </a:cubicBezTo>
                  <a:cubicBezTo>
                    <a:pt x="338107" y="506476"/>
                    <a:pt x="291752" y="420117"/>
                    <a:pt x="515907" y="325501"/>
                  </a:cubicBezTo>
                  <a:cubicBezTo>
                    <a:pt x="562263" y="307722"/>
                    <a:pt x="538132" y="292482"/>
                    <a:pt x="502572" y="293751"/>
                  </a:cubicBezTo>
                  <a:close/>
                  <a:moveTo>
                    <a:pt x="352077" y="378207"/>
                  </a:moveTo>
                  <a:cubicBezTo>
                    <a:pt x="345727" y="360426"/>
                    <a:pt x="329217" y="301372"/>
                    <a:pt x="334297" y="258192"/>
                  </a:cubicBezTo>
                  <a:cubicBezTo>
                    <a:pt x="382557" y="262637"/>
                    <a:pt x="445422" y="296292"/>
                    <a:pt x="497492" y="306451"/>
                  </a:cubicBezTo>
                  <a:cubicBezTo>
                    <a:pt x="467012" y="341376"/>
                    <a:pt x="396527" y="363601"/>
                    <a:pt x="352077" y="37820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5" name="Google Shape;127;p3">
              <a:extLst>
                <a:ext uri="{FF2B5EF4-FFF2-40B4-BE49-F238E27FC236}">
                  <a16:creationId xmlns:a16="http://schemas.microsoft.com/office/drawing/2014/main" id="{7B352C66-7B72-4D46-8287-9BD85434F192}"/>
                </a:ext>
              </a:extLst>
            </p:cNvPr>
            <p:cNvSpPr/>
            <p:nvPr/>
          </p:nvSpPr>
          <p:spPr>
            <a:xfrm rot="1185294">
              <a:off x="4798350" y="3885963"/>
              <a:ext cx="616477" cy="671778"/>
            </a:xfrm>
            <a:custGeom>
              <a:avLst/>
              <a:gdLst/>
              <a:ahLst/>
              <a:cxnLst/>
              <a:rect l="l" t="t" r="r" b="b"/>
              <a:pathLst>
                <a:path w="718509" h="782962" extrusionOk="0">
                  <a:moveTo>
                    <a:pt x="707390" y="178442"/>
                  </a:moveTo>
                  <a:cubicBezTo>
                    <a:pt x="705485" y="163837"/>
                    <a:pt x="700405" y="154947"/>
                    <a:pt x="683895" y="153042"/>
                  </a:cubicBezTo>
                  <a:cubicBezTo>
                    <a:pt x="685800" y="135897"/>
                    <a:pt x="673100" y="127642"/>
                    <a:pt x="665480" y="114942"/>
                  </a:cubicBezTo>
                  <a:cubicBezTo>
                    <a:pt x="664845" y="85097"/>
                    <a:pt x="638810" y="88907"/>
                    <a:pt x="618490" y="95257"/>
                  </a:cubicBezTo>
                  <a:cubicBezTo>
                    <a:pt x="595630" y="74302"/>
                    <a:pt x="582295" y="68587"/>
                    <a:pt x="555625" y="88272"/>
                  </a:cubicBezTo>
                  <a:cubicBezTo>
                    <a:pt x="523875" y="100972"/>
                    <a:pt x="523240" y="30487"/>
                    <a:pt x="488315" y="60332"/>
                  </a:cubicBezTo>
                  <a:cubicBezTo>
                    <a:pt x="445135" y="96527"/>
                    <a:pt x="462915" y="-3803"/>
                    <a:pt x="385445" y="42552"/>
                  </a:cubicBezTo>
                  <a:cubicBezTo>
                    <a:pt x="359410" y="-34918"/>
                    <a:pt x="319405" y="13977"/>
                    <a:pt x="274320" y="29852"/>
                  </a:cubicBezTo>
                  <a:cubicBezTo>
                    <a:pt x="182245" y="239402"/>
                    <a:pt x="65405" y="447047"/>
                    <a:pt x="0" y="662312"/>
                  </a:cubicBezTo>
                  <a:cubicBezTo>
                    <a:pt x="161925" y="678822"/>
                    <a:pt x="313055" y="747402"/>
                    <a:pt x="471170" y="782962"/>
                  </a:cubicBezTo>
                  <a:cubicBezTo>
                    <a:pt x="532130" y="658502"/>
                    <a:pt x="575310" y="535947"/>
                    <a:pt x="636905" y="413392"/>
                  </a:cubicBezTo>
                  <a:cubicBezTo>
                    <a:pt x="664210" y="349892"/>
                    <a:pt x="688975" y="285757"/>
                    <a:pt x="714375" y="221622"/>
                  </a:cubicBezTo>
                  <a:cubicBezTo>
                    <a:pt x="718185" y="205747"/>
                    <a:pt x="723900" y="190507"/>
                    <a:pt x="707390" y="178442"/>
                  </a:cubicBezTo>
                  <a:close/>
                  <a:moveTo>
                    <a:pt x="655955" y="152407"/>
                  </a:moveTo>
                  <a:cubicBezTo>
                    <a:pt x="652780" y="161297"/>
                    <a:pt x="650240" y="170187"/>
                    <a:pt x="646430" y="180347"/>
                  </a:cubicBezTo>
                  <a:cubicBezTo>
                    <a:pt x="604520" y="162567"/>
                    <a:pt x="608330" y="116847"/>
                    <a:pt x="655955" y="152407"/>
                  </a:cubicBezTo>
                  <a:close/>
                  <a:moveTo>
                    <a:pt x="561975" y="127642"/>
                  </a:moveTo>
                  <a:cubicBezTo>
                    <a:pt x="572770" y="118117"/>
                    <a:pt x="577850" y="125737"/>
                    <a:pt x="590550" y="133992"/>
                  </a:cubicBezTo>
                  <a:cubicBezTo>
                    <a:pt x="576580" y="138437"/>
                    <a:pt x="558800" y="146057"/>
                    <a:pt x="561975" y="127642"/>
                  </a:cubicBezTo>
                  <a:close/>
                  <a:moveTo>
                    <a:pt x="353695" y="33027"/>
                  </a:moveTo>
                  <a:cubicBezTo>
                    <a:pt x="351155" y="47632"/>
                    <a:pt x="334010" y="34297"/>
                    <a:pt x="323215" y="31757"/>
                  </a:cubicBezTo>
                  <a:cubicBezTo>
                    <a:pt x="334010" y="17152"/>
                    <a:pt x="350520" y="17787"/>
                    <a:pt x="353695" y="33027"/>
                  </a:cubicBezTo>
                  <a:close/>
                  <a:moveTo>
                    <a:pt x="43180" y="618497"/>
                  </a:moveTo>
                  <a:cubicBezTo>
                    <a:pt x="46990" y="609607"/>
                    <a:pt x="54610" y="612147"/>
                    <a:pt x="59055" y="613417"/>
                  </a:cubicBezTo>
                  <a:cubicBezTo>
                    <a:pt x="99060" y="635642"/>
                    <a:pt x="160020" y="625482"/>
                    <a:pt x="189865" y="659137"/>
                  </a:cubicBezTo>
                  <a:cubicBezTo>
                    <a:pt x="140970" y="652152"/>
                    <a:pt x="87630" y="638817"/>
                    <a:pt x="43180" y="618497"/>
                  </a:cubicBezTo>
                  <a:close/>
                  <a:moveTo>
                    <a:pt x="201295" y="663582"/>
                  </a:moveTo>
                  <a:cubicBezTo>
                    <a:pt x="198755" y="662312"/>
                    <a:pt x="196215" y="661677"/>
                    <a:pt x="193675" y="660407"/>
                  </a:cubicBezTo>
                  <a:cubicBezTo>
                    <a:pt x="196215" y="660407"/>
                    <a:pt x="199390" y="659772"/>
                    <a:pt x="201930" y="659772"/>
                  </a:cubicBezTo>
                  <a:cubicBezTo>
                    <a:pt x="201295" y="661042"/>
                    <a:pt x="201295" y="662312"/>
                    <a:pt x="201295" y="663582"/>
                  </a:cubicBezTo>
                  <a:close/>
                  <a:moveTo>
                    <a:pt x="228600" y="667392"/>
                  </a:moveTo>
                  <a:cubicBezTo>
                    <a:pt x="246380" y="662312"/>
                    <a:pt x="262255" y="666122"/>
                    <a:pt x="276860" y="680727"/>
                  </a:cubicBezTo>
                  <a:cubicBezTo>
                    <a:pt x="256540" y="687077"/>
                    <a:pt x="242570" y="678822"/>
                    <a:pt x="228600" y="667392"/>
                  </a:cubicBezTo>
                  <a:close/>
                  <a:moveTo>
                    <a:pt x="434975" y="704222"/>
                  </a:moveTo>
                  <a:cubicBezTo>
                    <a:pt x="306070" y="664852"/>
                    <a:pt x="177800" y="628657"/>
                    <a:pt x="47625" y="588652"/>
                  </a:cubicBezTo>
                  <a:cubicBezTo>
                    <a:pt x="114935" y="409582"/>
                    <a:pt x="198120" y="233052"/>
                    <a:pt x="284480" y="61602"/>
                  </a:cubicBezTo>
                  <a:cubicBezTo>
                    <a:pt x="314960" y="97162"/>
                    <a:pt x="369570" y="94622"/>
                    <a:pt x="323215" y="62872"/>
                  </a:cubicBezTo>
                  <a:cubicBezTo>
                    <a:pt x="340995" y="59697"/>
                    <a:pt x="354330" y="64777"/>
                    <a:pt x="369570" y="70492"/>
                  </a:cubicBezTo>
                  <a:cubicBezTo>
                    <a:pt x="377825" y="143517"/>
                    <a:pt x="474980" y="111132"/>
                    <a:pt x="398145" y="86367"/>
                  </a:cubicBezTo>
                  <a:cubicBezTo>
                    <a:pt x="411480" y="67952"/>
                    <a:pt x="439420" y="83827"/>
                    <a:pt x="457200" y="89542"/>
                  </a:cubicBezTo>
                  <a:cubicBezTo>
                    <a:pt x="461010" y="179712"/>
                    <a:pt x="532130" y="156852"/>
                    <a:pt x="506095" y="131452"/>
                  </a:cubicBezTo>
                  <a:cubicBezTo>
                    <a:pt x="485140" y="128912"/>
                    <a:pt x="480695" y="129547"/>
                    <a:pt x="483870" y="104147"/>
                  </a:cubicBezTo>
                  <a:cubicBezTo>
                    <a:pt x="501650" y="101607"/>
                    <a:pt x="518795" y="107957"/>
                    <a:pt x="536575" y="110497"/>
                  </a:cubicBezTo>
                  <a:cubicBezTo>
                    <a:pt x="542290" y="147327"/>
                    <a:pt x="556260" y="169552"/>
                    <a:pt x="595630" y="161932"/>
                  </a:cubicBezTo>
                  <a:cubicBezTo>
                    <a:pt x="610235" y="174632"/>
                    <a:pt x="624205" y="186697"/>
                    <a:pt x="638810" y="199397"/>
                  </a:cubicBezTo>
                  <a:cubicBezTo>
                    <a:pt x="590550" y="376562"/>
                    <a:pt x="498475" y="533407"/>
                    <a:pt x="434975" y="704222"/>
                  </a:cubicBezTo>
                  <a:close/>
                  <a:moveTo>
                    <a:pt x="560705" y="508642"/>
                  </a:moveTo>
                  <a:cubicBezTo>
                    <a:pt x="560705" y="508642"/>
                    <a:pt x="560705" y="508007"/>
                    <a:pt x="560705" y="508642"/>
                  </a:cubicBezTo>
                  <a:cubicBezTo>
                    <a:pt x="561340" y="509277"/>
                    <a:pt x="561975" y="509912"/>
                    <a:pt x="562610" y="509912"/>
                  </a:cubicBezTo>
                  <a:cubicBezTo>
                    <a:pt x="561975" y="509277"/>
                    <a:pt x="561340" y="509277"/>
                    <a:pt x="560705" y="508642"/>
                  </a:cubicBezTo>
                  <a:close/>
                  <a:moveTo>
                    <a:pt x="602615" y="438792"/>
                  </a:moveTo>
                  <a:cubicBezTo>
                    <a:pt x="588010" y="457842"/>
                    <a:pt x="586740" y="504832"/>
                    <a:pt x="561340" y="508007"/>
                  </a:cubicBezTo>
                  <a:cubicBezTo>
                    <a:pt x="607695" y="405772"/>
                    <a:pt x="632460" y="297822"/>
                    <a:pt x="690245" y="201302"/>
                  </a:cubicBezTo>
                  <a:cubicBezTo>
                    <a:pt x="678180" y="284487"/>
                    <a:pt x="633730" y="360052"/>
                    <a:pt x="602615" y="438792"/>
                  </a:cubicBezTo>
                  <a:close/>
                  <a:moveTo>
                    <a:pt x="313690" y="335287"/>
                  </a:moveTo>
                  <a:cubicBezTo>
                    <a:pt x="297815" y="333382"/>
                    <a:pt x="197485" y="287027"/>
                    <a:pt x="229870" y="330842"/>
                  </a:cubicBezTo>
                  <a:cubicBezTo>
                    <a:pt x="312420" y="365767"/>
                    <a:pt x="409575" y="363862"/>
                    <a:pt x="485775" y="412757"/>
                  </a:cubicBezTo>
                  <a:cubicBezTo>
                    <a:pt x="496570" y="419107"/>
                    <a:pt x="505460" y="426092"/>
                    <a:pt x="517525" y="415297"/>
                  </a:cubicBezTo>
                  <a:cubicBezTo>
                    <a:pt x="468630" y="357512"/>
                    <a:pt x="381000" y="360052"/>
                    <a:pt x="313690" y="335287"/>
                  </a:cubicBezTo>
                  <a:close/>
                  <a:moveTo>
                    <a:pt x="247650" y="245752"/>
                  </a:moveTo>
                  <a:cubicBezTo>
                    <a:pt x="237490" y="288932"/>
                    <a:pt x="370205" y="285757"/>
                    <a:pt x="402590" y="304172"/>
                  </a:cubicBezTo>
                  <a:cubicBezTo>
                    <a:pt x="441325" y="314332"/>
                    <a:pt x="480060" y="325762"/>
                    <a:pt x="514985" y="346717"/>
                  </a:cubicBezTo>
                  <a:cubicBezTo>
                    <a:pt x="520065" y="349892"/>
                    <a:pt x="526415" y="350527"/>
                    <a:pt x="528955" y="344812"/>
                  </a:cubicBezTo>
                  <a:cubicBezTo>
                    <a:pt x="528955" y="296552"/>
                    <a:pt x="299720" y="266072"/>
                    <a:pt x="247650" y="245752"/>
                  </a:cubicBezTo>
                  <a:close/>
                  <a:moveTo>
                    <a:pt x="190500" y="440062"/>
                  </a:moveTo>
                  <a:cubicBezTo>
                    <a:pt x="114300" y="454032"/>
                    <a:pt x="260350" y="477527"/>
                    <a:pt x="276860" y="483242"/>
                  </a:cubicBezTo>
                  <a:cubicBezTo>
                    <a:pt x="335915" y="490862"/>
                    <a:pt x="387350" y="520072"/>
                    <a:pt x="443230" y="535947"/>
                  </a:cubicBezTo>
                  <a:cubicBezTo>
                    <a:pt x="503555" y="508642"/>
                    <a:pt x="214630" y="446412"/>
                    <a:pt x="190500" y="440062"/>
                  </a:cubicBezTo>
                  <a:close/>
                  <a:moveTo>
                    <a:pt x="268605" y="189237"/>
                  </a:moveTo>
                  <a:cubicBezTo>
                    <a:pt x="246380" y="228607"/>
                    <a:pt x="356870" y="221622"/>
                    <a:pt x="381000" y="234322"/>
                  </a:cubicBezTo>
                  <a:cubicBezTo>
                    <a:pt x="434340" y="241307"/>
                    <a:pt x="481330" y="267977"/>
                    <a:pt x="532130" y="281312"/>
                  </a:cubicBezTo>
                  <a:cubicBezTo>
                    <a:pt x="610870" y="260992"/>
                    <a:pt x="292735" y="193047"/>
                    <a:pt x="268605" y="189237"/>
                  </a:cubicBezTo>
                  <a:close/>
                  <a:moveTo>
                    <a:pt x="529590" y="191777"/>
                  </a:moveTo>
                  <a:cubicBezTo>
                    <a:pt x="450215" y="181617"/>
                    <a:pt x="375920" y="153042"/>
                    <a:pt x="297815" y="136532"/>
                  </a:cubicBezTo>
                  <a:cubicBezTo>
                    <a:pt x="245745" y="161932"/>
                    <a:pt x="375920" y="169552"/>
                    <a:pt x="391795" y="180982"/>
                  </a:cubicBezTo>
                  <a:cubicBezTo>
                    <a:pt x="440055" y="196222"/>
                    <a:pt x="493395" y="197492"/>
                    <a:pt x="538480" y="220352"/>
                  </a:cubicBezTo>
                  <a:cubicBezTo>
                    <a:pt x="547370" y="224797"/>
                    <a:pt x="560070" y="217177"/>
                    <a:pt x="560070" y="205747"/>
                  </a:cubicBezTo>
                  <a:cubicBezTo>
                    <a:pt x="554990" y="193682"/>
                    <a:pt x="541020" y="193682"/>
                    <a:pt x="529590" y="191777"/>
                  </a:cubicBezTo>
                  <a:close/>
                  <a:moveTo>
                    <a:pt x="210185" y="381642"/>
                  </a:moveTo>
                  <a:cubicBezTo>
                    <a:pt x="205105" y="407677"/>
                    <a:pt x="219710" y="401327"/>
                    <a:pt x="234950" y="405137"/>
                  </a:cubicBezTo>
                  <a:cubicBezTo>
                    <a:pt x="308610" y="414027"/>
                    <a:pt x="380365" y="435617"/>
                    <a:pt x="449580" y="460382"/>
                  </a:cubicBezTo>
                  <a:cubicBezTo>
                    <a:pt x="534670" y="436887"/>
                    <a:pt x="233680" y="381007"/>
                    <a:pt x="210185" y="381642"/>
                  </a:cubicBezTo>
                  <a:close/>
                  <a:moveTo>
                    <a:pt x="158115" y="502292"/>
                  </a:moveTo>
                  <a:cubicBezTo>
                    <a:pt x="135890" y="498482"/>
                    <a:pt x="132080" y="519437"/>
                    <a:pt x="150495" y="523247"/>
                  </a:cubicBezTo>
                  <a:cubicBezTo>
                    <a:pt x="202565" y="528327"/>
                    <a:pt x="250190" y="551187"/>
                    <a:pt x="300355" y="561982"/>
                  </a:cubicBezTo>
                  <a:cubicBezTo>
                    <a:pt x="330200" y="530867"/>
                    <a:pt x="177165" y="511182"/>
                    <a:pt x="158115" y="50229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6" name="Google Shape;128;p3">
              <a:extLst>
                <a:ext uri="{FF2B5EF4-FFF2-40B4-BE49-F238E27FC236}">
                  <a16:creationId xmlns:a16="http://schemas.microsoft.com/office/drawing/2014/main" id="{DD11AFDF-9ADA-413F-88BB-D1A61CA48A22}"/>
                </a:ext>
              </a:extLst>
            </p:cNvPr>
            <p:cNvSpPr/>
            <p:nvPr/>
          </p:nvSpPr>
          <p:spPr>
            <a:xfrm>
              <a:off x="1393062" y="748927"/>
              <a:ext cx="579203" cy="652168"/>
            </a:xfrm>
            <a:custGeom>
              <a:avLst/>
              <a:gdLst/>
              <a:ahLst/>
              <a:cxnLst/>
              <a:rect l="l" t="t" r="r" b="b"/>
              <a:pathLst>
                <a:path w="673492" h="758335" extrusionOk="0">
                  <a:moveTo>
                    <a:pt x="673374" y="561486"/>
                  </a:moveTo>
                  <a:cubicBezTo>
                    <a:pt x="620034" y="462426"/>
                    <a:pt x="597174" y="341776"/>
                    <a:pt x="553359" y="235731"/>
                  </a:cubicBezTo>
                  <a:cubicBezTo>
                    <a:pt x="527959" y="165881"/>
                    <a:pt x="499384" y="97301"/>
                    <a:pt x="477794" y="26181"/>
                  </a:cubicBezTo>
                  <a:cubicBezTo>
                    <a:pt x="475254" y="15386"/>
                    <a:pt x="467634" y="-1759"/>
                    <a:pt x="454934" y="146"/>
                  </a:cubicBezTo>
                  <a:cubicBezTo>
                    <a:pt x="404769" y="24276"/>
                    <a:pt x="-2266" y="86506"/>
                    <a:pt x="34564" y="136036"/>
                  </a:cubicBezTo>
                  <a:cubicBezTo>
                    <a:pt x="28849" y="139846"/>
                    <a:pt x="23769" y="143656"/>
                    <a:pt x="17419" y="147466"/>
                  </a:cubicBezTo>
                  <a:cubicBezTo>
                    <a:pt x="22499" y="196996"/>
                    <a:pt x="-33381" y="231286"/>
                    <a:pt x="32024" y="268116"/>
                  </a:cubicBezTo>
                  <a:cubicBezTo>
                    <a:pt x="31389" y="291611"/>
                    <a:pt x="36469" y="315106"/>
                    <a:pt x="54884" y="332886"/>
                  </a:cubicBezTo>
                  <a:cubicBezTo>
                    <a:pt x="36469" y="370986"/>
                    <a:pt x="33929" y="384956"/>
                    <a:pt x="68854" y="435756"/>
                  </a:cubicBezTo>
                  <a:cubicBezTo>
                    <a:pt x="61234" y="452901"/>
                    <a:pt x="66314" y="470046"/>
                    <a:pt x="79014" y="484016"/>
                  </a:cubicBezTo>
                  <a:cubicBezTo>
                    <a:pt x="104414" y="513861"/>
                    <a:pt x="66314" y="558946"/>
                    <a:pt x="104414" y="580536"/>
                  </a:cubicBezTo>
                  <a:cubicBezTo>
                    <a:pt x="115209" y="625621"/>
                    <a:pt x="115209" y="689121"/>
                    <a:pt x="167914" y="701821"/>
                  </a:cubicBezTo>
                  <a:cubicBezTo>
                    <a:pt x="198394" y="706266"/>
                    <a:pt x="186964" y="743096"/>
                    <a:pt x="210459" y="758336"/>
                  </a:cubicBezTo>
                  <a:cubicBezTo>
                    <a:pt x="250464" y="731031"/>
                    <a:pt x="296184" y="718966"/>
                    <a:pt x="342539" y="708806"/>
                  </a:cubicBezTo>
                  <a:cubicBezTo>
                    <a:pt x="399054" y="687216"/>
                    <a:pt x="456839" y="670071"/>
                    <a:pt x="515894" y="651656"/>
                  </a:cubicBezTo>
                  <a:cubicBezTo>
                    <a:pt x="555899" y="628161"/>
                    <a:pt x="620669" y="634511"/>
                    <a:pt x="648609" y="599586"/>
                  </a:cubicBezTo>
                  <a:cubicBezTo>
                    <a:pt x="653689" y="581806"/>
                    <a:pt x="675279" y="581806"/>
                    <a:pt x="673374" y="561486"/>
                  </a:cubicBezTo>
                  <a:close/>
                  <a:moveTo>
                    <a:pt x="30754" y="205886"/>
                  </a:moveTo>
                  <a:cubicBezTo>
                    <a:pt x="33929" y="217951"/>
                    <a:pt x="36469" y="225571"/>
                    <a:pt x="37739" y="233191"/>
                  </a:cubicBezTo>
                  <a:cubicBezTo>
                    <a:pt x="28849" y="257956"/>
                    <a:pt x="5354" y="221761"/>
                    <a:pt x="30754" y="205886"/>
                  </a:cubicBezTo>
                  <a:close/>
                  <a:moveTo>
                    <a:pt x="59964" y="196996"/>
                  </a:moveTo>
                  <a:cubicBezTo>
                    <a:pt x="55519" y="196996"/>
                    <a:pt x="52979" y="196996"/>
                    <a:pt x="53614" y="191916"/>
                  </a:cubicBezTo>
                  <a:cubicBezTo>
                    <a:pt x="56789" y="192551"/>
                    <a:pt x="58694" y="195091"/>
                    <a:pt x="59964" y="196996"/>
                  </a:cubicBezTo>
                  <a:cubicBezTo>
                    <a:pt x="59964" y="200171"/>
                    <a:pt x="59329" y="202711"/>
                    <a:pt x="60599" y="205251"/>
                  </a:cubicBezTo>
                  <a:cubicBezTo>
                    <a:pt x="59329" y="202711"/>
                    <a:pt x="59964" y="199536"/>
                    <a:pt x="59964" y="196996"/>
                  </a:cubicBezTo>
                  <a:close/>
                  <a:moveTo>
                    <a:pt x="80284" y="409721"/>
                  </a:moveTo>
                  <a:cubicBezTo>
                    <a:pt x="61869" y="404641"/>
                    <a:pt x="59964" y="386226"/>
                    <a:pt x="68219" y="366541"/>
                  </a:cubicBezTo>
                  <a:cubicBezTo>
                    <a:pt x="81554" y="380511"/>
                    <a:pt x="84729" y="390036"/>
                    <a:pt x="80284" y="409721"/>
                  </a:cubicBezTo>
                  <a:close/>
                  <a:moveTo>
                    <a:pt x="72664" y="259226"/>
                  </a:moveTo>
                  <a:cubicBezTo>
                    <a:pt x="75204" y="259861"/>
                    <a:pt x="74569" y="260496"/>
                    <a:pt x="73934" y="262401"/>
                  </a:cubicBezTo>
                  <a:cubicBezTo>
                    <a:pt x="71394" y="262401"/>
                    <a:pt x="72029" y="261131"/>
                    <a:pt x="72664" y="259226"/>
                  </a:cubicBezTo>
                  <a:close/>
                  <a:moveTo>
                    <a:pt x="96159" y="445281"/>
                  </a:moveTo>
                  <a:cubicBezTo>
                    <a:pt x="106319" y="456711"/>
                    <a:pt x="113304" y="466236"/>
                    <a:pt x="105684" y="482746"/>
                  </a:cubicBezTo>
                  <a:cubicBezTo>
                    <a:pt x="92349" y="471316"/>
                    <a:pt x="81554" y="462426"/>
                    <a:pt x="96159" y="445281"/>
                  </a:cubicBezTo>
                  <a:close/>
                  <a:moveTo>
                    <a:pt x="98699" y="339236"/>
                  </a:moveTo>
                  <a:cubicBezTo>
                    <a:pt x="103144" y="352571"/>
                    <a:pt x="105684" y="362096"/>
                    <a:pt x="110129" y="376066"/>
                  </a:cubicBezTo>
                  <a:cubicBezTo>
                    <a:pt x="96159" y="359556"/>
                    <a:pt x="96159" y="359556"/>
                    <a:pt x="98699" y="339236"/>
                  </a:cubicBezTo>
                  <a:close/>
                  <a:moveTo>
                    <a:pt x="122829" y="558311"/>
                  </a:moveTo>
                  <a:cubicBezTo>
                    <a:pt x="94254" y="564026"/>
                    <a:pt x="106319" y="529736"/>
                    <a:pt x="119654" y="507511"/>
                  </a:cubicBezTo>
                  <a:cubicBezTo>
                    <a:pt x="126639" y="527196"/>
                    <a:pt x="143784" y="543706"/>
                    <a:pt x="122829" y="558311"/>
                  </a:cubicBezTo>
                  <a:close/>
                  <a:moveTo>
                    <a:pt x="136164" y="584981"/>
                  </a:moveTo>
                  <a:cubicBezTo>
                    <a:pt x="148864" y="589426"/>
                    <a:pt x="148229" y="597681"/>
                    <a:pt x="145689" y="606571"/>
                  </a:cubicBezTo>
                  <a:cubicBezTo>
                    <a:pt x="129814" y="626891"/>
                    <a:pt x="125369" y="595776"/>
                    <a:pt x="136164" y="584981"/>
                  </a:cubicBezTo>
                  <a:close/>
                  <a:moveTo>
                    <a:pt x="148864" y="645941"/>
                  </a:moveTo>
                  <a:cubicBezTo>
                    <a:pt x="166644" y="642131"/>
                    <a:pt x="169819" y="663086"/>
                    <a:pt x="171089" y="675786"/>
                  </a:cubicBezTo>
                  <a:cubicBezTo>
                    <a:pt x="155849" y="687851"/>
                    <a:pt x="141879" y="664356"/>
                    <a:pt x="148864" y="645941"/>
                  </a:cubicBezTo>
                  <a:close/>
                  <a:moveTo>
                    <a:pt x="222524" y="723411"/>
                  </a:moveTo>
                  <a:cubicBezTo>
                    <a:pt x="221889" y="722141"/>
                    <a:pt x="221254" y="720871"/>
                    <a:pt x="220619" y="719601"/>
                  </a:cubicBezTo>
                  <a:cubicBezTo>
                    <a:pt x="222524" y="718331"/>
                    <a:pt x="223794" y="718966"/>
                    <a:pt x="224429" y="721506"/>
                  </a:cubicBezTo>
                  <a:cubicBezTo>
                    <a:pt x="223159" y="722141"/>
                    <a:pt x="223159" y="722776"/>
                    <a:pt x="222524" y="723411"/>
                  </a:cubicBezTo>
                  <a:close/>
                  <a:moveTo>
                    <a:pt x="248559" y="709441"/>
                  </a:moveTo>
                  <a:cubicBezTo>
                    <a:pt x="251099" y="699281"/>
                    <a:pt x="261259" y="696106"/>
                    <a:pt x="269514" y="693566"/>
                  </a:cubicBezTo>
                  <a:cubicBezTo>
                    <a:pt x="355239" y="675151"/>
                    <a:pt x="435884" y="637051"/>
                    <a:pt x="520974" y="623716"/>
                  </a:cubicBezTo>
                  <a:cubicBezTo>
                    <a:pt x="502559" y="639591"/>
                    <a:pt x="282849" y="718966"/>
                    <a:pt x="248559" y="709441"/>
                  </a:cubicBezTo>
                  <a:close/>
                  <a:moveTo>
                    <a:pt x="523514" y="623081"/>
                  </a:moveTo>
                  <a:cubicBezTo>
                    <a:pt x="524784" y="622446"/>
                    <a:pt x="525419" y="621811"/>
                    <a:pt x="526689" y="621176"/>
                  </a:cubicBezTo>
                  <a:cubicBezTo>
                    <a:pt x="526054" y="622446"/>
                    <a:pt x="524784" y="623081"/>
                    <a:pt x="523514" y="623081"/>
                  </a:cubicBezTo>
                  <a:close/>
                  <a:moveTo>
                    <a:pt x="232684" y="682771"/>
                  </a:moveTo>
                  <a:cubicBezTo>
                    <a:pt x="222524" y="671341"/>
                    <a:pt x="222524" y="658006"/>
                    <a:pt x="216809" y="642766"/>
                  </a:cubicBezTo>
                  <a:cubicBezTo>
                    <a:pt x="254274" y="607841"/>
                    <a:pt x="182519" y="602126"/>
                    <a:pt x="206649" y="563391"/>
                  </a:cubicBezTo>
                  <a:cubicBezTo>
                    <a:pt x="190139" y="545611"/>
                    <a:pt x="173629" y="525926"/>
                    <a:pt x="174264" y="497986"/>
                  </a:cubicBezTo>
                  <a:cubicBezTo>
                    <a:pt x="237129" y="492906"/>
                    <a:pt x="139974" y="468141"/>
                    <a:pt x="148229" y="412261"/>
                  </a:cubicBezTo>
                  <a:cubicBezTo>
                    <a:pt x="155849" y="415436"/>
                    <a:pt x="162834" y="418611"/>
                    <a:pt x="172359" y="421786"/>
                  </a:cubicBezTo>
                  <a:cubicBezTo>
                    <a:pt x="172994" y="394481"/>
                    <a:pt x="151404" y="390671"/>
                    <a:pt x="136164" y="381781"/>
                  </a:cubicBezTo>
                  <a:cubicBezTo>
                    <a:pt x="132354" y="370351"/>
                    <a:pt x="127274" y="360191"/>
                    <a:pt x="128544" y="347491"/>
                  </a:cubicBezTo>
                  <a:cubicBezTo>
                    <a:pt x="134894" y="346856"/>
                    <a:pt x="139974" y="346221"/>
                    <a:pt x="145054" y="346221"/>
                  </a:cubicBezTo>
                  <a:cubicBezTo>
                    <a:pt x="160294" y="320821"/>
                    <a:pt x="97429" y="315741"/>
                    <a:pt x="103779" y="266211"/>
                  </a:cubicBezTo>
                  <a:cubicBezTo>
                    <a:pt x="110129" y="264941"/>
                    <a:pt x="115209" y="264306"/>
                    <a:pt x="122194" y="263036"/>
                  </a:cubicBezTo>
                  <a:cubicBezTo>
                    <a:pt x="119654" y="230651"/>
                    <a:pt x="87269" y="233826"/>
                    <a:pt x="84094" y="197631"/>
                  </a:cubicBezTo>
                  <a:cubicBezTo>
                    <a:pt x="89809" y="194456"/>
                    <a:pt x="95524" y="191281"/>
                    <a:pt x="103144" y="186836"/>
                  </a:cubicBezTo>
                  <a:cubicBezTo>
                    <a:pt x="84094" y="166516"/>
                    <a:pt x="63139" y="158261"/>
                    <a:pt x="62504" y="125876"/>
                  </a:cubicBezTo>
                  <a:cubicBezTo>
                    <a:pt x="184424" y="76346"/>
                    <a:pt x="322219" y="50946"/>
                    <a:pt x="451759" y="25546"/>
                  </a:cubicBezTo>
                  <a:cubicBezTo>
                    <a:pt x="519069" y="198266"/>
                    <a:pt x="592094" y="374796"/>
                    <a:pt x="635909" y="555771"/>
                  </a:cubicBezTo>
                  <a:cubicBezTo>
                    <a:pt x="508274" y="616096"/>
                    <a:pt x="366669" y="643401"/>
                    <a:pt x="232684" y="682771"/>
                  </a:cubicBezTo>
                  <a:close/>
                  <a:moveTo>
                    <a:pt x="397784" y="69361"/>
                  </a:moveTo>
                  <a:cubicBezTo>
                    <a:pt x="303804" y="94126"/>
                    <a:pt x="210459" y="117621"/>
                    <a:pt x="117114" y="145561"/>
                  </a:cubicBezTo>
                  <a:cubicBezTo>
                    <a:pt x="171724" y="303041"/>
                    <a:pt x="205379" y="466236"/>
                    <a:pt x="253004" y="625621"/>
                  </a:cubicBezTo>
                  <a:cubicBezTo>
                    <a:pt x="256179" y="635146"/>
                    <a:pt x="265069" y="638956"/>
                    <a:pt x="273324" y="633876"/>
                  </a:cubicBezTo>
                  <a:cubicBezTo>
                    <a:pt x="378734" y="598951"/>
                    <a:pt x="487954" y="572916"/>
                    <a:pt x="593999" y="537356"/>
                  </a:cubicBezTo>
                  <a:cubicBezTo>
                    <a:pt x="560344" y="406546"/>
                    <a:pt x="498749" y="280816"/>
                    <a:pt x="461919" y="148736"/>
                  </a:cubicBezTo>
                  <a:cubicBezTo>
                    <a:pt x="451124" y="116351"/>
                    <a:pt x="444774" y="54756"/>
                    <a:pt x="397784" y="69361"/>
                  </a:cubicBezTo>
                  <a:close/>
                  <a:moveTo>
                    <a:pt x="415564" y="90951"/>
                  </a:moveTo>
                  <a:cubicBezTo>
                    <a:pt x="425089" y="97936"/>
                    <a:pt x="427629" y="107461"/>
                    <a:pt x="426359" y="122066"/>
                  </a:cubicBezTo>
                  <a:cubicBezTo>
                    <a:pt x="375559" y="158896"/>
                    <a:pt x="350159" y="80156"/>
                    <a:pt x="415564" y="90951"/>
                  </a:cubicBezTo>
                  <a:close/>
                  <a:moveTo>
                    <a:pt x="433344" y="378606"/>
                  </a:moveTo>
                  <a:cubicBezTo>
                    <a:pt x="425724" y="381146"/>
                    <a:pt x="418739" y="383051"/>
                    <a:pt x="413024" y="384321"/>
                  </a:cubicBezTo>
                  <a:cubicBezTo>
                    <a:pt x="395879" y="367176"/>
                    <a:pt x="387624" y="339871"/>
                    <a:pt x="425089" y="339871"/>
                  </a:cubicBezTo>
                  <a:cubicBezTo>
                    <a:pt x="430804" y="350666"/>
                    <a:pt x="434614" y="362096"/>
                    <a:pt x="433344" y="378606"/>
                  </a:cubicBezTo>
                  <a:close/>
                  <a:moveTo>
                    <a:pt x="423819" y="437661"/>
                  </a:moveTo>
                  <a:cubicBezTo>
                    <a:pt x="419374" y="426866"/>
                    <a:pt x="416834" y="420516"/>
                    <a:pt x="414294" y="409086"/>
                  </a:cubicBezTo>
                  <a:cubicBezTo>
                    <a:pt x="453664" y="375431"/>
                    <a:pt x="471444" y="442741"/>
                    <a:pt x="423819" y="437661"/>
                  </a:cubicBezTo>
                  <a:close/>
                  <a:moveTo>
                    <a:pt x="284754" y="308756"/>
                  </a:moveTo>
                  <a:cubicBezTo>
                    <a:pt x="299359" y="319551"/>
                    <a:pt x="299994" y="334156"/>
                    <a:pt x="306344" y="350666"/>
                  </a:cubicBezTo>
                  <a:cubicBezTo>
                    <a:pt x="293009" y="362096"/>
                    <a:pt x="280309" y="362096"/>
                    <a:pt x="267609" y="365271"/>
                  </a:cubicBezTo>
                  <a:cubicBezTo>
                    <a:pt x="258719" y="351936"/>
                    <a:pt x="255544" y="338601"/>
                    <a:pt x="254909" y="322091"/>
                  </a:cubicBezTo>
                  <a:cubicBezTo>
                    <a:pt x="265069" y="317646"/>
                    <a:pt x="273959" y="313201"/>
                    <a:pt x="284754" y="308756"/>
                  </a:cubicBezTo>
                  <a:close/>
                  <a:moveTo>
                    <a:pt x="249194" y="297961"/>
                  </a:moveTo>
                  <a:cubicBezTo>
                    <a:pt x="244749" y="285896"/>
                    <a:pt x="240939" y="275101"/>
                    <a:pt x="237129" y="263671"/>
                  </a:cubicBezTo>
                  <a:cubicBezTo>
                    <a:pt x="248559" y="257321"/>
                    <a:pt x="258719" y="252876"/>
                    <a:pt x="272054" y="254146"/>
                  </a:cubicBezTo>
                  <a:cubicBezTo>
                    <a:pt x="287294" y="278276"/>
                    <a:pt x="289834" y="297961"/>
                    <a:pt x="249194" y="297961"/>
                  </a:cubicBezTo>
                  <a:close/>
                  <a:moveTo>
                    <a:pt x="312059" y="285261"/>
                  </a:moveTo>
                  <a:cubicBezTo>
                    <a:pt x="297454" y="273831"/>
                    <a:pt x="299359" y="260496"/>
                    <a:pt x="297454" y="248431"/>
                  </a:cubicBezTo>
                  <a:cubicBezTo>
                    <a:pt x="307614" y="236366"/>
                    <a:pt x="320949" y="233191"/>
                    <a:pt x="334284" y="230651"/>
                  </a:cubicBezTo>
                  <a:cubicBezTo>
                    <a:pt x="346984" y="240811"/>
                    <a:pt x="344444" y="256051"/>
                    <a:pt x="350159" y="268116"/>
                  </a:cubicBezTo>
                  <a:cubicBezTo>
                    <a:pt x="339999" y="283356"/>
                    <a:pt x="322854" y="278276"/>
                    <a:pt x="312059" y="285261"/>
                  </a:cubicBezTo>
                  <a:close/>
                  <a:moveTo>
                    <a:pt x="369209" y="328441"/>
                  </a:moveTo>
                  <a:cubicBezTo>
                    <a:pt x="357144" y="339871"/>
                    <a:pt x="343174" y="344316"/>
                    <a:pt x="327299" y="348126"/>
                  </a:cubicBezTo>
                  <a:cubicBezTo>
                    <a:pt x="322219" y="333521"/>
                    <a:pt x="317139" y="320186"/>
                    <a:pt x="310154" y="301771"/>
                  </a:cubicBezTo>
                  <a:cubicBezTo>
                    <a:pt x="326029" y="297326"/>
                    <a:pt x="338094" y="294151"/>
                    <a:pt x="349524" y="290976"/>
                  </a:cubicBezTo>
                  <a:cubicBezTo>
                    <a:pt x="364764" y="301136"/>
                    <a:pt x="364129" y="315741"/>
                    <a:pt x="369209" y="328441"/>
                  </a:cubicBezTo>
                  <a:close/>
                  <a:moveTo>
                    <a:pt x="308249" y="374796"/>
                  </a:moveTo>
                  <a:cubicBezTo>
                    <a:pt x="317139" y="386226"/>
                    <a:pt x="320949" y="398926"/>
                    <a:pt x="323489" y="416071"/>
                  </a:cubicBezTo>
                  <a:cubicBezTo>
                    <a:pt x="308884" y="420516"/>
                    <a:pt x="298724" y="428136"/>
                    <a:pt x="284119" y="423056"/>
                  </a:cubicBezTo>
                  <a:cubicBezTo>
                    <a:pt x="280944" y="412261"/>
                    <a:pt x="278404" y="401466"/>
                    <a:pt x="275229" y="390036"/>
                  </a:cubicBezTo>
                  <a:cubicBezTo>
                    <a:pt x="282849" y="378606"/>
                    <a:pt x="294914" y="375431"/>
                    <a:pt x="308249" y="374796"/>
                  </a:cubicBezTo>
                  <a:close/>
                  <a:moveTo>
                    <a:pt x="327934" y="435756"/>
                  </a:moveTo>
                  <a:cubicBezTo>
                    <a:pt x="338729" y="444011"/>
                    <a:pt x="340634" y="456076"/>
                    <a:pt x="343174" y="468141"/>
                  </a:cubicBezTo>
                  <a:cubicBezTo>
                    <a:pt x="334284" y="478936"/>
                    <a:pt x="322219" y="480206"/>
                    <a:pt x="310789" y="484016"/>
                  </a:cubicBezTo>
                  <a:cubicBezTo>
                    <a:pt x="298724" y="475761"/>
                    <a:pt x="292374" y="464331"/>
                    <a:pt x="291739" y="450361"/>
                  </a:cubicBezTo>
                  <a:cubicBezTo>
                    <a:pt x="308249" y="438296"/>
                    <a:pt x="308249" y="437661"/>
                    <a:pt x="327934" y="435756"/>
                  </a:cubicBezTo>
                  <a:close/>
                  <a:moveTo>
                    <a:pt x="332379" y="373526"/>
                  </a:moveTo>
                  <a:cubicBezTo>
                    <a:pt x="344444" y="361461"/>
                    <a:pt x="358414" y="357016"/>
                    <a:pt x="375559" y="353206"/>
                  </a:cubicBezTo>
                  <a:cubicBezTo>
                    <a:pt x="384449" y="366541"/>
                    <a:pt x="385084" y="377971"/>
                    <a:pt x="384449" y="390671"/>
                  </a:cubicBezTo>
                  <a:cubicBezTo>
                    <a:pt x="373654" y="401466"/>
                    <a:pt x="360319" y="405276"/>
                    <a:pt x="345714" y="406546"/>
                  </a:cubicBezTo>
                  <a:cubicBezTo>
                    <a:pt x="336189" y="397021"/>
                    <a:pt x="334919" y="385591"/>
                    <a:pt x="332379" y="373526"/>
                  </a:cubicBezTo>
                  <a:close/>
                  <a:moveTo>
                    <a:pt x="386989" y="414166"/>
                  </a:moveTo>
                  <a:cubicBezTo>
                    <a:pt x="398419" y="421786"/>
                    <a:pt x="399689" y="434486"/>
                    <a:pt x="402229" y="446551"/>
                  </a:cubicBezTo>
                  <a:cubicBezTo>
                    <a:pt x="392704" y="456076"/>
                    <a:pt x="381909" y="457981"/>
                    <a:pt x="369844" y="458616"/>
                  </a:cubicBezTo>
                  <a:cubicBezTo>
                    <a:pt x="360954" y="450361"/>
                    <a:pt x="358414" y="439566"/>
                    <a:pt x="355874" y="428771"/>
                  </a:cubicBezTo>
                  <a:cubicBezTo>
                    <a:pt x="363494" y="417341"/>
                    <a:pt x="375559" y="417976"/>
                    <a:pt x="386989" y="414166"/>
                  </a:cubicBezTo>
                  <a:close/>
                  <a:moveTo>
                    <a:pt x="404769" y="279546"/>
                  </a:moveTo>
                  <a:cubicBezTo>
                    <a:pt x="412389" y="289071"/>
                    <a:pt x="413024" y="302406"/>
                    <a:pt x="420009" y="314471"/>
                  </a:cubicBezTo>
                  <a:cubicBezTo>
                    <a:pt x="388894" y="350666"/>
                    <a:pt x="352699" y="279546"/>
                    <a:pt x="404769" y="279546"/>
                  </a:cubicBezTo>
                  <a:close/>
                  <a:moveTo>
                    <a:pt x="372384" y="263036"/>
                  </a:moveTo>
                  <a:cubicBezTo>
                    <a:pt x="363494" y="251606"/>
                    <a:pt x="361589" y="238906"/>
                    <a:pt x="363494" y="223031"/>
                  </a:cubicBezTo>
                  <a:cubicBezTo>
                    <a:pt x="370479" y="220491"/>
                    <a:pt x="376829" y="218586"/>
                    <a:pt x="382544" y="216681"/>
                  </a:cubicBezTo>
                  <a:cubicBezTo>
                    <a:pt x="400324" y="230016"/>
                    <a:pt x="413659" y="260496"/>
                    <a:pt x="372384" y="263036"/>
                  </a:cubicBezTo>
                  <a:close/>
                  <a:moveTo>
                    <a:pt x="354604" y="201441"/>
                  </a:moveTo>
                  <a:cubicBezTo>
                    <a:pt x="345714" y="193186"/>
                    <a:pt x="344444" y="181756"/>
                    <a:pt x="341904" y="168421"/>
                  </a:cubicBezTo>
                  <a:cubicBezTo>
                    <a:pt x="349524" y="165246"/>
                    <a:pt x="356509" y="161436"/>
                    <a:pt x="366669" y="156991"/>
                  </a:cubicBezTo>
                  <a:cubicBezTo>
                    <a:pt x="378099" y="179216"/>
                    <a:pt x="393339" y="203346"/>
                    <a:pt x="354604" y="201441"/>
                  </a:cubicBezTo>
                  <a:close/>
                  <a:moveTo>
                    <a:pt x="363494" y="137306"/>
                  </a:moveTo>
                  <a:cubicBezTo>
                    <a:pt x="354604" y="143656"/>
                    <a:pt x="346984" y="145561"/>
                    <a:pt x="337459" y="146831"/>
                  </a:cubicBezTo>
                  <a:cubicBezTo>
                    <a:pt x="299359" y="106826"/>
                    <a:pt x="355239" y="80791"/>
                    <a:pt x="363494" y="137306"/>
                  </a:cubicBezTo>
                  <a:close/>
                  <a:moveTo>
                    <a:pt x="328569" y="207791"/>
                  </a:moveTo>
                  <a:cubicBezTo>
                    <a:pt x="311424" y="219221"/>
                    <a:pt x="311424" y="219221"/>
                    <a:pt x="293009" y="221761"/>
                  </a:cubicBezTo>
                  <a:cubicBezTo>
                    <a:pt x="268879" y="193821"/>
                    <a:pt x="277134" y="170326"/>
                    <a:pt x="315869" y="174771"/>
                  </a:cubicBezTo>
                  <a:cubicBezTo>
                    <a:pt x="324759" y="187471"/>
                    <a:pt x="324759" y="187471"/>
                    <a:pt x="328569" y="207791"/>
                  </a:cubicBezTo>
                  <a:close/>
                  <a:moveTo>
                    <a:pt x="312694" y="154451"/>
                  </a:moveTo>
                  <a:cubicBezTo>
                    <a:pt x="299994" y="162706"/>
                    <a:pt x="289199" y="165246"/>
                    <a:pt x="276499" y="163341"/>
                  </a:cubicBezTo>
                  <a:cubicBezTo>
                    <a:pt x="267609" y="153816"/>
                    <a:pt x="265069" y="141751"/>
                    <a:pt x="261894" y="127781"/>
                  </a:cubicBezTo>
                  <a:cubicBezTo>
                    <a:pt x="290469" y="104286"/>
                    <a:pt x="308249" y="123336"/>
                    <a:pt x="312694" y="154451"/>
                  </a:cubicBezTo>
                  <a:close/>
                  <a:moveTo>
                    <a:pt x="269514" y="229381"/>
                  </a:moveTo>
                  <a:cubicBezTo>
                    <a:pt x="254909" y="238906"/>
                    <a:pt x="243479" y="242716"/>
                    <a:pt x="230144" y="238906"/>
                  </a:cubicBezTo>
                  <a:cubicBezTo>
                    <a:pt x="222524" y="226841"/>
                    <a:pt x="218714" y="214141"/>
                    <a:pt x="218714" y="200171"/>
                  </a:cubicBezTo>
                  <a:cubicBezTo>
                    <a:pt x="228239" y="191281"/>
                    <a:pt x="238399" y="188106"/>
                    <a:pt x="251734" y="189376"/>
                  </a:cubicBezTo>
                  <a:cubicBezTo>
                    <a:pt x="263799" y="198901"/>
                    <a:pt x="262529" y="214141"/>
                    <a:pt x="269514" y="229381"/>
                  </a:cubicBezTo>
                  <a:close/>
                  <a:moveTo>
                    <a:pt x="205379" y="139846"/>
                  </a:moveTo>
                  <a:cubicBezTo>
                    <a:pt x="241574" y="132861"/>
                    <a:pt x="244114" y="134131"/>
                    <a:pt x="248559" y="165881"/>
                  </a:cubicBezTo>
                  <a:cubicBezTo>
                    <a:pt x="233954" y="174771"/>
                    <a:pt x="233954" y="175406"/>
                    <a:pt x="212364" y="176041"/>
                  </a:cubicBezTo>
                  <a:cubicBezTo>
                    <a:pt x="205379" y="166516"/>
                    <a:pt x="202204" y="155086"/>
                    <a:pt x="205379" y="139846"/>
                  </a:cubicBezTo>
                  <a:close/>
                  <a:moveTo>
                    <a:pt x="146959" y="160166"/>
                  </a:moveTo>
                  <a:cubicBezTo>
                    <a:pt x="155849" y="153181"/>
                    <a:pt x="164739" y="148736"/>
                    <a:pt x="177439" y="151911"/>
                  </a:cubicBezTo>
                  <a:cubicBezTo>
                    <a:pt x="182519" y="162071"/>
                    <a:pt x="186964" y="172231"/>
                    <a:pt x="185694" y="184296"/>
                  </a:cubicBezTo>
                  <a:cubicBezTo>
                    <a:pt x="172359" y="193821"/>
                    <a:pt x="172359" y="193821"/>
                    <a:pt x="154579" y="195726"/>
                  </a:cubicBezTo>
                  <a:cubicBezTo>
                    <a:pt x="149499" y="183026"/>
                    <a:pt x="145689" y="172231"/>
                    <a:pt x="146959" y="160166"/>
                  </a:cubicBezTo>
                  <a:close/>
                  <a:moveTo>
                    <a:pt x="194584" y="209696"/>
                  </a:moveTo>
                  <a:cubicBezTo>
                    <a:pt x="204109" y="225571"/>
                    <a:pt x="203474" y="225571"/>
                    <a:pt x="204744" y="245891"/>
                  </a:cubicBezTo>
                  <a:cubicBezTo>
                    <a:pt x="199029" y="254781"/>
                    <a:pt x="189504" y="257956"/>
                    <a:pt x="176804" y="259861"/>
                  </a:cubicBezTo>
                  <a:cubicBezTo>
                    <a:pt x="160929" y="240811"/>
                    <a:pt x="160294" y="202076"/>
                    <a:pt x="194584" y="209696"/>
                  </a:cubicBezTo>
                  <a:close/>
                  <a:moveTo>
                    <a:pt x="181884" y="289071"/>
                  </a:moveTo>
                  <a:cubicBezTo>
                    <a:pt x="188869" y="277641"/>
                    <a:pt x="200299" y="273196"/>
                    <a:pt x="212999" y="271291"/>
                  </a:cubicBezTo>
                  <a:cubicBezTo>
                    <a:pt x="222524" y="281451"/>
                    <a:pt x="225699" y="292881"/>
                    <a:pt x="226334" y="305581"/>
                  </a:cubicBezTo>
                  <a:cubicBezTo>
                    <a:pt x="211729" y="316376"/>
                    <a:pt x="211729" y="316376"/>
                    <a:pt x="195219" y="317646"/>
                  </a:cubicBezTo>
                  <a:cubicBezTo>
                    <a:pt x="187599" y="310026"/>
                    <a:pt x="186964" y="299231"/>
                    <a:pt x="181884" y="289071"/>
                  </a:cubicBezTo>
                  <a:close/>
                  <a:moveTo>
                    <a:pt x="230779" y="331616"/>
                  </a:moveTo>
                  <a:cubicBezTo>
                    <a:pt x="240304" y="344316"/>
                    <a:pt x="254274" y="374161"/>
                    <a:pt x="232684" y="379876"/>
                  </a:cubicBezTo>
                  <a:cubicBezTo>
                    <a:pt x="193314" y="386226"/>
                    <a:pt x="192679" y="330981"/>
                    <a:pt x="230779" y="331616"/>
                  </a:cubicBezTo>
                  <a:close/>
                  <a:moveTo>
                    <a:pt x="217444" y="409721"/>
                  </a:moveTo>
                  <a:cubicBezTo>
                    <a:pt x="228874" y="401466"/>
                    <a:pt x="239669" y="397656"/>
                    <a:pt x="251734" y="397656"/>
                  </a:cubicBezTo>
                  <a:cubicBezTo>
                    <a:pt x="261259" y="406546"/>
                    <a:pt x="263164" y="417976"/>
                    <a:pt x="261894" y="431311"/>
                  </a:cubicBezTo>
                  <a:cubicBezTo>
                    <a:pt x="252369" y="439566"/>
                    <a:pt x="242209" y="445281"/>
                    <a:pt x="228239" y="444646"/>
                  </a:cubicBezTo>
                  <a:cubicBezTo>
                    <a:pt x="219984" y="435121"/>
                    <a:pt x="219984" y="423691"/>
                    <a:pt x="217444" y="409721"/>
                  </a:cubicBezTo>
                  <a:close/>
                  <a:moveTo>
                    <a:pt x="235224" y="469411"/>
                  </a:moveTo>
                  <a:cubicBezTo>
                    <a:pt x="244749" y="464966"/>
                    <a:pt x="253639" y="460521"/>
                    <a:pt x="262529" y="456076"/>
                  </a:cubicBezTo>
                  <a:cubicBezTo>
                    <a:pt x="276499" y="464966"/>
                    <a:pt x="280309" y="477666"/>
                    <a:pt x="280944" y="492271"/>
                  </a:cubicBezTo>
                  <a:cubicBezTo>
                    <a:pt x="271419" y="503066"/>
                    <a:pt x="259989" y="508781"/>
                    <a:pt x="244749" y="507511"/>
                  </a:cubicBezTo>
                  <a:cubicBezTo>
                    <a:pt x="237129" y="496081"/>
                    <a:pt x="235224" y="484016"/>
                    <a:pt x="235224" y="469411"/>
                  </a:cubicBezTo>
                  <a:close/>
                  <a:moveTo>
                    <a:pt x="256179" y="560851"/>
                  </a:moveTo>
                  <a:cubicBezTo>
                    <a:pt x="253639" y="550691"/>
                    <a:pt x="251734" y="542436"/>
                    <a:pt x="249194" y="534816"/>
                  </a:cubicBezTo>
                  <a:cubicBezTo>
                    <a:pt x="259354" y="524021"/>
                    <a:pt x="271419" y="520846"/>
                    <a:pt x="282849" y="517671"/>
                  </a:cubicBezTo>
                  <a:cubicBezTo>
                    <a:pt x="294279" y="524656"/>
                    <a:pt x="294914" y="535451"/>
                    <a:pt x="297454" y="546246"/>
                  </a:cubicBezTo>
                  <a:cubicBezTo>
                    <a:pt x="286659" y="556406"/>
                    <a:pt x="273959" y="558311"/>
                    <a:pt x="256179" y="560851"/>
                  </a:cubicBezTo>
                  <a:close/>
                  <a:moveTo>
                    <a:pt x="276499" y="606571"/>
                  </a:moveTo>
                  <a:cubicBezTo>
                    <a:pt x="267609" y="600221"/>
                    <a:pt x="265704" y="592601"/>
                    <a:pt x="268879" y="581171"/>
                  </a:cubicBezTo>
                  <a:cubicBezTo>
                    <a:pt x="315869" y="551961"/>
                    <a:pt x="331109" y="608476"/>
                    <a:pt x="276499" y="606571"/>
                  </a:cubicBezTo>
                  <a:close/>
                  <a:moveTo>
                    <a:pt x="348889" y="487826"/>
                  </a:moveTo>
                  <a:cubicBezTo>
                    <a:pt x="362224" y="494811"/>
                    <a:pt x="362859" y="506876"/>
                    <a:pt x="364129" y="523386"/>
                  </a:cubicBezTo>
                  <a:cubicBezTo>
                    <a:pt x="350159" y="528466"/>
                    <a:pt x="338729" y="532911"/>
                    <a:pt x="327934" y="536721"/>
                  </a:cubicBezTo>
                  <a:cubicBezTo>
                    <a:pt x="296819" y="511321"/>
                    <a:pt x="317774" y="493541"/>
                    <a:pt x="348889" y="487826"/>
                  </a:cubicBezTo>
                  <a:close/>
                  <a:moveTo>
                    <a:pt x="339364" y="593871"/>
                  </a:moveTo>
                  <a:cubicBezTo>
                    <a:pt x="329839" y="585616"/>
                    <a:pt x="333014" y="572916"/>
                    <a:pt x="329204" y="562121"/>
                  </a:cubicBezTo>
                  <a:cubicBezTo>
                    <a:pt x="338729" y="548151"/>
                    <a:pt x="353969" y="546246"/>
                    <a:pt x="366669" y="541166"/>
                  </a:cubicBezTo>
                  <a:cubicBezTo>
                    <a:pt x="378099" y="555771"/>
                    <a:pt x="378099" y="555771"/>
                    <a:pt x="380004" y="579266"/>
                  </a:cubicBezTo>
                  <a:cubicBezTo>
                    <a:pt x="362859" y="591331"/>
                    <a:pt x="362859" y="591331"/>
                    <a:pt x="339364" y="593871"/>
                  </a:cubicBezTo>
                  <a:close/>
                  <a:moveTo>
                    <a:pt x="378099" y="481476"/>
                  </a:moveTo>
                  <a:cubicBezTo>
                    <a:pt x="385719" y="471951"/>
                    <a:pt x="394609" y="468141"/>
                    <a:pt x="406674" y="468776"/>
                  </a:cubicBezTo>
                  <a:cubicBezTo>
                    <a:pt x="414294" y="477666"/>
                    <a:pt x="418739" y="487826"/>
                    <a:pt x="420009" y="499256"/>
                  </a:cubicBezTo>
                  <a:cubicBezTo>
                    <a:pt x="413024" y="509416"/>
                    <a:pt x="402864" y="512591"/>
                    <a:pt x="390164" y="515131"/>
                  </a:cubicBezTo>
                  <a:cubicBezTo>
                    <a:pt x="380639" y="504971"/>
                    <a:pt x="380639" y="492906"/>
                    <a:pt x="378099" y="481476"/>
                  </a:cubicBezTo>
                  <a:close/>
                  <a:moveTo>
                    <a:pt x="411119" y="571646"/>
                  </a:moveTo>
                  <a:cubicBezTo>
                    <a:pt x="393339" y="550056"/>
                    <a:pt x="389529" y="530371"/>
                    <a:pt x="425724" y="524021"/>
                  </a:cubicBezTo>
                  <a:cubicBezTo>
                    <a:pt x="432074" y="536721"/>
                    <a:pt x="437154" y="550056"/>
                    <a:pt x="441599" y="564026"/>
                  </a:cubicBezTo>
                  <a:cubicBezTo>
                    <a:pt x="432074" y="571011"/>
                    <a:pt x="422549" y="573551"/>
                    <a:pt x="411119" y="571646"/>
                  </a:cubicBezTo>
                  <a:close/>
                  <a:moveTo>
                    <a:pt x="435884" y="480841"/>
                  </a:moveTo>
                  <a:cubicBezTo>
                    <a:pt x="425724" y="454806"/>
                    <a:pt x="442869" y="452901"/>
                    <a:pt x="462554" y="447821"/>
                  </a:cubicBezTo>
                  <a:cubicBezTo>
                    <a:pt x="487954" y="483381"/>
                    <a:pt x="456204" y="514496"/>
                    <a:pt x="435884" y="480841"/>
                  </a:cubicBezTo>
                  <a:close/>
                  <a:moveTo>
                    <a:pt x="466364" y="555136"/>
                  </a:moveTo>
                  <a:cubicBezTo>
                    <a:pt x="458744" y="541166"/>
                    <a:pt x="447949" y="529736"/>
                    <a:pt x="451759" y="508781"/>
                  </a:cubicBezTo>
                  <a:lnTo>
                    <a:pt x="483509" y="508781"/>
                  </a:lnTo>
                  <a:cubicBezTo>
                    <a:pt x="486684" y="519576"/>
                    <a:pt x="489224" y="530371"/>
                    <a:pt x="491764" y="539261"/>
                  </a:cubicBezTo>
                  <a:cubicBezTo>
                    <a:pt x="486049" y="551961"/>
                    <a:pt x="476524" y="552596"/>
                    <a:pt x="466364" y="555136"/>
                  </a:cubicBezTo>
                  <a:close/>
                  <a:moveTo>
                    <a:pt x="551454" y="482111"/>
                  </a:moveTo>
                  <a:cubicBezTo>
                    <a:pt x="560344" y="494811"/>
                    <a:pt x="569234" y="508146"/>
                    <a:pt x="571139" y="525926"/>
                  </a:cubicBezTo>
                  <a:cubicBezTo>
                    <a:pt x="553359" y="529101"/>
                    <a:pt x="537484" y="532911"/>
                    <a:pt x="520339" y="539261"/>
                  </a:cubicBezTo>
                  <a:cubicBezTo>
                    <a:pt x="509544" y="525926"/>
                    <a:pt x="510179" y="511321"/>
                    <a:pt x="508274" y="496081"/>
                  </a:cubicBezTo>
                  <a:cubicBezTo>
                    <a:pt x="522244" y="487826"/>
                    <a:pt x="534309" y="480841"/>
                    <a:pt x="551454" y="482111"/>
                  </a:cubicBezTo>
                  <a:close/>
                  <a:moveTo>
                    <a:pt x="543199" y="456076"/>
                  </a:moveTo>
                  <a:cubicBezTo>
                    <a:pt x="529229" y="464331"/>
                    <a:pt x="516529" y="470681"/>
                    <a:pt x="501289" y="473856"/>
                  </a:cubicBezTo>
                  <a:cubicBezTo>
                    <a:pt x="492399" y="464966"/>
                    <a:pt x="489224" y="454171"/>
                    <a:pt x="487954" y="441471"/>
                  </a:cubicBezTo>
                  <a:cubicBezTo>
                    <a:pt x="500019" y="428771"/>
                    <a:pt x="515894" y="429406"/>
                    <a:pt x="531769" y="423056"/>
                  </a:cubicBezTo>
                  <a:cubicBezTo>
                    <a:pt x="536214" y="435756"/>
                    <a:pt x="539389" y="445281"/>
                    <a:pt x="543199" y="456076"/>
                  </a:cubicBezTo>
                  <a:close/>
                  <a:moveTo>
                    <a:pt x="481604" y="419246"/>
                  </a:moveTo>
                  <a:cubicBezTo>
                    <a:pt x="477794" y="409721"/>
                    <a:pt x="475254" y="403371"/>
                    <a:pt x="472714" y="396386"/>
                  </a:cubicBezTo>
                  <a:cubicBezTo>
                    <a:pt x="517799" y="362096"/>
                    <a:pt x="550184" y="405276"/>
                    <a:pt x="481604" y="419246"/>
                  </a:cubicBezTo>
                  <a:close/>
                  <a:moveTo>
                    <a:pt x="510179" y="353206"/>
                  </a:moveTo>
                  <a:cubicBezTo>
                    <a:pt x="496209" y="364636"/>
                    <a:pt x="480969" y="369081"/>
                    <a:pt x="458744" y="367811"/>
                  </a:cubicBezTo>
                  <a:cubicBezTo>
                    <a:pt x="455569" y="354476"/>
                    <a:pt x="453029" y="342411"/>
                    <a:pt x="449854" y="330346"/>
                  </a:cubicBezTo>
                  <a:cubicBezTo>
                    <a:pt x="462554" y="318916"/>
                    <a:pt x="475254" y="312566"/>
                    <a:pt x="493034" y="317011"/>
                  </a:cubicBezTo>
                  <a:cubicBezTo>
                    <a:pt x="500019" y="328441"/>
                    <a:pt x="505734" y="339871"/>
                    <a:pt x="510179" y="353206"/>
                  </a:cubicBezTo>
                  <a:close/>
                  <a:moveTo>
                    <a:pt x="484144" y="289706"/>
                  </a:moveTo>
                  <a:cubicBezTo>
                    <a:pt x="470174" y="295421"/>
                    <a:pt x="457474" y="303041"/>
                    <a:pt x="442234" y="304946"/>
                  </a:cubicBezTo>
                  <a:cubicBezTo>
                    <a:pt x="430804" y="295421"/>
                    <a:pt x="430169" y="282721"/>
                    <a:pt x="428899" y="271926"/>
                  </a:cubicBezTo>
                  <a:cubicBezTo>
                    <a:pt x="437789" y="259861"/>
                    <a:pt x="449219" y="264941"/>
                    <a:pt x="459379" y="264306"/>
                  </a:cubicBezTo>
                  <a:cubicBezTo>
                    <a:pt x="479699" y="259861"/>
                    <a:pt x="481604" y="270656"/>
                    <a:pt x="484144" y="289706"/>
                  </a:cubicBezTo>
                  <a:close/>
                  <a:moveTo>
                    <a:pt x="465729" y="238271"/>
                  </a:moveTo>
                  <a:cubicBezTo>
                    <a:pt x="451759" y="240811"/>
                    <a:pt x="439059" y="242716"/>
                    <a:pt x="424454" y="245256"/>
                  </a:cubicBezTo>
                  <a:cubicBezTo>
                    <a:pt x="416199" y="233191"/>
                    <a:pt x="410484" y="221761"/>
                    <a:pt x="413024" y="206521"/>
                  </a:cubicBezTo>
                  <a:cubicBezTo>
                    <a:pt x="423819" y="198266"/>
                    <a:pt x="437154" y="198901"/>
                    <a:pt x="451759" y="193186"/>
                  </a:cubicBezTo>
                  <a:cubicBezTo>
                    <a:pt x="460649" y="208426"/>
                    <a:pt x="465094" y="221761"/>
                    <a:pt x="465729" y="238271"/>
                  </a:cubicBezTo>
                  <a:close/>
                  <a:moveTo>
                    <a:pt x="443504" y="167786"/>
                  </a:moveTo>
                  <a:cubicBezTo>
                    <a:pt x="433979" y="181121"/>
                    <a:pt x="418739" y="181756"/>
                    <a:pt x="404769" y="183661"/>
                  </a:cubicBezTo>
                  <a:cubicBezTo>
                    <a:pt x="395244" y="175406"/>
                    <a:pt x="392069" y="165881"/>
                    <a:pt x="395244" y="152546"/>
                  </a:cubicBezTo>
                  <a:cubicBezTo>
                    <a:pt x="406039" y="149371"/>
                    <a:pt x="418104" y="145561"/>
                    <a:pt x="428899" y="142386"/>
                  </a:cubicBezTo>
                  <a:cubicBezTo>
                    <a:pt x="440964" y="147466"/>
                    <a:pt x="441599" y="157626"/>
                    <a:pt x="443504" y="1677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7" name="Google Shape;129;p3">
              <a:extLst>
                <a:ext uri="{FF2B5EF4-FFF2-40B4-BE49-F238E27FC236}">
                  <a16:creationId xmlns:a16="http://schemas.microsoft.com/office/drawing/2014/main" id="{95430F5E-BF6A-479A-B0E5-4881661F4642}"/>
                </a:ext>
              </a:extLst>
            </p:cNvPr>
            <p:cNvSpPr/>
            <p:nvPr/>
          </p:nvSpPr>
          <p:spPr>
            <a:xfrm>
              <a:off x="7317433" y="2956555"/>
              <a:ext cx="716315" cy="573888"/>
            </a:xfrm>
            <a:custGeom>
              <a:avLst/>
              <a:gdLst/>
              <a:ahLst/>
              <a:cxnLst/>
              <a:rect l="l" t="t" r="r" b="b"/>
              <a:pathLst>
                <a:path w="832925" h="667312" extrusionOk="0">
                  <a:moveTo>
                    <a:pt x="832654" y="510467"/>
                  </a:moveTo>
                  <a:cubicBezTo>
                    <a:pt x="829479" y="434902"/>
                    <a:pt x="811699" y="361242"/>
                    <a:pt x="802174" y="286312"/>
                  </a:cubicBezTo>
                  <a:cubicBezTo>
                    <a:pt x="772964" y="118672"/>
                    <a:pt x="808524" y="-22933"/>
                    <a:pt x="580559" y="3102"/>
                  </a:cubicBezTo>
                  <a:cubicBezTo>
                    <a:pt x="476419" y="-8963"/>
                    <a:pt x="405934" y="116132"/>
                    <a:pt x="355134" y="85652"/>
                  </a:cubicBezTo>
                  <a:cubicBezTo>
                    <a:pt x="259884" y="32312"/>
                    <a:pt x="139869" y="51362"/>
                    <a:pt x="38269" y="73587"/>
                  </a:cubicBezTo>
                  <a:cubicBezTo>
                    <a:pt x="-11261" y="84382"/>
                    <a:pt x="-2371" y="107242"/>
                    <a:pt x="8424" y="146612"/>
                  </a:cubicBezTo>
                  <a:cubicBezTo>
                    <a:pt x="29379" y="309172"/>
                    <a:pt x="48429" y="470462"/>
                    <a:pt x="82084" y="629847"/>
                  </a:cubicBezTo>
                  <a:cubicBezTo>
                    <a:pt x="83989" y="650802"/>
                    <a:pt x="107484" y="641277"/>
                    <a:pt x="120184" y="636197"/>
                  </a:cubicBezTo>
                  <a:cubicBezTo>
                    <a:pt x="129709" y="645722"/>
                    <a:pt x="124629" y="663502"/>
                    <a:pt x="143044" y="667312"/>
                  </a:cubicBezTo>
                  <a:cubicBezTo>
                    <a:pt x="237024" y="612067"/>
                    <a:pt x="358309" y="609527"/>
                    <a:pt x="463084" y="627942"/>
                  </a:cubicBezTo>
                  <a:cubicBezTo>
                    <a:pt x="553254" y="563807"/>
                    <a:pt x="668824" y="563172"/>
                    <a:pt x="774869" y="573967"/>
                  </a:cubicBezTo>
                  <a:cubicBezTo>
                    <a:pt x="792014" y="565712"/>
                    <a:pt x="786299" y="546027"/>
                    <a:pt x="793919" y="532692"/>
                  </a:cubicBezTo>
                  <a:cubicBezTo>
                    <a:pt x="810429" y="527612"/>
                    <a:pt x="835829" y="539677"/>
                    <a:pt x="832654" y="510467"/>
                  </a:cubicBezTo>
                  <a:close/>
                  <a:moveTo>
                    <a:pt x="377359" y="595557"/>
                  </a:moveTo>
                  <a:cubicBezTo>
                    <a:pt x="298619" y="600002"/>
                    <a:pt x="222419" y="601907"/>
                    <a:pt x="148759" y="633022"/>
                  </a:cubicBezTo>
                  <a:cubicBezTo>
                    <a:pt x="134789" y="583492"/>
                    <a:pt x="351959" y="558092"/>
                    <a:pt x="385614" y="586667"/>
                  </a:cubicBezTo>
                  <a:cubicBezTo>
                    <a:pt x="385614" y="594287"/>
                    <a:pt x="381804" y="595557"/>
                    <a:pt x="377359" y="595557"/>
                  </a:cubicBezTo>
                  <a:close/>
                  <a:moveTo>
                    <a:pt x="432604" y="585397"/>
                  </a:moveTo>
                  <a:cubicBezTo>
                    <a:pt x="332909" y="518722"/>
                    <a:pt x="209084" y="561267"/>
                    <a:pt x="107484" y="605717"/>
                  </a:cubicBezTo>
                  <a:cubicBezTo>
                    <a:pt x="60494" y="509832"/>
                    <a:pt x="77639" y="394897"/>
                    <a:pt x="47159" y="292662"/>
                  </a:cubicBezTo>
                  <a:cubicBezTo>
                    <a:pt x="51604" y="252022"/>
                    <a:pt x="2074" y="106607"/>
                    <a:pt x="45254" y="97082"/>
                  </a:cubicBezTo>
                  <a:cubicBezTo>
                    <a:pt x="143044" y="74857"/>
                    <a:pt x="338624" y="38027"/>
                    <a:pt x="385614" y="152962"/>
                  </a:cubicBezTo>
                  <a:cubicBezTo>
                    <a:pt x="410379" y="295837"/>
                    <a:pt x="436414" y="439347"/>
                    <a:pt x="432604" y="585397"/>
                  </a:cubicBezTo>
                  <a:close/>
                  <a:moveTo>
                    <a:pt x="766614" y="547297"/>
                  </a:moveTo>
                  <a:cubicBezTo>
                    <a:pt x="691049" y="546662"/>
                    <a:pt x="619294" y="547297"/>
                    <a:pt x="546269" y="561267"/>
                  </a:cubicBezTo>
                  <a:cubicBezTo>
                    <a:pt x="548809" y="521262"/>
                    <a:pt x="785664" y="490782"/>
                    <a:pt x="766614" y="547297"/>
                  </a:cubicBezTo>
                  <a:close/>
                  <a:moveTo>
                    <a:pt x="804714" y="505387"/>
                  </a:moveTo>
                  <a:cubicBezTo>
                    <a:pt x="673269" y="483162"/>
                    <a:pt x="569129" y="493322"/>
                    <a:pt x="464354" y="577777"/>
                  </a:cubicBezTo>
                  <a:cubicBezTo>
                    <a:pt x="442129" y="429187"/>
                    <a:pt x="440224" y="275517"/>
                    <a:pt x="403394" y="128197"/>
                  </a:cubicBezTo>
                  <a:cubicBezTo>
                    <a:pt x="464989" y="31677"/>
                    <a:pt x="617389" y="-10233"/>
                    <a:pt x="717084" y="45647"/>
                  </a:cubicBezTo>
                  <a:cubicBezTo>
                    <a:pt x="772964" y="92637"/>
                    <a:pt x="754549" y="188522"/>
                    <a:pt x="772329" y="255197"/>
                  </a:cubicBezTo>
                  <a:cubicBezTo>
                    <a:pt x="776774" y="340287"/>
                    <a:pt x="809159" y="420932"/>
                    <a:pt x="804714" y="505387"/>
                  </a:cubicBezTo>
                  <a:close/>
                  <a:moveTo>
                    <a:pt x="634534" y="306632"/>
                  </a:moveTo>
                  <a:cubicBezTo>
                    <a:pt x="633264" y="339652"/>
                    <a:pt x="643424" y="370132"/>
                    <a:pt x="639614" y="404422"/>
                  </a:cubicBezTo>
                  <a:cubicBezTo>
                    <a:pt x="447209" y="426012"/>
                    <a:pt x="456734" y="468557"/>
                    <a:pt x="644059" y="424107"/>
                  </a:cubicBezTo>
                  <a:cubicBezTo>
                    <a:pt x="648504" y="439347"/>
                    <a:pt x="652314" y="453317"/>
                    <a:pt x="656759" y="468557"/>
                  </a:cubicBezTo>
                  <a:cubicBezTo>
                    <a:pt x="692954" y="465382"/>
                    <a:pt x="738674" y="470462"/>
                    <a:pt x="767249" y="447602"/>
                  </a:cubicBezTo>
                  <a:cubicBezTo>
                    <a:pt x="737404" y="353622"/>
                    <a:pt x="781219" y="259007"/>
                    <a:pt x="634534" y="306632"/>
                  </a:cubicBezTo>
                  <a:close/>
                  <a:moveTo>
                    <a:pt x="675809" y="441887"/>
                  </a:moveTo>
                  <a:cubicBezTo>
                    <a:pt x="660569" y="405692"/>
                    <a:pt x="656759" y="376482"/>
                    <a:pt x="661839" y="327587"/>
                  </a:cubicBezTo>
                  <a:cubicBezTo>
                    <a:pt x="682159" y="317427"/>
                    <a:pt x="701844" y="319967"/>
                    <a:pt x="721529" y="322507"/>
                  </a:cubicBezTo>
                  <a:cubicBezTo>
                    <a:pt x="738039" y="356162"/>
                    <a:pt x="730419" y="395532"/>
                    <a:pt x="736134" y="433632"/>
                  </a:cubicBezTo>
                  <a:cubicBezTo>
                    <a:pt x="715814" y="436172"/>
                    <a:pt x="696129" y="443792"/>
                    <a:pt x="675809" y="441887"/>
                  </a:cubicBezTo>
                  <a:close/>
                  <a:moveTo>
                    <a:pt x="732959" y="166932"/>
                  </a:moveTo>
                  <a:cubicBezTo>
                    <a:pt x="737404" y="169472"/>
                    <a:pt x="744389" y="166932"/>
                    <a:pt x="745659" y="161217"/>
                  </a:cubicBezTo>
                  <a:cubicBezTo>
                    <a:pt x="744389" y="125657"/>
                    <a:pt x="672634" y="141532"/>
                    <a:pt x="657394" y="133912"/>
                  </a:cubicBezTo>
                  <a:cubicBezTo>
                    <a:pt x="623104" y="134547"/>
                    <a:pt x="419904" y="153597"/>
                    <a:pt x="476419" y="191697"/>
                  </a:cubicBezTo>
                  <a:cubicBezTo>
                    <a:pt x="556429" y="162487"/>
                    <a:pt x="649774" y="134547"/>
                    <a:pt x="732959" y="166932"/>
                  </a:cubicBezTo>
                  <a:close/>
                  <a:moveTo>
                    <a:pt x="726609" y="92002"/>
                  </a:moveTo>
                  <a:cubicBezTo>
                    <a:pt x="717719" y="29772"/>
                    <a:pt x="482134" y="92002"/>
                    <a:pt x="449114" y="126927"/>
                  </a:cubicBezTo>
                  <a:cubicBezTo>
                    <a:pt x="452924" y="132642"/>
                    <a:pt x="455464" y="137087"/>
                    <a:pt x="459274" y="143437"/>
                  </a:cubicBezTo>
                  <a:cubicBezTo>
                    <a:pt x="539284" y="94542"/>
                    <a:pt x="635169" y="79937"/>
                    <a:pt x="726609" y="92002"/>
                  </a:cubicBezTo>
                  <a:close/>
                  <a:moveTo>
                    <a:pt x="494199" y="248847"/>
                  </a:moveTo>
                  <a:cubicBezTo>
                    <a:pt x="562144" y="217097"/>
                    <a:pt x="643424" y="223447"/>
                    <a:pt x="716449" y="235512"/>
                  </a:cubicBezTo>
                  <a:cubicBezTo>
                    <a:pt x="743119" y="187887"/>
                    <a:pt x="480229" y="199317"/>
                    <a:pt x="478959" y="238687"/>
                  </a:cubicBezTo>
                  <a:cubicBezTo>
                    <a:pt x="478959" y="246942"/>
                    <a:pt x="487214" y="252657"/>
                    <a:pt x="494199" y="248847"/>
                  </a:cubicBezTo>
                  <a:close/>
                  <a:moveTo>
                    <a:pt x="528489" y="290122"/>
                  </a:moveTo>
                  <a:cubicBezTo>
                    <a:pt x="592624" y="271707"/>
                    <a:pt x="654854" y="280597"/>
                    <a:pt x="720259" y="272977"/>
                  </a:cubicBezTo>
                  <a:cubicBezTo>
                    <a:pt x="682159" y="245037"/>
                    <a:pt x="508804" y="252022"/>
                    <a:pt x="482769" y="285677"/>
                  </a:cubicBezTo>
                  <a:cubicBezTo>
                    <a:pt x="488484" y="303457"/>
                    <a:pt x="515154" y="290122"/>
                    <a:pt x="528489" y="290122"/>
                  </a:cubicBezTo>
                  <a:close/>
                  <a:moveTo>
                    <a:pt x="487214" y="344097"/>
                  </a:moveTo>
                  <a:cubicBezTo>
                    <a:pt x="524679" y="329492"/>
                    <a:pt x="568494" y="330762"/>
                    <a:pt x="602784" y="322507"/>
                  </a:cubicBezTo>
                  <a:cubicBezTo>
                    <a:pt x="610404" y="283772"/>
                    <a:pt x="438954" y="313617"/>
                    <a:pt x="487214" y="344097"/>
                  </a:cubicBezTo>
                  <a:close/>
                  <a:moveTo>
                    <a:pt x="570399" y="357432"/>
                  </a:moveTo>
                  <a:cubicBezTo>
                    <a:pt x="570399" y="356797"/>
                    <a:pt x="570399" y="356162"/>
                    <a:pt x="569764" y="355527"/>
                  </a:cubicBezTo>
                  <a:cubicBezTo>
                    <a:pt x="552619" y="361242"/>
                    <a:pt x="472609" y="361242"/>
                    <a:pt x="503089" y="389817"/>
                  </a:cubicBezTo>
                  <a:cubicBezTo>
                    <a:pt x="527219" y="389817"/>
                    <a:pt x="663744" y="368862"/>
                    <a:pt x="570399" y="357432"/>
                  </a:cubicBezTo>
                  <a:close/>
                  <a:moveTo>
                    <a:pt x="527219" y="465382"/>
                  </a:moveTo>
                  <a:cubicBezTo>
                    <a:pt x="531029" y="504752"/>
                    <a:pt x="577384" y="471097"/>
                    <a:pt x="599609" y="467287"/>
                  </a:cubicBezTo>
                  <a:cubicBezTo>
                    <a:pt x="643424" y="424742"/>
                    <a:pt x="545634" y="460937"/>
                    <a:pt x="527219" y="465382"/>
                  </a:cubicBezTo>
                  <a:close/>
                  <a:moveTo>
                    <a:pt x="80814" y="149152"/>
                  </a:moveTo>
                  <a:cubicBezTo>
                    <a:pt x="89069" y="207572"/>
                    <a:pt x="91609" y="268532"/>
                    <a:pt x="106849" y="325682"/>
                  </a:cubicBezTo>
                  <a:cubicBezTo>
                    <a:pt x="121454" y="349812"/>
                    <a:pt x="158284" y="325047"/>
                    <a:pt x="180509" y="323777"/>
                  </a:cubicBezTo>
                  <a:cubicBezTo>
                    <a:pt x="231944" y="314887"/>
                    <a:pt x="315129" y="299647"/>
                    <a:pt x="360849" y="323777"/>
                  </a:cubicBezTo>
                  <a:cubicBezTo>
                    <a:pt x="404029" y="299647"/>
                    <a:pt x="364024" y="247577"/>
                    <a:pt x="364024" y="210112"/>
                  </a:cubicBezTo>
                  <a:cubicBezTo>
                    <a:pt x="369104" y="76127"/>
                    <a:pt x="162729" y="123752"/>
                    <a:pt x="80814" y="149152"/>
                  </a:cubicBezTo>
                  <a:close/>
                  <a:moveTo>
                    <a:pt x="354499" y="290122"/>
                  </a:moveTo>
                  <a:cubicBezTo>
                    <a:pt x="277029" y="288852"/>
                    <a:pt x="202099" y="298377"/>
                    <a:pt x="125899" y="307902"/>
                  </a:cubicBezTo>
                  <a:cubicBezTo>
                    <a:pt x="118914" y="262817"/>
                    <a:pt x="111929" y="218367"/>
                    <a:pt x="104944" y="172647"/>
                  </a:cubicBezTo>
                  <a:cubicBezTo>
                    <a:pt x="172254" y="133277"/>
                    <a:pt x="262424" y="130102"/>
                    <a:pt x="332909" y="165662"/>
                  </a:cubicBezTo>
                  <a:cubicBezTo>
                    <a:pt x="350054" y="232337"/>
                    <a:pt x="357039" y="269802"/>
                    <a:pt x="354499" y="290122"/>
                  </a:cubicBezTo>
                  <a:close/>
                  <a:moveTo>
                    <a:pt x="227499" y="369497"/>
                  </a:moveTo>
                  <a:cubicBezTo>
                    <a:pt x="222419" y="351082"/>
                    <a:pt x="220514" y="348542"/>
                    <a:pt x="210989" y="347907"/>
                  </a:cubicBezTo>
                  <a:cubicBezTo>
                    <a:pt x="187494" y="351082"/>
                    <a:pt x="103039" y="349812"/>
                    <a:pt x="130344" y="388547"/>
                  </a:cubicBezTo>
                  <a:cubicBezTo>
                    <a:pt x="161459" y="381562"/>
                    <a:pt x="191304" y="365687"/>
                    <a:pt x="227499" y="369497"/>
                  </a:cubicBezTo>
                  <a:close/>
                  <a:moveTo>
                    <a:pt x="143679" y="431727"/>
                  </a:moveTo>
                  <a:cubicBezTo>
                    <a:pt x="177334" y="419662"/>
                    <a:pt x="207814" y="421567"/>
                    <a:pt x="243374" y="420297"/>
                  </a:cubicBezTo>
                  <a:cubicBezTo>
                    <a:pt x="233849" y="382832"/>
                    <a:pt x="99864" y="399342"/>
                    <a:pt x="143679" y="431727"/>
                  </a:cubicBezTo>
                  <a:close/>
                  <a:moveTo>
                    <a:pt x="288459" y="401882"/>
                  </a:moveTo>
                  <a:cubicBezTo>
                    <a:pt x="315764" y="406327"/>
                    <a:pt x="342434" y="389817"/>
                    <a:pt x="369739" y="399977"/>
                  </a:cubicBezTo>
                  <a:cubicBezTo>
                    <a:pt x="371644" y="400612"/>
                    <a:pt x="375454" y="395532"/>
                    <a:pt x="379899" y="392357"/>
                  </a:cubicBezTo>
                  <a:cubicBezTo>
                    <a:pt x="375454" y="363147"/>
                    <a:pt x="253534" y="375212"/>
                    <a:pt x="288459" y="401882"/>
                  </a:cubicBezTo>
                  <a:close/>
                  <a:moveTo>
                    <a:pt x="207179" y="439982"/>
                  </a:moveTo>
                  <a:cubicBezTo>
                    <a:pt x="207179" y="440617"/>
                    <a:pt x="207179" y="440617"/>
                    <a:pt x="207179" y="441252"/>
                  </a:cubicBezTo>
                  <a:cubicBezTo>
                    <a:pt x="190034" y="445697"/>
                    <a:pt x="151934" y="438077"/>
                    <a:pt x="148759" y="460302"/>
                  </a:cubicBezTo>
                  <a:cubicBezTo>
                    <a:pt x="155109" y="492687"/>
                    <a:pt x="295444" y="438712"/>
                    <a:pt x="207179" y="439982"/>
                  </a:cubicBezTo>
                  <a:close/>
                  <a:moveTo>
                    <a:pt x="297984" y="448237"/>
                  </a:moveTo>
                  <a:cubicBezTo>
                    <a:pt x="320844" y="443792"/>
                    <a:pt x="368469" y="461572"/>
                    <a:pt x="371009" y="427282"/>
                  </a:cubicBezTo>
                  <a:cubicBezTo>
                    <a:pt x="350054" y="426012"/>
                    <a:pt x="270044" y="410772"/>
                    <a:pt x="297984" y="448237"/>
                  </a:cubicBezTo>
                  <a:close/>
                  <a:moveTo>
                    <a:pt x="291634" y="359972"/>
                  </a:moveTo>
                  <a:cubicBezTo>
                    <a:pt x="311954" y="347907"/>
                    <a:pt x="353864" y="361242"/>
                    <a:pt x="362754" y="339652"/>
                  </a:cubicBezTo>
                  <a:cubicBezTo>
                    <a:pt x="350054" y="319332"/>
                    <a:pt x="244009" y="335207"/>
                    <a:pt x="291634" y="359972"/>
                  </a:cubicBezTo>
                  <a:close/>
                  <a:moveTo>
                    <a:pt x="177969" y="519357"/>
                  </a:moveTo>
                  <a:cubicBezTo>
                    <a:pt x="199559" y="512372"/>
                    <a:pt x="228134" y="521897"/>
                    <a:pt x="239564" y="497132"/>
                  </a:cubicBezTo>
                  <a:cubicBezTo>
                    <a:pt x="217974" y="490147"/>
                    <a:pt x="144314" y="494592"/>
                    <a:pt x="177969" y="519357"/>
                  </a:cubicBezTo>
                  <a:close/>
                  <a:moveTo>
                    <a:pt x="332274" y="485067"/>
                  </a:moveTo>
                  <a:cubicBezTo>
                    <a:pt x="311954" y="485702"/>
                    <a:pt x="265599" y="490782"/>
                    <a:pt x="301794" y="508562"/>
                  </a:cubicBezTo>
                  <a:cubicBezTo>
                    <a:pt x="326559" y="509832"/>
                    <a:pt x="396409" y="498402"/>
                    <a:pt x="332274" y="48506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8" name="Google Shape;130;p3">
              <a:extLst>
                <a:ext uri="{FF2B5EF4-FFF2-40B4-BE49-F238E27FC236}">
                  <a16:creationId xmlns:a16="http://schemas.microsoft.com/office/drawing/2014/main" id="{C58D23D2-086A-4899-96CA-FAF579AEAA82}"/>
                </a:ext>
              </a:extLst>
            </p:cNvPr>
            <p:cNvSpPr/>
            <p:nvPr/>
          </p:nvSpPr>
          <p:spPr>
            <a:xfrm>
              <a:off x="8750637" y="1716146"/>
              <a:ext cx="454206" cy="406096"/>
            </a:xfrm>
            <a:custGeom>
              <a:avLst/>
              <a:gdLst/>
              <a:ahLst/>
              <a:cxnLst/>
              <a:rect l="l" t="t" r="r" b="b"/>
              <a:pathLst>
                <a:path w="528147" h="472205" extrusionOk="0">
                  <a:moveTo>
                    <a:pt x="395469" y="177165"/>
                  </a:moveTo>
                  <a:cubicBezTo>
                    <a:pt x="443094" y="36830"/>
                    <a:pt x="381499" y="-53340"/>
                    <a:pt x="264659" y="86360"/>
                  </a:cubicBezTo>
                  <a:cubicBezTo>
                    <a:pt x="239894" y="41275"/>
                    <a:pt x="195444" y="0"/>
                    <a:pt x="143374" y="0"/>
                  </a:cubicBezTo>
                  <a:cubicBezTo>
                    <a:pt x="65269" y="15240"/>
                    <a:pt x="123054" y="139065"/>
                    <a:pt x="131944" y="187325"/>
                  </a:cubicBezTo>
                  <a:cubicBezTo>
                    <a:pt x="76064" y="179070"/>
                    <a:pt x="-40776" y="242570"/>
                    <a:pt x="14469" y="300990"/>
                  </a:cubicBezTo>
                  <a:cubicBezTo>
                    <a:pt x="41774" y="327660"/>
                    <a:pt x="81144" y="321945"/>
                    <a:pt x="109719" y="344170"/>
                  </a:cubicBezTo>
                  <a:cubicBezTo>
                    <a:pt x="102734" y="370840"/>
                    <a:pt x="109084" y="399415"/>
                    <a:pt x="92574" y="423545"/>
                  </a:cubicBezTo>
                  <a:cubicBezTo>
                    <a:pt x="86859" y="433070"/>
                    <a:pt x="90034" y="441960"/>
                    <a:pt x="95749" y="450215"/>
                  </a:cubicBezTo>
                  <a:cubicBezTo>
                    <a:pt x="112259" y="475615"/>
                    <a:pt x="147819" y="474345"/>
                    <a:pt x="159249" y="450850"/>
                  </a:cubicBezTo>
                  <a:cubicBezTo>
                    <a:pt x="175759" y="424180"/>
                    <a:pt x="207509" y="409575"/>
                    <a:pt x="235449" y="397510"/>
                  </a:cubicBezTo>
                  <a:cubicBezTo>
                    <a:pt x="289424" y="513715"/>
                    <a:pt x="403724" y="490220"/>
                    <a:pt x="379594" y="355600"/>
                  </a:cubicBezTo>
                  <a:cubicBezTo>
                    <a:pt x="470399" y="330200"/>
                    <a:pt x="493259" y="345440"/>
                    <a:pt x="525009" y="245110"/>
                  </a:cubicBezTo>
                  <a:cubicBezTo>
                    <a:pt x="549139" y="182880"/>
                    <a:pt x="427219" y="204470"/>
                    <a:pt x="395469" y="177165"/>
                  </a:cubicBezTo>
                  <a:close/>
                  <a:moveTo>
                    <a:pt x="392294" y="59055"/>
                  </a:moveTo>
                  <a:cubicBezTo>
                    <a:pt x="393564" y="106680"/>
                    <a:pt x="391659" y="133985"/>
                    <a:pt x="363719" y="175260"/>
                  </a:cubicBezTo>
                  <a:cubicBezTo>
                    <a:pt x="314824" y="185420"/>
                    <a:pt x="309744" y="137795"/>
                    <a:pt x="290059" y="103505"/>
                  </a:cubicBezTo>
                  <a:cubicBezTo>
                    <a:pt x="316094" y="73025"/>
                    <a:pt x="348479" y="12065"/>
                    <a:pt x="392294" y="59055"/>
                  </a:cubicBezTo>
                  <a:close/>
                  <a:moveTo>
                    <a:pt x="347209" y="325755"/>
                  </a:moveTo>
                  <a:cubicBezTo>
                    <a:pt x="331969" y="330835"/>
                    <a:pt x="317999" y="330200"/>
                    <a:pt x="298314" y="327025"/>
                  </a:cubicBezTo>
                  <a:cubicBezTo>
                    <a:pt x="311649" y="308610"/>
                    <a:pt x="318634" y="292100"/>
                    <a:pt x="333239" y="278130"/>
                  </a:cubicBezTo>
                  <a:cubicBezTo>
                    <a:pt x="345304" y="292735"/>
                    <a:pt x="349749" y="307975"/>
                    <a:pt x="347209" y="325755"/>
                  </a:cubicBezTo>
                  <a:close/>
                  <a:moveTo>
                    <a:pt x="271009" y="130175"/>
                  </a:moveTo>
                  <a:cubicBezTo>
                    <a:pt x="287519" y="140970"/>
                    <a:pt x="288789" y="144145"/>
                    <a:pt x="293234" y="172720"/>
                  </a:cubicBezTo>
                  <a:cubicBezTo>
                    <a:pt x="277359" y="178435"/>
                    <a:pt x="262119" y="180975"/>
                    <a:pt x="244339" y="174625"/>
                  </a:cubicBezTo>
                  <a:cubicBezTo>
                    <a:pt x="247514" y="155575"/>
                    <a:pt x="259579" y="142875"/>
                    <a:pt x="271009" y="130175"/>
                  </a:cubicBezTo>
                  <a:close/>
                  <a:moveTo>
                    <a:pt x="131309" y="77470"/>
                  </a:moveTo>
                  <a:cubicBezTo>
                    <a:pt x="173854" y="74930"/>
                    <a:pt x="176394" y="73025"/>
                    <a:pt x="187189" y="26670"/>
                  </a:cubicBezTo>
                  <a:cubicBezTo>
                    <a:pt x="208779" y="61595"/>
                    <a:pt x="240529" y="69215"/>
                    <a:pt x="250689" y="109220"/>
                  </a:cubicBezTo>
                  <a:cubicBezTo>
                    <a:pt x="229099" y="140970"/>
                    <a:pt x="209414" y="200025"/>
                    <a:pt x="161154" y="180975"/>
                  </a:cubicBezTo>
                  <a:cubicBezTo>
                    <a:pt x="144644" y="148590"/>
                    <a:pt x="124324" y="116840"/>
                    <a:pt x="131309" y="77470"/>
                  </a:cubicBezTo>
                  <a:close/>
                  <a:moveTo>
                    <a:pt x="191634" y="321310"/>
                  </a:moveTo>
                  <a:cubicBezTo>
                    <a:pt x="176394" y="325755"/>
                    <a:pt x="165599" y="326390"/>
                    <a:pt x="154169" y="320040"/>
                  </a:cubicBezTo>
                  <a:cubicBezTo>
                    <a:pt x="156074" y="305435"/>
                    <a:pt x="160519" y="293370"/>
                    <a:pt x="172584" y="283210"/>
                  </a:cubicBezTo>
                  <a:cubicBezTo>
                    <a:pt x="185284" y="292735"/>
                    <a:pt x="185919" y="306070"/>
                    <a:pt x="191634" y="321310"/>
                  </a:cubicBezTo>
                  <a:close/>
                  <a:moveTo>
                    <a:pt x="23359" y="274955"/>
                  </a:moveTo>
                  <a:cubicBezTo>
                    <a:pt x="39869" y="215265"/>
                    <a:pt x="92574" y="210185"/>
                    <a:pt x="145279" y="213995"/>
                  </a:cubicBezTo>
                  <a:cubicBezTo>
                    <a:pt x="175759" y="248285"/>
                    <a:pt x="140834" y="281305"/>
                    <a:pt x="124959" y="314960"/>
                  </a:cubicBezTo>
                  <a:cubicBezTo>
                    <a:pt x="83049" y="313690"/>
                    <a:pt x="43679" y="297815"/>
                    <a:pt x="23359" y="274955"/>
                  </a:cubicBezTo>
                  <a:close/>
                  <a:moveTo>
                    <a:pt x="163059" y="412115"/>
                  </a:moveTo>
                  <a:cubicBezTo>
                    <a:pt x="152264" y="408940"/>
                    <a:pt x="142739" y="405765"/>
                    <a:pt x="131944" y="402590"/>
                  </a:cubicBezTo>
                  <a:cubicBezTo>
                    <a:pt x="125594" y="382905"/>
                    <a:pt x="126229" y="365125"/>
                    <a:pt x="143374" y="347345"/>
                  </a:cubicBezTo>
                  <a:cubicBezTo>
                    <a:pt x="170044" y="349250"/>
                    <a:pt x="208144" y="337185"/>
                    <a:pt x="214494" y="377190"/>
                  </a:cubicBezTo>
                  <a:cubicBezTo>
                    <a:pt x="196714" y="389255"/>
                    <a:pt x="180204" y="400685"/>
                    <a:pt x="163059" y="412115"/>
                  </a:cubicBezTo>
                  <a:close/>
                  <a:moveTo>
                    <a:pt x="225289" y="327025"/>
                  </a:moveTo>
                  <a:cubicBezTo>
                    <a:pt x="170679" y="248285"/>
                    <a:pt x="196079" y="189230"/>
                    <a:pt x="295139" y="198120"/>
                  </a:cubicBezTo>
                  <a:cubicBezTo>
                    <a:pt x="326254" y="193040"/>
                    <a:pt x="331969" y="241935"/>
                    <a:pt x="314824" y="260350"/>
                  </a:cubicBezTo>
                  <a:cubicBezTo>
                    <a:pt x="285614" y="290830"/>
                    <a:pt x="279264" y="341630"/>
                    <a:pt x="225289" y="327025"/>
                  </a:cubicBezTo>
                  <a:close/>
                  <a:moveTo>
                    <a:pt x="253864" y="379095"/>
                  </a:moveTo>
                  <a:cubicBezTo>
                    <a:pt x="271644" y="343535"/>
                    <a:pt x="316729" y="349885"/>
                    <a:pt x="350384" y="355600"/>
                  </a:cubicBezTo>
                  <a:cubicBezTo>
                    <a:pt x="385309" y="470535"/>
                    <a:pt x="287519" y="482600"/>
                    <a:pt x="253864" y="379095"/>
                  </a:cubicBezTo>
                  <a:close/>
                  <a:moveTo>
                    <a:pt x="377689" y="327025"/>
                  </a:moveTo>
                  <a:cubicBezTo>
                    <a:pt x="365624" y="281305"/>
                    <a:pt x="337684" y="234950"/>
                    <a:pt x="383404" y="201295"/>
                  </a:cubicBezTo>
                  <a:cubicBezTo>
                    <a:pt x="408804" y="207645"/>
                    <a:pt x="434204" y="213360"/>
                    <a:pt x="460239" y="219710"/>
                  </a:cubicBezTo>
                  <a:cubicBezTo>
                    <a:pt x="462779" y="241300"/>
                    <a:pt x="469764" y="257175"/>
                    <a:pt x="488179" y="269875"/>
                  </a:cubicBezTo>
                  <a:cubicBezTo>
                    <a:pt x="492624" y="324485"/>
                    <a:pt x="417059" y="320675"/>
                    <a:pt x="377689" y="327025"/>
                  </a:cubicBezTo>
                  <a:close/>
                  <a:moveTo>
                    <a:pt x="257039" y="222250"/>
                  </a:moveTo>
                  <a:cubicBezTo>
                    <a:pt x="196714" y="216535"/>
                    <a:pt x="185284" y="288290"/>
                    <a:pt x="248149" y="290830"/>
                  </a:cubicBezTo>
                  <a:cubicBezTo>
                    <a:pt x="289424" y="291465"/>
                    <a:pt x="307204" y="229235"/>
                    <a:pt x="257039" y="222250"/>
                  </a:cubicBezTo>
                  <a:close/>
                  <a:moveTo>
                    <a:pt x="243069" y="266700"/>
                  </a:moveTo>
                  <a:cubicBezTo>
                    <a:pt x="215764" y="264795"/>
                    <a:pt x="229099" y="242570"/>
                    <a:pt x="248149" y="240030"/>
                  </a:cubicBezTo>
                  <a:cubicBezTo>
                    <a:pt x="272279" y="237490"/>
                    <a:pt x="262119" y="269240"/>
                    <a:pt x="243069" y="26670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9" name="Google Shape;131;p3">
              <a:extLst>
                <a:ext uri="{FF2B5EF4-FFF2-40B4-BE49-F238E27FC236}">
                  <a16:creationId xmlns:a16="http://schemas.microsoft.com/office/drawing/2014/main" id="{322C0835-F152-41BD-9EE2-77C35F50ADB1}"/>
                </a:ext>
              </a:extLst>
            </p:cNvPr>
            <p:cNvSpPr/>
            <p:nvPr/>
          </p:nvSpPr>
          <p:spPr>
            <a:xfrm rot="-2424156">
              <a:off x="2052510" y="-106317"/>
              <a:ext cx="373867" cy="493313"/>
            </a:xfrm>
            <a:custGeom>
              <a:avLst/>
              <a:gdLst/>
              <a:ahLst/>
              <a:cxnLst/>
              <a:rect l="l" t="t" r="r" b="b"/>
              <a:pathLst>
                <a:path w="434661" h="573530" extrusionOk="0">
                  <a:moveTo>
                    <a:pt x="430380" y="417373"/>
                  </a:moveTo>
                  <a:cubicBezTo>
                    <a:pt x="427840" y="354508"/>
                    <a:pt x="363705" y="334823"/>
                    <a:pt x="311635" y="329743"/>
                  </a:cubicBezTo>
                  <a:cubicBezTo>
                    <a:pt x="264010" y="315138"/>
                    <a:pt x="297665" y="236398"/>
                    <a:pt x="288775" y="197028"/>
                  </a:cubicBezTo>
                  <a:cubicBezTo>
                    <a:pt x="290680" y="118923"/>
                    <a:pt x="325605" y="15418"/>
                    <a:pt x="217655" y="178"/>
                  </a:cubicBezTo>
                  <a:cubicBezTo>
                    <a:pt x="211305" y="-1092"/>
                    <a:pt x="199875" y="4623"/>
                    <a:pt x="202415" y="11608"/>
                  </a:cubicBezTo>
                  <a:cubicBezTo>
                    <a:pt x="207495" y="87808"/>
                    <a:pt x="223370" y="169088"/>
                    <a:pt x="197335" y="242748"/>
                  </a:cubicBezTo>
                  <a:cubicBezTo>
                    <a:pt x="158600" y="220523"/>
                    <a:pt x="52555" y="59868"/>
                    <a:pt x="24615" y="87173"/>
                  </a:cubicBezTo>
                  <a:cubicBezTo>
                    <a:pt x="-68095" y="172263"/>
                    <a:pt x="127485" y="297993"/>
                    <a:pt x="175745" y="366573"/>
                  </a:cubicBezTo>
                  <a:cubicBezTo>
                    <a:pt x="205590" y="403403"/>
                    <a:pt x="41760" y="420548"/>
                    <a:pt x="141455" y="548818"/>
                  </a:cubicBezTo>
                  <a:cubicBezTo>
                    <a:pt x="221465" y="630733"/>
                    <a:pt x="298935" y="488493"/>
                    <a:pt x="240515" y="419913"/>
                  </a:cubicBezTo>
                  <a:cubicBezTo>
                    <a:pt x="234165" y="409753"/>
                    <a:pt x="241150" y="384353"/>
                    <a:pt x="256390" y="395148"/>
                  </a:cubicBezTo>
                  <a:cubicBezTo>
                    <a:pt x="288775" y="436423"/>
                    <a:pt x="313540" y="498653"/>
                    <a:pt x="379580" y="489128"/>
                  </a:cubicBezTo>
                  <a:cubicBezTo>
                    <a:pt x="412600" y="482778"/>
                    <a:pt x="446890" y="451028"/>
                    <a:pt x="430380" y="417373"/>
                  </a:cubicBezTo>
                  <a:close/>
                  <a:moveTo>
                    <a:pt x="227180" y="242748"/>
                  </a:moveTo>
                  <a:cubicBezTo>
                    <a:pt x="237975" y="171628"/>
                    <a:pt x="223370" y="100508"/>
                    <a:pt x="232260" y="30023"/>
                  </a:cubicBezTo>
                  <a:cubicBezTo>
                    <a:pt x="277980" y="26213"/>
                    <a:pt x="280520" y="81458"/>
                    <a:pt x="275440" y="113843"/>
                  </a:cubicBezTo>
                  <a:cubicBezTo>
                    <a:pt x="264645" y="171628"/>
                    <a:pt x="276075" y="233858"/>
                    <a:pt x="262105" y="290373"/>
                  </a:cubicBezTo>
                  <a:cubicBezTo>
                    <a:pt x="234800" y="280848"/>
                    <a:pt x="224640" y="268148"/>
                    <a:pt x="227180" y="242748"/>
                  </a:cubicBezTo>
                  <a:close/>
                  <a:moveTo>
                    <a:pt x="152885" y="518338"/>
                  </a:moveTo>
                  <a:cubicBezTo>
                    <a:pt x="152885" y="518338"/>
                    <a:pt x="152885" y="517703"/>
                    <a:pt x="152250" y="517703"/>
                  </a:cubicBezTo>
                  <a:cubicBezTo>
                    <a:pt x="95735" y="500558"/>
                    <a:pt x="151615" y="386258"/>
                    <a:pt x="202415" y="423088"/>
                  </a:cubicBezTo>
                  <a:cubicBezTo>
                    <a:pt x="199240" y="431978"/>
                    <a:pt x="190985" y="433883"/>
                    <a:pt x="182730" y="436423"/>
                  </a:cubicBezTo>
                  <a:cubicBezTo>
                    <a:pt x="152885" y="442773"/>
                    <a:pt x="133835" y="484683"/>
                    <a:pt x="152885" y="518338"/>
                  </a:cubicBezTo>
                  <a:cubicBezTo>
                    <a:pt x="152885" y="518338"/>
                    <a:pt x="152885" y="518338"/>
                    <a:pt x="152885" y="518338"/>
                  </a:cubicBezTo>
                  <a:close/>
                  <a:moveTo>
                    <a:pt x="211305" y="402133"/>
                  </a:moveTo>
                  <a:cubicBezTo>
                    <a:pt x="200510" y="403403"/>
                    <a:pt x="196065" y="378003"/>
                    <a:pt x="209400" y="376733"/>
                  </a:cubicBezTo>
                  <a:cubicBezTo>
                    <a:pt x="225910" y="374828"/>
                    <a:pt x="228450" y="402133"/>
                    <a:pt x="211305" y="402133"/>
                  </a:cubicBezTo>
                  <a:close/>
                  <a:moveTo>
                    <a:pt x="235435" y="458648"/>
                  </a:moveTo>
                  <a:cubicBezTo>
                    <a:pt x="227180" y="451663"/>
                    <a:pt x="220830" y="444043"/>
                    <a:pt x="220195" y="433248"/>
                  </a:cubicBezTo>
                  <a:cubicBezTo>
                    <a:pt x="237340" y="439598"/>
                    <a:pt x="237340" y="439598"/>
                    <a:pt x="235435" y="458648"/>
                  </a:cubicBezTo>
                  <a:close/>
                  <a:moveTo>
                    <a:pt x="177015" y="545008"/>
                  </a:moveTo>
                  <a:cubicBezTo>
                    <a:pt x="180825" y="545008"/>
                    <a:pt x="184000" y="545643"/>
                    <a:pt x="188445" y="545643"/>
                  </a:cubicBezTo>
                  <a:cubicBezTo>
                    <a:pt x="187175" y="555168"/>
                    <a:pt x="175110" y="553263"/>
                    <a:pt x="177015" y="545008"/>
                  </a:cubicBezTo>
                  <a:close/>
                  <a:moveTo>
                    <a:pt x="164950" y="510718"/>
                  </a:moveTo>
                  <a:cubicBezTo>
                    <a:pt x="148440" y="469443"/>
                    <a:pt x="209400" y="428803"/>
                    <a:pt x="222735" y="484048"/>
                  </a:cubicBezTo>
                  <a:cubicBezTo>
                    <a:pt x="217020" y="511988"/>
                    <a:pt x="186540" y="543738"/>
                    <a:pt x="164950" y="510718"/>
                  </a:cubicBezTo>
                  <a:close/>
                  <a:moveTo>
                    <a:pt x="241150" y="477698"/>
                  </a:moveTo>
                  <a:cubicBezTo>
                    <a:pt x="247500" y="493573"/>
                    <a:pt x="240515" y="504368"/>
                    <a:pt x="241785" y="515163"/>
                  </a:cubicBezTo>
                  <a:cubicBezTo>
                    <a:pt x="240515" y="504368"/>
                    <a:pt x="236070" y="493573"/>
                    <a:pt x="241150" y="477698"/>
                  </a:cubicBezTo>
                  <a:close/>
                  <a:moveTo>
                    <a:pt x="242420" y="515163"/>
                  </a:moveTo>
                  <a:cubicBezTo>
                    <a:pt x="237975" y="520878"/>
                    <a:pt x="233530" y="526593"/>
                    <a:pt x="228450" y="532943"/>
                  </a:cubicBezTo>
                  <a:cubicBezTo>
                    <a:pt x="229085" y="513893"/>
                    <a:pt x="229085" y="513893"/>
                    <a:pt x="242420" y="515163"/>
                  </a:cubicBezTo>
                  <a:close/>
                  <a:moveTo>
                    <a:pt x="27155" y="113208"/>
                  </a:moveTo>
                  <a:cubicBezTo>
                    <a:pt x="65890" y="91618"/>
                    <a:pt x="171300" y="284658"/>
                    <a:pt x="220195" y="293548"/>
                  </a:cubicBezTo>
                  <a:lnTo>
                    <a:pt x="219560" y="300533"/>
                  </a:lnTo>
                  <a:cubicBezTo>
                    <a:pt x="140185" y="304978"/>
                    <a:pt x="221465" y="384353"/>
                    <a:pt x="237340" y="308788"/>
                  </a:cubicBezTo>
                  <a:cubicBezTo>
                    <a:pt x="257025" y="318313"/>
                    <a:pt x="270995" y="334188"/>
                    <a:pt x="287505" y="345618"/>
                  </a:cubicBezTo>
                  <a:cubicBezTo>
                    <a:pt x="250675" y="449123"/>
                    <a:pt x="-15390" y="171628"/>
                    <a:pt x="27155" y="113208"/>
                  </a:cubicBezTo>
                  <a:close/>
                  <a:moveTo>
                    <a:pt x="361165" y="474523"/>
                  </a:moveTo>
                  <a:cubicBezTo>
                    <a:pt x="306555" y="467538"/>
                    <a:pt x="248770" y="360858"/>
                    <a:pt x="328780" y="350063"/>
                  </a:cubicBezTo>
                  <a:cubicBezTo>
                    <a:pt x="400535" y="349428"/>
                    <a:pt x="460860" y="469443"/>
                    <a:pt x="361165" y="474523"/>
                  </a:cubicBezTo>
                  <a:close/>
                  <a:moveTo>
                    <a:pt x="305285" y="380543"/>
                  </a:moveTo>
                  <a:cubicBezTo>
                    <a:pt x="314810" y="401498"/>
                    <a:pt x="324970" y="421818"/>
                    <a:pt x="340845" y="439598"/>
                  </a:cubicBezTo>
                  <a:cubicBezTo>
                    <a:pt x="368785" y="464363"/>
                    <a:pt x="409425" y="441503"/>
                    <a:pt x="387835" y="405308"/>
                  </a:cubicBezTo>
                  <a:cubicBezTo>
                    <a:pt x="365610" y="382448"/>
                    <a:pt x="336400" y="346888"/>
                    <a:pt x="305285" y="380543"/>
                  </a:cubicBezTo>
                  <a:close/>
                  <a:moveTo>
                    <a:pt x="368785" y="429438"/>
                  </a:moveTo>
                  <a:cubicBezTo>
                    <a:pt x="350370" y="433248"/>
                    <a:pt x="342115" y="409118"/>
                    <a:pt x="336400" y="390068"/>
                  </a:cubicBezTo>
                  <a:cubicBezTo>
                    <a:pt x="355450" y="395148"/>
                    <a:pt x="378310" y="411658"/>
                    <a:pt x="368785" y="42943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0" name="Google Shape;132;p3">
              <a:extLst>
                <a:ext uri="{FF2B5EF4-FFF2-40B4-BE49-F238E27FC236}">
                  <a16:creationId xmlns:a16="http://schemas.microsoft.com/office/drawing/2014/main" id="{9A8D009F-7E08-4CCE-A86A-BA4170D78ECD}"/>
                </a:ext>
              </a:extLst>
            </p:cNvPr>
            <p:cNvSpPr/>
            <p:nvPr/>
          </p:nvSpPr>
          <p:spPr>
            <a:xfrm>
              <a:off x="5960437" y="3855732"/>
              <a:ext cx="712864" cy="419317"/>
            </a:xfrm>
            <a:custGeom>
              <a:avLst/>
              <a:gdLst/>
              <a:ahLst/>
              <a:cxnLst/>
              <a:rect l="l" t="t" r="r" b="b"/>
              <a:pathLst>
                <a:path w="828912" h="487578" extrusionOk="0">
                  <a:moveTo>
                    <a:pt x="827267" y="15774"/>
                  </a:moveTo>
                  <a:cubicBezTo>
                    <a:pt x="786627" y="19584"/>
                    <a:pt x="770117" y="89434"/>
                    <a:pt x="721857" y="88164"/>
                  </a:cubicBezTo>
                  <a:cubicBezTo>
                    <a:pt x="653277" y="104674"/>
                    <a:pt x="606287" y="35459"/>
                    <a:pt x="552947" y="2438"/>
                  </a:cubicBezTo>
                  <a:cubicBezTo>
                    <a:pt x="500877" y="-14706"/>
                    <a:pt x="457697" y="63399"/>
                    <a:pt x="413882" y="85624"/>
                  </a:cubicBezTo>
                  <a:cubicBezTo>
                    <a:pt x="335142" y="62764"/>
                    <a:pt x="264657" y="16409"/>
                    <a:pt x="182107" y="6884"/>
                  </a:cubicBezTo>
                  <a:cubicBezTo>
                    <a:pt x="13832" y="196114"/>
                    <a:pt x="114797" y="109119"/>
                    <a:pt x="77332" y="279934"/>
                  </a:cubicBezTo>
                  <a:cubicBezTo>
                    <a:pt x="66537" y="291999"/>
                    <a:pt x="-29983" y="332004"/>
                    <a:pt x="9387" y="343434"/>
                  </a:cubicBezTo>
                  <a:cubicBezTo>
                    <a:pt x="50662" y="334544"/>
                    <a:pt x="84952" y="279934"/>
                    <a:pt x="129402" y="297079"/>
                  </a:cubicBezTo>
                  <a:cubicBezTo>
                    <a:pt x="176392" y="312319"/>
                    <a:pt x="222747" y="330099"/>
                    <a:pt x="265292" y="356134"/>
                  </a:cubicBezTo>
                  <a:cubicBezTo>
                    <a:pt x="276087" y="364389"/>
                    <a:pt x="284977" y="365024"/>
                    <a:pt x="293867" y="356134"/>
                  </a:cubicBezTo>
                  <a:cubicBezTo>
                    <a:pt x="393562" y="278029"/>
                    <a:pt x="442457" y="290094"/>
                    <a:pt x="533897" y="372644"/>
                  </a:cubicBezTo>
                  <a:cubicBezTo>
                    <a:pt x="545962" y="407569"/>
                    <a:pt x="526277" y="473609"/>
                    <a:pt x="568187" y="487579"/>
                  </a:cubicBezTo>
                  <a:cubicBezTo>
                    <a:pt x="606922" y="460909"/>
                    <a:pt x="664707" y="478054"/>
                    <a:pt x="703442" y="453289"/>
                  </a:cubicBezTo>
                  <a:cubicBezTo>
                    <a:pt x="697092" y="439954"/>
                    <a:pt x="694552" y="438049"/>
                    <a:pt x="685662" y="441224"/>
                  </a:cubicBezTo>
                  <a:cubicBezTo>
                    <a:pt x="647562" y="453924"/>
                    <a:pt x="608192" y="451384"/>
                    <a:pt x="565647" y="457099"/>
                  </a:cubicBezTo>
                  <a:cubicBezTo>
                    <a:pt x="530722" y="351054"/>
                    <a:pt x="638037" y="335179"/>
                    <a:pt x="681852" y="264059"/>
                  </a:cubicBezTo>
                  <a:cubicBezTo>
                    <a:pt x="669152" y="215164"/>
                    <a:pt x="663437" y="157379"/>
                    <a:pt x="683122" y="109754"/>
                  </a:cubicBezTo>
                  <a:cubicBezTo>
                    <a:pt x="714237" y="105309"/>
                    <a:pt x="751067" y="116104"/>
                    <a:pt x="774562" y="91339"/>
                  </a:cubicBezTo>
                  <a:cubicBezTo>
                    <a:pt x="787262" y="69114"/>
                    <a:pt x="838698" y="42444"/>
                    <a:pt x="827267" y="15774"/>
                  </a:cubicBezTo>
                  <a:close/>
                  <a:moveTo>
                    <a:pt x="291962" y="332004"/>
                  </a:moveTo>
                  <a:cubicBezTo>
                    <a:pt x="236082" y="338354"/>
                    <a:pt x="173217" y="285649"/>
                    <a:pt x="115432" y="270409"/>
                  </a:cubicBezTo>
                  <a:cubicBezTo>
                    <a:pt x="90032" y="159284"/>
                    <a:pt x="116067" y="100229"/>
                    <a:pt x="200522" y="26569"/>
                  </a:cubicBezTo>
                  <a:cubicBezTo>
                    <a:pt x="260847" y="58319"/>
                    <a:pt x="361177" y="58954"/>
                    <a:pt x="394832" y="119914"/>
                  </a:cubicBezTo>
                  <a:cubicBezTo>
                    <a:pt x="399912" y="261519"/>
                    <a:pt x="438012" y="269774"/>
                    <a:pt x="291962" y="332004"/>
                  </a:cubicBezTo>
                  <a:close/>
                  <a:moveTo>
                    <a:pt x="550407" y="352324"/>
                  </a:moveTo>
                  <a:cubicBezTo>
                    <a:pt x="510402" y="332004"/>
                    <a:pt x="466587" y="307874"/>
                    <a:pt x="431662" y="278664"/>
                  </a:cubicBezTo>
                  <a:cubicBezTo>
                    <a:pt x="443092" y="255804"/>
                    <a:pt x="535802" y="344069"/>
                    <a:pt x="563107" y="328194"/>
                  </a:cubicBezTo>
                  <a:cubicBezTo>
                    <a:pt x="563742" y="298349"/>
                    <a:pt x="504052" y="297079"/>
                    <a:pt x="486272" y="272949"/>
                  </a:cubicBezTo>
                  <a:cubicBezTo>
                    <a:pt x="462142" y="255169"/>
                    <a:pt x="461507" y="255804"/>
                    <a:pt x="428487" y="257709"/>
                  </a:cubicBezTo>
                  <a:cubicBezTo>
                    <a:pt x="400547" y="118644"/>
                    <a:pt x="415787" y="98324"/>
                    <a:pt x="533262" y="22124"/>
                  </a:cubicBezTo>
                  <a:cubicBezTo>
                    <a:pt x="578347" y="42444"/>
                    <a:pt x="611367" y="76099"/>
                    <a:pt x="651372" y="104039"/>
                  </a:cubicBezTo>
                  <a:cubicBezTo>
                    <a:pt x="649467" y="159284"/>
                    <a:pt x="643752" y="213259"/>
                    <a:pt x="653277" y="267234"/>
                  </a:cubicBezTo>
                  <a:cubicBezTo>
                    <a:pt x="625337" y="299619"/>
                    <a:pt x="599302" y="321209"/>
                    <a:pt x="550407" y="352324"/>
                  </a:cubicBezTo>
                  <a:close/>
                  <a:moveTo>
                    <a:pt x="362447" y="111024"/>
                  </a:moveTo>
                  <a:cubicBezTo>
                    <a:pt x="361812" y="137059"/>
                    <a:pt x="340222" y="276124"/>
                    <a:pt x="384037" y="261519"/>
                  </a:cubicBezTo>
                  <a:cubicBezTo>
                    <a:pt x="370702" y="227229"/>
                    <a:pt x="410072" y="110389"/>
                    <a:pt x="362447" y="111024"/>
                  </a:cubicBezTo>
                  <a:close/>
                  <a:moveTo>
                    <a:pt x="222112" y="274854"/>
                  </a:moveTo>
                  <a:cubicBezTo>
                    <a:pt x="194807" y="267234"/>
                    <a:pt x="166867" y="234849"/>
                    <a:pt x="138292" y="246279"/>
                  </a:cubicBezTo>
                  <a:cubicBezTo>
                    <a:pt x="140832" y="274219"/>
                    <a:pt x="241797" y="302159"/>
                    <a:pt x="269737" y="317399"/>
                  </a:cubicBezTo>
                  <a:cubicBezTo>
                    <a:pt x="303392" y="300254"/>
                    <a:pt x="234812" y="284379"/>
                    <a:pt x="222112" y="274854"/>
                  </a:cubicBezTo>
                  <a:close/>
                  <a:moveTo>
                    <a:pt x="199887" y="46889"/>
                  </a:moveTo>
                  <a:cubicBezTo>
                    <a:pt x="182107" y="69749"/>
                    <a:pt x="105272" y="126264"/>
                    <a:pt x="137657" y="151664"/>
                  </a:cubicBezTo>
                  <a:cubicBezTo>
                    <a:pt x="149722" y="130074"/>
                    <a:pt x="253227" y="46889"/>
                    <a:pt x="199887" y="46889"/>
                  </a:cubicBezTo>
                  <a:close/>
                  <a:moveTo>
                    <a:pt x="446267" y="123724"/>
                  </a:moveTo>
                  <a:cubicBezTo>
                    <a:pt x="410707" y="111659"/>
                    <a:pt x="443727" y="204369"/>
                    <a:pt x="440552" y="224054"/>
                  </a:cubicBezTo>
                  <a:cubicBezTo>
                    <a:pt x="449442" y="248184"/>
                    <a:pt x="468492" y="228499"/>
                    <a:pt x="462777" y="219609"/>
                  </a:cubicBezTo>
                  <a:cubicBezTo>
                    <a:pt x="455792" y="185319"/>
                    <a:pt x="462142" y="151664"/>
                    <a:pt x="446267" y="1237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31" name="Google Shape;133;p3">
              <a:extLst>
                <a:ext uri="{FF2B5EF4-FFF2-40B4-BE49-F238E27FC236}">
                  <a16:creationId xmlns:a16="http://schemas.microsoft.com/office/drawing/2014/main" id="{B26D16EB-CAF3-40C1-B403-368196AE17A5}"/>
                </a:ext>
              </a:extLst>
            </p:cNvPr>
            <p:cNvGrpSpPr/>
            <p:nvPr/>
          </p:nvGrpSpPr>
          <p:grpSpPr>
            <a:xfrm rot="891035">
              <a:off x="1165229" y="1691730"/>
              <a:ext cx="657771" cy="386113"/>
              <a:chOff x="1429156" y="1387535"/>
              <a:chExt cx="657769" cy="386112"/>
            </a:xfrm>
          </p:grpSpPr>
          <p:sp>
            <p:nvSpPr>
              <p:cNvPr id="71" name="Google Shape;134;p3">
                <a:extLst>
                  <a:ext uri="{FF2B5EF4-FFF2-40B4-BE49-F238E27FC236}">
                    <a16:creationId xmlns:a16="http://schemas.microsoft.com/office/drawing/2014/main" id="{75ACE2E8-E896-4D2F-AA37-81A8AEFC8139}"/>
                  </a:ext>
                </a:extLst>
              </p:cNvPr>
              <p:cNvSpPr/>
              <p:nvPr/>
            </p:nvSpPr>
            <p:spPr>
              <a:xfrm>
                <a:off x="1429156" y="1387535"/>
                <a:ext cx="657769" cy="386112"/>
              </a:xfrm>
              <a:custGeom>
                <a:avLst/>
                <a:gdLst/>
                <a:ahLst/>
                <a:cxnLst/>
                <a:rect l="l" t="t" r="r" b="b"/>
                <a:pathLst>
                  <a:path w="764848" h="448968" extrusionOk="0">
                    <a:moveTo>
                      <a:pt x="741700" y="448969"/>
                    </a:moveTo>
                    <a:cubicBezTo>
                      <a:pt x="719475" y="440079"/>
                      <a:pt x="715030" y="440714"/>
                      <a:pt x="686455" y="443889"/>
                    </a:cubicBezTo>
                    <a:cubicBezTo>
                      <a:pt x="552470" y="455319"/>
                      <a:pt x="419120" y="428649"/>
                      <a:pt x="285770" y="436269"/>
                    </a:cubicBezTo>
                    <a:cubicBezTo>
                      <a:pt x="193060" y="430554"/>
                      <a:pt x="98445" y="428649"/>
                      <a:pt x="6370" y="441349"/>
                    </a:cubicBezTo>
                    <a:cubicBezTo>
                      <a:pt x="-45700" y="400709"/>
                      <a:pt x="237510" y="281329"/>
                      <a:pt x="273070" y="259739"/>
                    </a:cubicBezTo>
                    <a:cubicBezTo>
                      <a:pt x="431820" y="183539"/>
                      <a:pt x="582950" y="91464"/>
                      <a:pt x="735985" y="3834"/>
                    </a:cubicBezTo>
                    <a:cubicBezTo>
                      <a:pt x="748685" y="-3786"/>
                      <a:pt x="759480" y="24"/>
                      <a:pt x="761385" y="14629"/>
                    </a:cubicBezTo>
                    <a:cubicBezTo>
                      <a:pt x="772180" y="114324"/>
                      <a:pt x="753765" y="215924"/>
                      <a:pt x="759480" y="316889"/>
                    </a:cubicBezTo>
                    <a:cubicBezTo>
                      <a:pt x="752495" y="359434"/>
                      <a:pt x="769640" y="414044"/>
                      <a:pt x="741700" y="448969"/>
                    </a:cubicBezTo>
                    <a:close/>
                    <a:moveTo>
                      <a:pt x="615970" y="418489"/>
                    </a:moveTo>
                    <a:cubicBezTo>
                      <a:pt x="647720" y="425474"/>
                      <a:pt x="636290" y="413409"/>
                      <a:pt x="645815" y="393724"/>
                    </a:cubicBezTo>
                    <a:cubicBezTo>
                      <a:pt x="661690" y="396264"/>
                      <a:pt x="657880" y="414044"/>
                      <a:pt x="669945" y="421029"/>
                    </a:cubicBezTo>
                    <a:cubicBezTo>
                      <a:pt x="675660" y="420394"/>
                      <a:pt x="682645" y="420394"/>
                      <a:pt x="690900" y="419759"/>
                    </a:cubicBezTo>
                    <a:cubicBezTo>
                      <a:pt x="692170" y="410234"/>
                      <a:pt x="692805" y="402614"/>
                      <a:pt x="694075" y="394994"/>
                    </a:cubicBezTo>
                    <a:cubicBezTo>
                      <a:pt x="703600" y="394994"/>
                      <a:pt x="705505" y="401979"/>
                      <a:pt x="708680" y="407059"/>
                    </a:cubicBezTo>
                    <a:cubicBezTo>
                      <a:pt x="718205" y="421664"/>
                      <a:pt x="735350" y="405154"/>
                      <a:pt x="734080" y="391819"/>
                    </a:cubicBezTo>
                    <a:cubicBezTo>
                      <a:pt x="734715" y="274344"/>
                      <a:pt x="747415" y="153059"/>
                      <a:pt x="738525" y="37489"/>
                    </a:cubicBezTo>
                    <a:cubicBezTo>
                      <a:pt x="616605" y="87019"/>
                      <a:pt x="508020" y="171474"/>
                      <a:pt x="388005" y="229259"/>
                    </a:cubicBezTo>
                    <a:cubicBezTo>
                      <a:pt x="278785" y="288314"/>
                      <a:pt x="157500" y="328954"/>
                      <a:pt x="59710" y="406424"/>
                    </a:cubicBezTo>
                    <a:cubicBezTo>
                      <a:pt x="81300" y="415949"/>
                      <a:pt x="101620" y="415949"/>
                      <a:pt x="122575" y="412139"/>
                    </a:cubicBezTo>
                    <a:cubicBezTo>
                      <a:pt x="125115" y="401344"/>
                      <a:pt x="127020" y="392454"/>
                      <a:pt x="128925" y="383564"/>
                    </a:cubicBezTo>
                    <a:cubicBezTo>
                      <a:pt x="154325" y="379119"/>
                      <a:pt x="141625" y="432459"/>
                      <a:pt x="165120" y="404519"/>
                    </a:cubicBezTo>
                    <a:cubicBezTo>
                      <a:pt x="167025" y="400074"/>
                      <a:pt x="165755" y="393724"/>
                      <a:pt x="174010" y="391819"/>
                    </a:cubicBezTo>
                    <a:cubicBezTo>
                      <a:pt x="194965" y="416584"/>
                      <a:pt x="208935" y="421664"/>
                      <a:pt x="221000" y="386104"/>
                    </a:cubicBezTo>
                    <a:cubicBezTo>
                      <a:pt x="238145" y="394994"/>
                      <a:pt x="238780" y="428649"/>
                      <a:pt x="264180" y="408964"/>
                    </a:cubicBezTo>
                    <a:cubicBezTo>
                      <a:pt x="266085" y="401344"/>
                      <a:pt x="267990" y="393724"/>
                      <a:pt x="269895" y="385469"/>
                    </a:cubicBezTo>
                    <a:cubicBezTo>
                      <a:pt x="286405" y="388644"/>
                      <a:pt x="279420" y="407059"/>
                      <a:pt x="292755" y="414044"/>
                    </a:cubicBezTo>
                    <a:cubicBezTo>
                      <a:pt x="299105" y="413409"/>
                      <a:pt x="308630" y="412774"/>
                      <a:pt x="314345" y="412139"/>
                    </a:cubicBezTo>
                    <a:cubicBezTo>
                      <a:pt x="323870" y="404519"/>
                      <a:pt x="314980" y="392454"/>
                      <a:pt x="327045" y="388644"/>
                    </a:cubicBezTo>
                    <a:cubicBezTo>
                      <a:pt x="339745" y="400709"/>
                      <a:pt x="348635" y="422934"/>
                      <a:pt x="374670" y="409599"/>
                    </a:cubicBezTo>
                    <a:cubicBezTo>
                      <a:pt x="374035" y="400709"/>
                      <a:pt x="373400" y="391819"/>
                      <a:pt x="372765" y="379119"/>
                    </a:cubicBezTo>
                    <a:cubicBezTo>
                      <a:pt x="405785" y="384199"/>
                      <a:pt x="385465" y="430554"/>
                      <a:pt x="425470" y="414679"/>
                    </a:cubicBezTo>
                    <a:cubicBezTo>
                      <a:pt x="429915" y="409599"/>
                      <a:pt x="424200" y="399439"/>
                      <a:pt x="434360" y="394994"/>
                    </a:cubicBezTo>
                    <a:cubicBezTo>
                      <a:pt x="445790" y="408329"/>
                      <a:pt x="454045" y="430554"/>
                      <a:pt x="478810" y="416584"/>
                    </a:cubicBezTo>
                    <a:cubicBezTo>
                      <a:pt x="485160" y="407694"/>
                      <a:pt x="473730" y="396264"/>
                      <a:pt x="483890" y="386739"/>
                    </a:cubicBezTo>
                    <a:cubicBezTo>
                      <a:pt x="503575" y="401344"/>
                      <a:pt x="502940" y="441984"/>
                      <a:pt x="535325" y="421029"/>
                    </a:cubicBezTo>
                    <a:cubicBezTo>
                      <a:pt x="535960" y="410234"/>
                      <a:pt x="536595" y="398804"/>
                      <a:pt x="537865" y="386739"/>
                    </a:cubicBezTo>
                    <a:cubicBezTo>
                      <a:pt x="560090" y="389914"/>
                      <a:pt x="549295" y="410869"/>
                      <a:pt x="561360" y="421029"/>
                    </a:cubicBezTo>
                    <a:cubicBezTo>
                      <a:pt x="600730" y="433094"/>
                      <a:pt x="587395" y="409599"/>
                      <a:pt x="600095" y="388009"/>
                    </a:cubicBezTo>
                    <a:cubicBezTo>
                      <a:pt x="605810" y="398169"/>
                      <a:pt x="610255" y="407059"/>
                      <a:pt x="615970" y="41848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72" name="Google Shape;135;p3">
                <a:extLst>
                  <a:ext uri="{FF2B5EF4-FFF2-40B4-BE49-F238E27FC236}">
                    <a16:creationId xmlns:a16="http://schemas.microsoft.com/office/drawing/2014/main" id="{7206F198-9F89-4266-9D50-C07019C2CD7E}"/>
                  </a:ext>
                </a:extLst>
              </p:cNvPr>
              <p:cNvSpPr/>
              <p:nvPr/>
            </p:nvSpPr>
            <p:spPr>
              <a:xfrm>
                <a:off x="1703617" y="1534561"/>
                <a:ext cx="308110" cy="146566"/>
              </a:xfrm>
              <a:custGeom>
                <a:avLst/>
                <a:gdLst/>
                <a:ahLst/>
                <a:cxnLst/>
                <a:rect l="l" t="t" r="r" b="b"/>
                <a:pathLst>
                  <a:path w="358267" h="170426" extrusionOk="0">
                    <a:moveTo>
                      <a:pt x="331351" y="0"/>
                    </a:moveTo>
                    <a:cubicBezTo>
                      <a:pt x="385326" y="29845"/>
                      <a:pt x="340241" y="100330"/>
                      <a:pt x="347226" y="149860"/>
                    </a:cubicBezTo>
                    <a:cubicBezTo>
                      <a:pt x="345956" y="186690"/>
                      <a:pt x="250706" y="162560"/>
                      <a:pt x="222766" y="163830"/>
                    </a:cubicBezTo>
                    <a:cubicBezTo>
                      <a:pt x="152281" y="173990"/>
                      <a:pt x="81796" y="159385"/>
                      <a:pt x="10676" y="165735"/>
                    </a:cubicBezTo>
                    <a:cubicBezTo>
                      <a:pt x="-67429" y="148590"/>
                      <a:pt x="307856" y="15240"/>
                      <a:pt x="331351" y="0"/>
                    </a:cubicBezTo>
                    <a:close/>
                    <a:moveTo>
                      <a:pt x="331986" y="27305"/>
                    </a:moveTo>
                    <a:cubicBezTo>
                      <a:pt x="281821" y="40005"/>
                      <a:pt x="86241" y="122555"/>
                      <a:pt x="64651" y="139700"/>
                    </a:cubicBezTo>
                    <a:cubicBezTo>
                      <a:pt x="146566" y="156845"/>
                      <a:pt x="236736" y="147955"/>
                      <a:pt x="321191" y="142875"/>
                    </a:cubicBezTo>
                    <a:cubicBezTo>
                      <a:pt x="327541" y="104140"/>
                      <a:pt x="333891" y="66675"/>
                      <a:pt x="331986" y="2730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32" name="Google Shape;136;p3">
              <a:extLst>
                <a:ext uri="{FF2B5EF4-FFF2-40B4-BE49-F238E27FC236}">
                  <a16:creationId xmlns:a16="http://schemas.microsoft.com/office/drawing/2014/main" id="{375853E5-8D2D-4BFD-A344-777696706008}"/>
                </a:ext>
              </a:extLst>
            </p:cNvPr>
            <p:cNvSpPr/>
            <p:nvPr/>
          </p:nvSpPr>
          <p:spPr>
            <a:xfrm rot="-1696692">
              <a:off x="7441723" y="1525254"/>
              <a:ext cx="760522" cy="200454"/>
            </a:xfrm>
            <a:custGeom>
              <a:avLst/>
              <a:gdLst/>
              <a:ahLst/>
              <a:cxnLst/>
              <a:rect l="l" t="t" r="r" b="b"/>
              <a:pathLst>
                <a:path w="884171" h="233045" extrusionOk="0">
                  <a:moveTo>
                    <a:pt x="857928" y="0"/>
                  </a:moveTo>
                  <a:cubicBezTo>
                    <a:pt x="574717" y="35560"/>
                    <a:pt x="287698" y="28575"/>
                    <a:pt x="3218" y="62230"/>
                  </a:cubicBezTo>
                  <a:cubicBezTo>
                    <a:pt x="6393" y="102870"/>
                    <a:pt x="-13927" y="213360"/>
                    <a:pt x="19727" y="233045"/>
                  </a:cubicBezTo>
                  <a:cubicBezTo>
                    <a:pt x="151173" y="226695"/>
                    <a:pt x="281348" y="213995"/>
                    <a:pt x="413427" y="214630"/>
                  </a:cubicBezTo>
                  <a:cubicBezTo>
                    <a:pt x="563923" y="219075"/>
                    <a:pt x="715053" y="208280"/>
                    <a:pt x="865548" y="195580"/>
                  </a:cubicBezTo>
                  <a:cubicBezTo>
                    <a:pt x="899203" y="207010"/>
                    <a:pt x="881423" y="5080"/>
                    <a:pt x="857928" y="0"/>
                  </a:cubicBezTo>
                  <a:close/>
                  <a:moveTo>
                    <a:pt x="860467" y="169545"/>
                  </a:moveTo>
                  <a:cubicBezTo>
                    <a:pt x="825542" y="180340"/>
                    <a:pt x="790617" y="177165"/>
                    <a:pt x="756328" y="185420"/>
                  </a:cubicBezTo>
                  <a:cubicBezTo>
                    <a:pt x="748707" y="175260"/>
                    <a:pt x="742357" y="167005"/>
                    <a:pt x="735373" y="157480"/>
                  </a:cubicBezTo>
                  <a:cubicBezTo>
                    <a:pt x="723942" y="175260"/>
                    <a:pt x="730928" y="186690"/>
                    <a:pt x="703623" y="183515"/>
                  </a:cubicBezTo>
                  <a:cubicBezTo>
                    <a:pt x="699813" y="175895"/>
                    <a:pt x="695367" y="168275"/>
                    <a:pt x="690923" y="160020"/>
                  </a:cubicBezTo>
                  <a:cubicBezTo>
                    <a:pt x="677588" y="164465"/>
                    <a:pt x="685842" y="179070"/>
                    <a:pt x="676317" y="184150"/>
                  </a:cubicBezTo>
                  <a:cubicBezTo>
                    <a:pt x="662982" y="182245"/>
                    <a:pt x="673778" y="159385"/>
                    <a:pt x="654092" y="161290"/>
                  </a:cubicBezTo>
                  <a:cubicBezTo>
                    <a:pt x="652188" y="168910"/>
                    <a:pt x="649648" y="177800"/>
                    <a:pt x="647742" y="186690"/>
                  </a:cubicBezTo>
                  <a:cubicBezTo>
                    <a:pt x="598213" y="209550"/>
                    <a:pt x="632503" y="132080"/>
                    <a:pt x="597578" y="128270"/>
                  </a:cubicBezTo>
                  <a:cubicBezTo>
                    <a:pt x="574717" y="146050"/>
                    <a:pt x="625517" y="198120"/>
                    <a:pt x="575988" y="194310"/>
                  </a:cubicBezTo>
                  <a:cubicBezTo>
                    <a:pt x="571542" y="184150"/>
                    <a:pt x="566463" y="172720"/>
                    <a:pt x="561382" y="160020"/>
                  </a:cubicBezTo>
                  <a:cubicBezTo>
                    <a:pt x="548682" y="168910"/>
                    <a:pt x="555667" y="180975"/>
                    <a:pt x="551223" y="189865"/>
                  </a:cubicBezTo>
                  <a:cubicBezTo>
                    <a:pt x="527727" y="199390"/>
                    <a:pt x="528363" y="180340"/>
                    <a:pt x="515663" y="167640"/>
                  </a:cubicBezTo>
                  <a:cubicBezTo>
                    <a:pt x="506138" y="172720"/>
                    <a:pt x="510582" y="179070"/>
                    <a:pt x="509948" y="184785"/>
                  </a:cubicBezTo>
                  <a:cubicBezTo>
                    <a:pt x="503598" y="211455"/>
                    <a:pt x="478832" y="184150"/>
                    <a:pt x="477563" y="168275"/>
                  </a:cubicBezTo>
                  <a:cubicBezTo>
                    <a:pt x="475657" y="168275"/>
                    <a:pt x="473118" y="168910"/>
                    <a:pt x="471213" y="168910"/>
                  </a:cubicBezTo>
                  <a:cubicBezTo>
                    <a:pt x="468673" y="176530"/>
                    <a:pt x="468038" y="185420"/>
                    <a:pt x="468673" y="192405"/>
                  </a:cubicBezTo>
                  <a:cubicBezTo>
                    <a:pt x="419143" y="222885"/>
                    <a:pt x="449623" y="139065"/>
                    <a:pt x="420413" y="134620"/>
                  </a:cubicBezTo>
                  <a:cubicBezTo>
                    <a:pt x="403268" y="157480"/>
                    <a:pt x="441368" y="204470"/>
                    <a:pt x="384852" y="194310"/>
                  </a:cubicBezTo>
                  <a:cubicBezTo>
                    <a:pt x="379773" y="186690"/>
                    <a:pt x="374057" y="178435"/>
                    <a:pt x="367707" y="168910"/>
                  </a:cubicBezTo>
                  <a:cubicBezTo>
                    <a:pt x="355643" y="175260"/>
                    <a:pt x="365802" y="188595"/>
                    <a:pt x="356277" y="194310"/>
                  </a:cubicBezTo>
                  <a:cubicBezTo>
                    <a:pt x="341038" y="190500"/>
                    <a:pt x="348023" y="171450"/>
                    <a:pt x="337227" y="164465"/>
                  </a:cubicBezTo>
                  <a:cubicBezTo>
                    <a:pt x="323893" y="161290"/>
                    <a:pt x="327702" y="179705"/>
                    <a:pt x="325798" y="187960"/>
                  </a:cubicBezTo>
                  <a:cubicBezTo>
                    <a:pt x="311827" y="185420"/>
                    <a:pt x="316907" y="161290"/>
                    <a:pt x="299763" y="167640"/>
                  </a:cubicBezTo>
                  <a:cubicBezTo>
                    <a:pt x="299127" y="175260"/>
                    <a:pt x="298493" y="183515"/>
                    <a:pt x="297857" y="193040"/>
                  </a:cubicBezTo>
                  <a:cubicBezTo>
                    <a:pt x="284523" y="198120"/>
                    <a:pt x="270552" y="196215"/>
                    <a:pt x="255313" y="193675"/>
                  </a:cubicBezTo>
                  <a:cubicBezTo>
                    <a:pt x="253407" y="123190"/>
                    <a:pt x="226102" y="121285"/>
                    <a:pt x="228643" y="193675"/>
                  </a:cubicBezTo>
                  <a:cubicBezTo>
                    <a:pt x="208957" y="210185"/>
                    <a:pt x="200068" y="191770"/>
                    <a:pt x="189907" y="181610"/>
                  </a:cubicBezTo>
                  <a:cubicBezTo>
                    <a:pt x="187368" y="183515"/>
                    <a:pt x="184827" y="184150"/>
                    <a:pt x="184193" y="185420"/>
                  </a:cubicBezTo>
                  <a:cubicBezTo>
                    <a:pt x="179748" y="215265"/>
                    <a:pt x="160063" y="195580"/>
                    <a:pt x="153713" y="178435"/>
                  </a:cubicBezTo>
                  <a:cubicBezTo>
                    <a:pt x="136568" y="176530"/>
                    <a:pt x="152443" y="219075"/>
                    <a:pt x="127043" y="200025"/>
                  </a:cubicBezTo>
                  <a:cubicBezTo>
                    <a:pt x="124502" y="193040"/>
                    <a:pt x="122598" y="184150"/>
                    <a:pt x="116248" y="179070"/>
                  </a:cubicBezTo>
                  <a:cubicBezTo>
                    <a:pt x="104818" y="182245"/>
                    <a:pt x="108627" y="191135"/>
                    <a:pt x="106088" y="197485"/>
                  </a:cubicBezTo>
                  <a:cubicBezTo>
                    <a:pt x="76877" y="236855"/>
                    <a:pt x="86402" y="157480"/>
                    <a:pt x="76877" y="144780"/>
                  </a:cubicBezTo>
                  <a:cubicBezTo>
                    <a:pt x="43857" y="125095"/>
                    <a:pt x="66718" y="187325"/>
                    <a:pt x="62273" y="203200"/>
                  </a:cubicBezTo>
                  <a:cubicBezTo>
                    <a:pt x="52113" y="213360"/>
                    <a:pt x="41318" y="208280"/>
                    <a:pt x="29888" y="208280"/>
                  </a:cubicBezTo>
                  <a:cubicBezTo>
                    <a:pt x="26077" y="177165"/>
                    <a:pt x="5123" y="95250"/>
                    <a:pt x="35602" y="78740"/>
                  </a:cubicBezTo>
                  <a:cubicBezTo>
                    <a:pt x="133393" y="58420"/>
                    <a:pt x="233723" y="57785"/>
                    <a:pt x="333418" y="53975"/>
                  </a:cubicBezTo>
                  <a:cubicBezTo>
                    <a:pt x="505502" y="41910"/>
                    <a:pt x="680763" y="26670"/>
                    <a:pt x="852213" y="30480"/>
                  </a:cubicBezTo>
                  <a:cubicBezTo>
                    <a:pt x="863007" y="74930"/>
                    <a:pt x="864913" y="125730"/>
                    <a:pt x="860467" y="169545"/>
                  </a:cubicBezTo>
                  <a:close/>
                  <a:moveTo>
                    <a:pt x="776648" y="102235"/>
                  </a:moveTo>
                  <a:cubicBezTo>
                    <a:pt x="776648" y="144780"/>
                    <a:pt x="831892" y="132080"/>
                    <a:pt x="839513" y="100965"/>
                  </a:cubicBezTo>
                  <a:cubicBezTo>
                    <a:pt x="838878" y="50800"/>
                    <a:pt x="779188" y="59055"/>
                    <a:pt x="776648" y="102235"/>
                  </a:cubicBezTo>
                  <a:close/>
                  <a:moveTo>
                    <a:pt x="796967" y="102235"/>
                  </a:moveTo>
                  <a:cubicBezTo>
                    <a:pt x="799507" y="89535"/>
                    <a:pt x="809032" y="91440"/>
                    <a:pt x="817288" y="101600"/>
                  </a:cubicBezTo>
                  <a:cubicBezTo>
                    <a:pt x="809032" y="107315"/>
                    <a:pt x="796332" y="116205"/>
                    <a:pt x="796967" y="1022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3" name="Google Shape;137;p3">
              <a:extLst>
                <a:ext uri="{FF2B5EF4-FFF2-40B4-BE49-F238E27FC236}">
                  <a16:creationId xmlns:a16="http://schemas.microsoft.com/office/drawing/2014/main" id="{6421FDF3-8380-4586-B83E-2921B2CFAF8F}"/>
                </a:ext>
              </a:extLst>
            </p:cNvPr>
            <p:cNvSpPr/>
            <p:nvPr/>
          </p:nvSpPr>
          <p:spPr>
            <a:xfrm>
              <a:off x="1161548" y="2558031"/>
              <a:ext cx="665135" cy="522113"/>
            </a:xfrm>
            <a:custGeom>
              <a:avLst/>
              <a:gdLst/>
              <a:ahLst/>
              <a:cxnLst/>
              <a:rect l="l" t="t" r="r" b="b"/>
              <a:pathLst>
                <a:path w="773413" h="607108" extrusionOk="0">
                  <a:moveTo>
                    <a:pt x="330200" y="266676"/>
                  </a:moveTo>
                  <a:cubicBezTo>
                    <a:pt x="311785" y="287631"/>
                    <a:pt x="356870" y="297791"/>
                    <a:pt x="365125" y="312396"/>
                  </a:cubicBezTo>
                  <a:cubicBezTo>
                    <a:pt x="452120" y="383516"/>
                    <a:pt x="374650" y="271121"/>
                    <a:pt x="330200" y="266676"/>
                  </a:cubicBezTo>
                  <a:close/>
                  <a:moveTo>
                    <a:pt x="345440" y="379706"/>
                  </a:moveTo>
                  <a:cubicBezTo>
                    <a:pt x="343535" y="361291"/>
                    <a:pt x="321945" y="360021"/>
                    <a:pt x="318770" y="343511"/>
                  </a:cubicBezTo>
                  <a:cubicBezTo>
                    <a:pt x="320675" y="320016"/>
                    <a:pt x="302260" y="323826"/>
                    <a:pt x="288925" y="317476"/>
                  </a:cubicBezTo>
                  <a:cubicBezTo>
                    <a:pt x="288290" y="309856"/>
                    <a:pt x="287655" y="302871"/>
                    <a:pt x="287020" y="295886"/>
                  </a:cubicBezTo>
                  <a:cubicBezTo>
                    <a:pt x="256540" y="302871"/>
                    <a:pt x="237490" y="313031"/>
                    <a:pt x="245745" y="340336"/>
                  </a:cubicBezTo>
                  <a:cubicBezTo>
                    <a:pt x="258445" y="358116"/>
                    <a:pt x="277495" y="337796"/>
                    <a:pt x="294005" y="347956"/>
                  </a:cubicBezTo>
                  <a:cubicBezTo>
                    <a:pt x="292100" y="368911"/>
                    <a:pt x="304800" y="377801"/>
                    <a:pt x="325120" y="377801"/>
                  </a:cubicBezTo>
                  <a:cubicBezTo>
                    <a:pt x="336550" y="404471"/>
                    <a:pt x="335915" y="405106"/>
                    <a:pt x="358775" y="416536"/>
                  </a:cubicBezTo>
                  <a:cubicBezTo>
                    <a:pt x="372110" y="422251"/>
                    <a:pt x="386715" y="457176"/>
                    <a:pt x="400050" y="436221"/>
                  </a:cubicBezTo>
                  <a:cubicBezTo>
                    <a:pt x="391795" y="396851"/>
                    <a:pt x="360680" y="405106"/>
                    <a:pt x="345440" y="379706"/>
                  </a:cubicBezTo>
                  <a:close/>
                  <a:moveTo>
                    <a:pt x="507365" y="428601"/>
                  </a:moveTo>
                  <a:cubicBezTo>
                    <a:pt x="495935" y="401296"/>
                    <a:pt x="474345" y="382881"/>
                    <a:pt x="453390" y="364466"/>
                  </a:cubicBezTo>
                  <a:cubicBezTo>
                    <a:pt x="431165" y="346051"/>
                    <a:pt x="431165" y="391136"/>
                    <a:pt x="451485" y="393676"/>
                  </a:cubicBezTo>
                  <a:cubicBezTo>
                    <a:pt x="487045" y="408916"/>
                    <a:pt x="488315" y="451461"/>
                    <a:pt x="525145" y="467336"/>
                  </a:cubicBezTo>
                  <a:cubicBezTo>
                    <a:pt x="542925" y="447651"/>
                    <a:pt x="513715" y="441301"/>
                    <a:pt x="507365" y="428601"/>
                  </a:cubicBezTo>
                  <a:close/>
                  <a:moveTo>
                    <a:pt x="504825" y="315571"/>
                  </a:moveTo>
                  <a:cubicBezTo>
                    <a:pt x="500380" y="301601"/>
                    <a:pt x="481965" y="299061"/>
                    <a:pt x="480060" y="284456"/>
                  </a:cubicBezTo>
                  <a:cubicBezTo>
                    <a:pt x="474980" y="258421"/>
                    <a:pt x="442595" y="265406"/>
                    <a:pt x="434340" y="241276"/>
                  </a:cubicBezTo>
                  <a:cubicBezTo>
                    <a:pt x="421005" y="238101"/>
                    <a:pt x="410210" y="251436"/>
                    <a:pt x="398145" y="240006"/>
                  </a:cubicBezTo>
                  <a:cubicBezTo>
                    <a:pt x="403860" y="233656"/>
                    <a:pt x="408940" y="232386"/>
                    <a:pt x="417195" y="228576"/>
                  </a:cubicBezTo>
                  <a:cubicBezTo>
                    <a:pt x="400050" y="175871"/>
                    <a:pt x="313690" y="272391"/>
                    <a:pt x="419735" y="267311"/>
                  </a:cubicBezTo>
                  <a:cubicBezTo>
                    <a:pt x="422275" y="289536"/>
                    <a:pt x="445770" y="278741"/>
                    <a:pt x="461645" y="288266"/>
                  </a:cubicBezTo>
                  <a:cubicBezTo>
                    <a:pt x="460375" y="315571"/>
                    <a:pt x="490855" y="330176"/>
                    <a:pt x="508000" y="347321"/>
                  </a:cubicBezTo>
                  <a:cubicBezTo>
                    <a:pt x="532130" y="360656"/>
                    <a:pt x="526415" y="399391"/>
                    <a:pt x="563245" y="392406"/>
                  </a:cubicBezTo>
                  <a:cubicBezTo>
                    <a:pt x="560070" y="370181"/>
                    <a:pt x="537210" y="365101"/>
                    <a:pt x="537210" y="340971"/>
                  </a:cubicBezTo>
                  <a:cubicBezTo>
                    <a:pt x="524510" y="334621"/>
                    <a:pt x="509270" y="329541"/>
                    <a:pt x="504825" y="315571"/>
                  </a:cubicBezTo>
                  <a:close/>
                  <a:moveTo>
                    <a:pt x="744220" y="156186"/>
                  </a:moveTo>
                  <a:cubicBezTo>
                    <a:pt x="658495" y="119991"/>
                    <a:pt x="573405" y="78081"/>
                    <a:pt x="509270" y="8231"/>
                  </a:cubicBezTo>
                  <a:cubicBezTo>
                    <a:pt x="478155" y="-22249"/>
                    <a:pt x="454660" y="40616"/>
                    <a:pt x="430530" y="55856"/>
                  </a:cubicBezTo>
                  <a:cubicBezTo>
                    <a:pt x="309880" y="170156"/>
                    <a:pt x="172720" y="286361"/>
                    <a:pt x="0" y="294616"/>
                  </a:cubicBezTo>
                  <a:cubicBezTo>
                    <a:pt x="14605" y="319381"/>
                    <a:pt x="14605" y="318746"/>
                    <a:pt x="29845" y="328271"/>
                  </a:cubicBezTo>
                  <a:cubicBezTo>
                    <a:pt x="91440" y="365736"/>
                    <a:pt x="144780" y="415901"/>
                    <a:pt x="205740" y="454001"/>
                  </a:cubicBezTo>
                  <a:cubicBezTo>
                    <a:pt x="279400" y="483211"/>
                    <a:pt x="368935" y="638786"/>
                    <a:pt x="440690" y="601322"/>
                  </a:cubicBezTo>
                  <a:cubicBezTo>
                    <a:pt x="623570" y="562586"/>
                    <a:pt x="855980" y="342876"/>
                    <a:pt x="744220" y="156186"/>
                  </a:cubicBezTo>
                  <a:close/>
                  <a:moveTo>
                    <a:pt x="412750" y="585447"/>
                  </a:moveTo>
                  <a:cubicBezTo>
                    <a:pt x="372110" y="579731"/>
                    <a:pt x="340995" y="535916"/>
                    <a:pt x="308610" y="511786"/>
                  </a:cubicBezTo>
                  <a:cubicBezTo>
                    <a:pt x="229235" y="438761"/>
                    <a:pt x="133985" y="389866"/>
                    <a:pt x="57150" y="314301"/>
                  </a:cubicBezTo>
                  <a:cubicBezTo>
                    <a:pt x="231140" y="271756"/>
                    <a:pt x="370840" y="152376"/>
                    <a:pt x="493395" y="26646"/>
                  </a:cubicBezTo>
                  <a:cubicBezTo>
                    <a:pt x="561975" y="90781"/>
                    <a:pt x="644525" y="126976"/>
                    <a:pt x="723265" y="173966"/>
                  </a:cubicBezTo>
                  <a:cubicBezTo>
                    <a:pt x="699135" y="203176"/>
                    <a:pt x="664210" y="216511"/>
                    <a:pt x="643255" y="243816"/>
                  </a:cubicBezTo>
                  <a:cubicBezTo>
                    <a:pt x="660400" y="283186"/>
                    <a:pt x="710565" y="292076"/>
                    <a:pt x="733425" y="327636"/>
                  </a:cubicBezTo>
                  <a:cubicBezTo>
                    <a:pt x="689610" y="466701"/>
                    <a:pt x="548005" y="554966"/>
                    <a:pt x="412750" y="585447"/>
                  </a:cubicBezTo>
                  <a:close/>
                  <a:moveTo>
                    <a:pt x="674370" y="250166"/>
                  </a:moveTo>
                  <a:cubicBezTo>
                    <a:pt x="697865" y="229211"/>
                    <a:pt x="714375" y="205716"/>
                    <a:pt x="743585" y="197461"/>
                  </a:cubicBezTo>
                  <a:cubicBezTo>
                    <a:pt x="744855" y="232386"/>
                    <a:pt x="751205" y="265406"/>
                    <a:pt x="738505" y="299061"/>
                  </a:cubicBezTo>
                  <a:cubicBezTo>
                    <a:pt x="712470" y="288266"/>
                    <a:pt x="697865" y="265406"/>
                    <a:pt x="674370" y="250166"/>
                  </a:cubicBezTo>
                  <a:close/>
                  <a:moveTo>
                    <a:pt x="641985" y="310491"/>
                  </a:moveTo>
                  <a:cubicBezTo>
                    <a:pt x="619760" y="306681"/>
                    <a:pt x="605790" y="289536"/>
                    <a:pt x="589280" y="280011"/>
                  </a:cubicBezTo>
                  <a:cubicBezTo>
                    <a:pt x="587375" y="270486"/>
                    <a:pt x="586105" y="263501"/>
                    <a:pt x="584835" y="255881"/>
                  </a:cubicBezTo>
                  <a:cubicBezTo>
                    <a:pt x="541020" y="246356"/>
                    <a:pt x="568960" y="223496"/>
                    <a:pt x="506095" y="215241"/>
                  </a:cubicBezTo>
                  <a:cubicBezTo>
                    <a:pt x="534670" y="166346"/>
                    <a:pt x="490220" y="189841"/>
                    <a:pt x="461645" y="186031"/>
                  </a:cubicBezTo>
                  <a:cubicBezTo>
                    <a:pt x="436245" y="172061"/>
                    <a:pt x="474345" y="158726"/>
                    <a:pt x="487045" y="156186"/>
                  </a:cubicBezTo>
                  <a:cubicBezTo>
                    <a:pt x="502920" y="130786"/>
                    <a:pt x="456565" y="133961"/>
                    <a:pt x="447040" y="148566"/>
                  </a:cubicBezTo>
                  <a:cubicBezTo>
                    <a:pt x="419100" y="174601"/>
                    <a:pt x="444500" y="210796"/>
                    <a:pt x="478790" y="206986"/>
                  </a:cubicBezTo>
                  <a:cubicBezTo>
                    <a:pt x="490855" y="245086"/>
                    <a:pt x="502285" y="234291"/>
                    <a:pt x="534670" y="244451"/>
                  </a:cubicBezTo>
                  <a:cubicBezTo>
                    <a:pt x="539115" y="264771"/>
                    <a:pt x="565785" y="269851"/>
                    <a:pt x="571500" y="292711"/>
                  </a:cubicBezTo>
                  <a:cubicBezTo>
                    <a:pt x="590550" y="305411"/>
                    <a:pt x="613410" y="332081"/>
                    <a:pt x="638175" y="329541"/>
                  </a:cubicBezTo>
                  <a:cubicBezTo>
                    <a:pt x="647700" y="327636"/>
                    <a:pt x="648335" y="313666"/>
                    <a:pt x="641985" y="3104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34" name="Google Shape;138;p3">
              <a:extLst>
                <a:ext uri="{FF2B5EF4-FFF2-40B4-BE49-F238E27FC236}">
                  <a16:creationId xmlns:a16="http://schemas.microsoft.com/office/drawing/2014/main" id="{5D66BD58-4BE5-4935-BF2C-EDC1609FD8BD}"/>
                </a:ext>
              </a:extLst>
            </p:cNvPr>
            <p:cNvGrpSpPr/>
            <p:nvPr/>
          </p:nvGrpSpPr>
          <p:grpSpPr>
            <a:xfrm>
              <a:off x="346827" y="3411153"/>
              <a:ext cx="376916" cy="455685"/>
              <a:chOff x="1010452" y="1144365"/>
              <a:chExt cx="376916" cy="455685"/>
            </a:xfrm>
          </p:grpSpPr>
          <p:sp>
            <p:nvSpPr>
              <p:cNvPr id="69" name="Google Shape;139;p3">
                <a:extLst>
                  <a:ext uri="{FF2B5EF4-FFF2-40B4-BE49-F238E27FC236}">
                    <a16:creationId xmlns:a16="http://schemas.microsoft.com/office/drawing/2014/main" id="{8C9BC79A-1AA0-4E0B-A67B-8A9CA8102CE9}"/>
                  </a:ext>
                </a:extLst>
              </p:cNvPr>
              <p:cNvSpPr/>
              <p:nvPr/>
            </p:nvSpPr>
            <p:spPr>
              <a:xfrm>
                <a:off x="1010452" y="1144365"/>
                <a:ext cx="376916" cy="455685"/>
              </a:xfrm>
              <a:custGeom>
                <a:avLst/>
                <a:gdLst/>
                <a:ahLst/>
                <a:cxnLst/>
                <a:rect l="l" t="t" r="r" b="b"/>
                <a:pathLst>
                  <a:path w="438274" h="529866" extrusionOk="0">
                    <a:moveTo>
                      <a:pt x="42669" y="358775"/>
                    </a:moveTo>
                    <a:cubicBezTo>
                      <a:pt x="32509" y="365760"/>
                      <a:pt x="24889" y="370840"/>
                      <a:pt x="16634" y="376555"/>
                    </a:cubicBezTo>
                    <a:cubicBezTo>
                      <a:pt x="759" y="367030"/>
                      <a:pt x="-511" y="353060"/>
                      <a:pt x="124" y="337820"/>
                    </a:cubicBezTo>
                    <a:cubicBezTo>
                      <a:pt x="25524" y="336550"/>
                      <a:pt x="44574" y="340360"/>
                      <a:pt x="69339" y="353060"/>
                    </a:cubicBezTo>
                    <a:cubicBezTo>
                      <a:pt x="81404" y="349250"/>
                      <a:pt x="94739" y="345440"/>
                      <a:pt x="107439" y="340995"/>
                    </a:cubicBezTo>
                    <a:cubicBezTo>
                      <a:pt x="139189" y="224155"/>
                      <a:pt x="129029" y="254000"/>
                      <a:pt x="172209" y="186055"/>
                    </a:cubicBezTo>
                    <a:cubicBezTo>
                      <a:pt x="136014" y="133985"/>
                      <a:pt x="101089" y="64770"/>
                      <a:pt x="130934" y="0"/>
                    </a:cubicBezTo>
                    <a:cubicBezTo>
                      <a:pt x="181099" y="8255"/>
                      <a:pt x="230629" y="101600"/>
                      <a:pt x="237614" y="151130"/>
                    </a:cubicBezTo>
                    <a:cubicBezTo>
                      <a:pt x="282699" y="160020"/>
                      <a:pt x="330324" y="148590"/>
                      <a:pt x="366519" y="186055"/>
                    </a:cubicBezTo>
                    <a:cubicBezTo>
                      <a:pt x="391284" y="211455"/>
                      <a:pt x="430654" y="226695"/>
                      <a:pt x="438274" y="264795"/>
                    </a:cubicBezTo>
                    <a:cubicBezTo>
                      <a:pt x="363344" y="320040"/>
                      <a:pt x="256029" y="259080"/>
                      <a:pt x="195704" y="205740"/>
                    </a:cubicBezTo>
                    <a:cubicBezTo>
                      <a:pt x="153794" y="228600"/>
                      <a:pt x="141094" y="292100"/>
                      <a:pt x="136649" y="332740"/>
                    </a:cubicBezTo>
                    <a:cubicBezTo>
                      <a:pt x="143634" y="339090"/>
                      <a:pt x="151889" y="345440"/>
                      <a:pt x="160779" y="353060"/>
                    </a:cubicBezTo>
                    <a:cubicBezTo>
                      <a:pt x="169669" y="349885"/>
                      <a:pt x="178559" y="346075"/>
                      <a:pt x="188084" y="342900"/>
                    </a:cubicBezTo>
                    <a:cubicBezTo>
                      <a:pt x="193799" y="347345"/>
                      <a:pt x="199514" y="351790"/>
                      <a:pt x="205864" y="357505"/>
                    </a:cubicBezTo>
                    <a:cubicBezTo>
                      <a:pt x="238249" y="346710"/>
                      <a:pt x="275079" y="366395"/>
                      <a:pt x="310004" y="365125"/>
                    </a:cubicBezTo>
                    <a:cubicBezTo>
                      <a:pt x="348104" y="407670"/>
                      <a:pt x="245869" y="379095"/>
                      <a:pt x="227454" y="375285"/>
                    </a:cubicBezTo>
                    <a:cubicBezTo>
                      <a:pt x="220469" y="379095"/>
                      <a:pt x="212849" y="384175"/>
                      <a:pt x="203959" y="388620"/>
                    </a:cubicBezTo>
                    <a:cubicBezTo>
                      <a:pt x="196974" y="386080"/>
                      <a:pt x="188719" y="381000"/>
                      <a:pt x="184274" y="375920"/>
                    </a:cubicBezTo>
                    <a:cubicBezTo>
                      <a:pt x="167129" y="374650"/>
                      <a:pt x="151889" y="373380"/>
                      <a:pt x="134744" y="372110"/>
                    </a:cubicBezTo>
                    <a:cubicBezTo>
                      <a:pt x="134744" y="381000"/>
                      <a:pt x="139189" y="389890"/>
                      <a:pt x="145539" y="395605"/>
                    </a:cubicBezTo>
                    <a:cubicBezTo>
                      <a:pt x="186179" y="433070"/>
                      <a:pt x="166494" y="499110"/>
                      <a:pt x="128394" y="528955"/>
                    </a:cubicBezTo>
                    <a:cubicBezTo>
                      <a:pt x="69974" y="541020"/>
                      <a:pt x="67434" y="429895"/>
                      <a:pt x="99819" y="396875"/>
                    </a:cubicBezTo>
                    <a:cubicBezTo>
                      <a:pt x="113154" y="386715"/>
                      <a:pt x="109979" y="361315"/>
                      <a:pt x="90294" y="370205"/>
                    </a:cubicBezTo>
                    <a:cubicBezTo>
                      <a:pt x="71244" y="380365"/>
                      <a:pt x="57909" y="368300"/>
                      <a:pt x="42669" y="358775"/>
                    </a:cubicBezTo>
                    <a:close/>
                    <a:moveTo>
                      <a:pt x="111884" y="481965"/>
                    </a:moveTo>
                    <a:cubicBezTo>
                      <a:pt x="107439" y="512445"/>
                      <a:pt x="133474" y="506095"/>
                      <a:pt x="111249" y="482600"/>
                    </a:cubicBezTo>
                    <a:cubicBezTo>
                      <a:pt x="110614" y="470535"/>
                      <a:pt x="109979" y="458470"/>
                      <a:pt x="108709" y="446405"/>
                    </a:cubicBezTo>
                    <a:cubicBezTo>
                      <a:pt x="105534" y="458470"/>
                      <a:pt x="99184" y="471805"/>
                      <a:pt x="111884" y="481965"/>
                    </a:cubicBezTo>
                    <a:close/>
                    <a:moveTo>
                      <a:pt x="200784" y="171450"/>
                    </a:moveTo>
                    <a:cubicBezTo>
                      <a:pt x="233804" y="126365"/>
                      <a:pt x="188084" y="57785"/>
                      <a:pt x="148079" y="34290"/>
                    </a:cubicBezTo>
                    <a:cubicBezTo>
                      <a:pt x="130934" y="70485"/>
                      <a:pt x="156334" y="168910"/>
                      <a:pt x="200784" y="171450"/>
                    </a:cubicBezTo>
                    <a:lnTo>
                      <a:pt x="200784" y="171450"/>
                    </a:lnTo>
                    <a:close/>
                    <a:moveTo>
                      <a:pt x="241424" y="220980"/>
                    </a:moveTo>
                    <a:lnTo>
                      <a:pt x="242059" y="219075"/>
                    </a:lnTo>
                    <a:lnTo>
                      <a:pt x="240154" y="220345"/>
                    </a:lnTo>
                    <a:cubicBezTo>
                      <a:pt x="289684" y="245110"/>
                      <a:pt x="363979" y="292100"/>
                      <a:pt x="412239" y="248920"/>
                    </a:cubicBezTo>
                    <a:cubicBezTo>
                      <a:pt x="370964" y="205740"/>
                      <a:pt x="304289" y="149860"/>
                      <a:pt x="243964" y="186690"/>
                    </a:cubicBezTo>
                    <a:cubicBezTo>
                      <a:pt x="269999" y="217170"/>
                      <a:pt x="344294" y="203835"/>
                      <a:pt x="353819" y="244475"/>
                    </a:cubicBezTo>
                    <a:cubicBezTo>
                      <a:pt x="318259" y="237490"/>
                      <a:pt x="280159" y="214630"/>
                      <a:pt x="241424" y="220980"/>
                    </a:cubicBezTo>
                    <a:close/>
                    <a:moveTo>
                      <a:pt x="139189" y="431165"/>
                    </a:moveTo>
                    <a:cubicBezTo>
                      <a:pt x="135379" y="450215"/>
                      <a:pt x="134744" y="450215"/>
                      <a:pt x="140459" y="465455"/>
                    </a:cubicBezTo>
                    <a:cubicBezTo>
                      <a:pt x="146809" y="453390"/>
                      <a:pt x="145539" y="443230"/>
                      <a:pt x="139189" y="43116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70" name="Google Shape;140;p3">
                <a:extLst>
                  <a:ext uri="{FF2B5EF4-FFF2-40B4-BE49-F238E27FC236}">
                    <a16:creationId xmlns:a16="http://schemas.microsoft.com/office/drawing/2014/main" id="{75BFC764-F28D-40CD-A337-0DCD40399465}"/>
                  </a:ext>
                </a:extLst>
              </p:cNvPr>
              <p:cNvSpPr/>
              <p:nvPr/>
            </p:nvSpPr>
            <p:spPr>
              <a:xfrm>
                <a:off x="1151008" y="1222803"/>
                <a:ext cx="35003" cy="68520"/>
              </a:xfrm>
              <a:custGeom>
                <a:avLst/>
                <a:gdLst/>
                <a:ahLst/>
                <a:cxnLst/>
                <a:rect l="l" t="t" r="r" b="b"/>
                <a:pathLst>
                  <a:path w="40701" h="79674" extrusionOk="0">
                    <a:moveTo>
                      <a:pt x="38100" y="79674"/>
                    </a:moveTo>
                    <a:cubicBezTo>
                      <a:pt x="20320" y="56179"/>
                      <a:pt x="8255" y="30144"/>
                      <a:pt x="0" y="2840"/>
                    </a:cubicBezTo>
                    <a:cubicBezTo>
                      <a:pt x="24130" y="-16210"/>
                      <a:pt x="48895" y="66340"/>
                      <a:pt x="38100" y="79674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35" name="Google Shape;141;p3">
              <a:extLst>
                <a:ext uri="{FF2B5EF4-FFF2-40B4-BE49-F238E27FC236}">
                  <a16:creationId xmlns:a16="http://schemas.microsoft.com/office/drawing/2014/main" id="{B47530CC-894E-4F4E-A9E1-811A9F54E060}"/>
                </a:ext>
              </a:extLst>
            </p:cNvPr>
            <p:cNvSpPr/>
            <p:nvPr/>
          </p:nvSpPr>
          <p:spPr>
            <a:xfrm rot="-1109260">
              <a:off x="7493180" y="3971096"/>
              <a:ext cx="396713" cy="402269"/>
            </a:xfrm>
            <a:custGeom>
              <a:avLst/>
              <a:gdLst/>
              <a:ahLst/>
              <a:cxnLst/>
              <a:rect l="l" t="t" r="r" b="b"/>
              <a:pathLst>
                <a:path w="461644" h="468109" extrusionOk="0">
                  <a:moveTo>
                    <a:pt x="313055" y="28998"/>
                  </a:moveTo>
                  <a:cubicBezTo>
                    <a:pt x="261620" y="-13547"/>
                    <a:pt x="187960" y="-4022"/>
                    <a:pt x="131445" y="23918"/>
                  </a:cubicBezTo>
                  <a:cubicBezTo>
                    <a:pt x="158750" y="209973"/>
                    <a:pt x="74295" y="277918"/>
                    <a:pt x="0" y="435398"/>
                  </a:cubicBezTo>
                  <a:cubicBezTo>
                    <a:pt x="26670" y="495088"/>
                    <a:pt x="107314" y="453178"/>
                    <a:pt x="158750" y="461433"/>
                  </a:cubicBezTo>
                  <a:cubicBezTo>
                    <a:pt x="257810" y="439208"/>
                    <a:pt x="367664" y="470323"/>
                    <a:pt x="461645" y="435398"/>
                  </a:cubicBezTo>
                  <a:cubicBezTo>
                    <a:pt x="369570" y="280458"/>
                    <a:pt x="297814" y="222038"/>
                    <a:pt x="313055" y="28998"/>
                  </a:cubicBezTo>
                  <a:close/>
                  <a:moveTo>
                    <a:pt x="270510" y="39158"/>
                  </a:moveTo>
                  <a:cubicBezTo>
                    <a:pt x="237489" y="54398"/>
                    <a:pt x="205105" y="51858"/>
                    <a:pt x="172085" y="38523"/>
                  </a:cubicBezTo>
                  <a:cubicBezTo>
                    <a:pt x="197485" y="14393"/>
                    <a:pt x="243205" y="16933"/>
                    <a:pt x="270510" y="39158"/>
                  </a:cubicBezTo>
                  <a:close/>
                  <a:moveTo>
                    <a:pt x="160655" y="63923"/>
                  </a:moveTo>
                  <a:cubicBezTo>
                    <a:pt x="203835" y="69638"/>
                    <a:pt x="242570" y="70273"/>
                    <a:pt x="287020" y="64558"/>
                  </a:cubicBezTo>
                  <a:cubicBezTo>
                    <a:pt x="301625" y="119803"/>
                    <a:pt x="283845" y="182033"/>
                    <a:pt x="306070" y="232833"/>
                  </a:cubicBezTo>
                  <a:cubicBezTo>
                    <a:pt x="314325" y="244898"/>
                    <a:pt x="330835" y="258868"/>
                    <a:pt x="321310" y="274743"/>
                  </a:cubicBezTo>
                  <a:cubicBezTo>
                    <a:pt x="258445" y="376978"/>
                    <a:pt x="194310" y="273473"/>
                    <a:pt x="116839" y="281728"/>
                  </a:cubicBezTo>
                  <a:cubicBezTo>
                    <a:pt x="172085" y="168063"/>
                    <a:pt x="155575" y="180763"/>
                    <a:pt x="160655" y="63923"/>
                  </a:cubicBezTo>
                  <a:close/>
                  <a:moveTo>
                    <a:pt x="350520" y="430318"/>
                  </a:moveTo>
                  <a:cubicBezTo>
                    <a:pt x="243839" y="425238"/>
                    <a:pt x="137795" y="444923"/>
                    <a:pt x="31750" y="441113"/>
                  </a:cubicBezTo>
                  <a:cubicBezTo>
                    <a:pt x="123189" y="141393"/>
                    <a:pt x="212089" y="450003"/>
                    <a:pt x="340360" y="284903"/>
                  </a:cubicBezTo>
                  <a:cubicBezTo>
                    <a:pt x="373380" y="329353"/>
                    <a:pt x="400685" y="368088"/>
                    <a:pt x="425450" y="415713"/>
                  </a:cubicBezTo>
                  <a:cubicBezTo>
                    <a:pt x="418464" y="425238"/>
                    <a:pt x="368935" y="431588"/>
                    <a:pt x="350520" y="430318"/>
                  </a:cubicBezTo>
                  <a:close/>
                  <a:moveTo>
                    <a:pt x="275589" y="413173"/>
                  </a:moveTo>
                  <a:cubicBezTo>
                    <a:pt x="280670" y="396663"/>
                    <a:pt x="275589" y="382058"/>
                    <a:pt x="274320" y="363643"/>
                  </a:cubicBezTo>
                  <a:cubicBezTo>
                    <a:pt x="203200" y="347768"/>
                    <a:pt x="209550" y="449368"/>
                    <a:pt x="275589" y="413173"/>
                  </a:cubicBezTo>
                  <a:close/>
                  <a:moveTo>
                    <a:pt x="250189" y="403648"/>
                  </a:moveTo>
                  <a:cubicBezTo>
                    <a:pt x="236855" y="403013"/>
                    <a:pt x="242570" y="390313"/>
                    <a:pt x="252095" y="387773"/>
                  </a:cubicBezTo>
                  <a:cubicBezTo>
                    <a:pt x="264160" y="389678"/>
                    <a:pt x="259714" y="403013"/>
                    <a:pt x="250189" y="403648"/>
                  </a:cubicBezTo>
                  <a:close/>
                  <a:moveTo>
                    <a:pt x="160020" y="336338"/>
                  </a:moveTo>
                  <a:cubicBezTo>
                    <a:pt x="121920" y="334433"/>
                    <a:pt x="120014" y="387138"/>
                    <a:pt x="158750" y="385233"/>
                  </a:cubicBezTo>
                  <a:cubicBezTo>
                    <a:pt x="191770" y="387773"/>
                    <a:pt x="194310" y="335703"/>
                    <a:pt x="160020" y="336338"/>
                  </a:cubicBezTo>
                  <a:close/>
                  <a:moveTo>
                    <a:pt x="153035" y="363008"/>
                  </a:moveTo>
                  <a:cubicBezTo>
                    <a:pt x="160020" y="361103"/>
                    <a:pt x="163830" y="354118"/>
                    <a:pt x="167639" y="365548"/>
                  </a:cubicBezTo>
                  <a:cubicBezTo>
                    <a:pt x="161289" y="366183"/>
                    <a:pt x="155575" y="370628"/>
                    <a:pt x="153035" y="363008"/>
                  </a:cubicBezTo>
                  <a:close/>
                  <a:moveTo>
                    <a:pt x="235585" y="262678"/>
                  </a:moveTo>
                  <a:cubicBezTo>
                    <a:pt x="268605" y="265218"/>
                    <a:pt x="281305" y="215053"/>
                    <a:pt x="240030" y="211243"/>
                  </a:cubicBezTo>
                  <a:cubicBezTo>
                    <a:pt x="203200" y="206798"/>
                    <a:pt x="203835" y="257598"/>
                    <a:pt x="235585" y="262678"/>
                  </a:cubicBezTo>
                  <a:close/>
                  <a:moveTo>
                    <a:pt x="248285" y="235373"/>
                  </a:moveTo>
                  <a:cubicBezTo>
                    <a:pt x="242570" y="240453"/>
                    <a:pt x="237489" y="246803"/>
                    <a:pt x="232410" y="238548"/>
                  </a:cubicBezTo>
                  <a:cubicBezTo>
                    <a:pt x="231139" y="228388"/>
                    <a:pt x="240664" y="230293"/>
                    <a:pt x="248285" y="235373"/>
                  </a:cubicBezTo>
                  <a:close/>
                  <a:moveTo>
                    <a:pt x="224155" y="133138"/>
                  </a:moveTo>
                  <a:cubicBezTo>
                    <a:pt x="224789" y="115993"/>
                    <a:pt x="196214" y="108373"/>
                    <a:pt x="193675" y="129328"/>
                  </a:cubicBezTo>
                  <a:cubicBezTo>
                    <a:pt x="190500" y="154093"/>
                    <a:pt x="222250" y="155998"/>
                    <a:pt x="224155" y="13313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6" name="Google Shape;142;p3">
              <a:extLst>
                <a:ext uri="{FF2B5EF4-FFF2-40B4-BE49-F238E27FC236}">
                  <a16:creationId xmlns:a16="http://schemas.microsoft.com/office/drawing/2014/main" id="{BFFDEA78-7890-4D70-AE9F-F38D5F43582C}"/>
                </a:ext>
              </a:extLst>
            </p:cNvPr>
            <p:cNvSpPr/>
            <p:nvPr/>
          </p:nvSpPr>
          <p:spPr>
            <a:xfrm>
              <a:off x="6255960" y="791694"/>
              <a:ext cx="453103" cy="511439"/>
            </a:xfrm>
            <a:custGeom>
              <a:avLst/>
              <a:gdLst/>
              <a:ahLst/>
              <a:cxnLst/>
              <a:rect l="l" t="t" r="r" b="b"/>
              <a:pathLst>
                <a:path w="526864" h="594697" extrusionOk="0">
                  <a:moveTo>
                    <a:pt x="476936" y="348155"/>
                  </a:moveTo>
                  <a:cubicBezTo>
                    <a:pt x="414706" y="390065"/>
                    <a:pt x="352476" y="373555"/>
                    <a:pt x="427406" y="306880"/>
                  </a:cubicBezTo>
                  <a:cubicBezTo>
                    <a:pt x="588696" y="206550"/>
                    <a:pt x="435661" y="-15065"/>
                    <a:pt x="280086" y="810"/>
                  </a:cubicBezTo>
                  <a:cubicBezTo>
                    <a:pt x="137211" y="13510"/>
                    <a:pt x="14656" y="153845"/>
                    <a:pt x="51" y="293545"/>
                  </a:cubicBezTo>
                  <a:cubicBezTo>
                    <a:pt x="-3759" y="510080"/>
                    <a:pt x="205791" y="675815"/>
                    <a:pt x="402641" y="552625"/>
                  </a:cubicBezTo>
                  <a:cubicBezTo>
                    <a:pt x="461061" y="528495"/>
                    <a:pt x="601396" y="353870"/>
                    <a:pt x="476936" y="348155"/>
                  </a:cubicBezTo>
                  <a:close/>
                  <a:moveTo>
                    <a:pt x="205156" y="568500"/>
                  </a:moveTo>
                  <a:cubicBezTo>
                    <a:pt x="39421" y="529765"/>
                    <a:pt x="-27254" y="296085"/>
                    <a:pt x="67996" y="162735"/>
                  </a:cubicBezTo>
                  <a:cubicBezTo>
                    <a:pt x="139116" y="53515"/>
                    <a:pt x="294691" y="-44275"/>
                    <a:pt x="410896" y="59865"/>
                  </a:cubicBezTo>
                  <a:cubicBezTo>
                    <a:pt x="457251" y="97965"/>
                    <a:pt x="501066" y="170990"/>
                    <a:pt x="469316" y="230045"/>
                  </a:cubicBezTo>
                  <a:cubicBezTo>
                    <a:pt x="447726" y="280845"/>
                    <a:pt x="340411" y="315135"/>
                    <a:pt x="379146" y="376095"/>
                  </a:cubicBezTo>
                  <a:cubicBezTo>
                    <a:pt x="412801" y="414830"/>
                    <a:pt x="457886" y="371650"/>
                    <a:pt x="497256" y="369745"/>
                  </a:cubicBezTo>
                  <a:cubicBezTo>
                    <a:pt x="507416" y="503095"/>
                    <a:pt x="323901" y="594535"/>
                    <a:pt x="205156" y="568500"/>
                  </a:cubicBezTo>
                  <a:close/>
                  <a:moveTo>
                    <a:pt x="132766" y="332915"/>
                  </a:moveTo>
                  <a:cubicBezTo>
                    <a:pt x="154991" y="341805"/>
                    <a:pt x="200076" y="333550"/>
                    <a:pt x="181026" y="301165"/>
                  </a:cubicBezTo>
                  <a:cubicBezTo>
                    <a:pt x="172136" y="286560"/>
                    <a:pt x="167691" y="270050"/>
                    <a:pt x="172771" y="252270"/>
                  </a:cubicBezTo>
                  <a:cubicBezTo>
                    <a:pt x="176581" y="210995"/>
                    <a:pt x="122606" y="217345"/>
                    <a:pt x="95936" y="212900"/>
                  </a:cubicBezTo>
                  <a:cubicBezTo>
                    <a:pt x="30531" y="204645"/>
                    <a:pt x="20371" y="327200"/>
                    <a:pt x="76886" y="346885"/>
                  </a:cubicBezTo>
                  <a:cubicBezTo>
                    <a:pt x="96571" y="336090"/>
                    <a:pt x="109906" y="322755"/>
                    <a:pt x="132766" y="332915"/>
                  </a:cubicBezTo>
                  <a:close/>
                  <a:moveTo>
                    <a:pt x="283261" y="118920"/>
                  </a:moveTo>
                  <a:cubicBezTo>
                    <a:pt x="299771" y="35735"/>
                    <a:pt x="146101" y="25575"/>
                    <a:pt x="179756" y="118920"/>
                  </a:cubicBezTo>
                  <a:cubicBezTo>
                    <a:pt x="116256" y="200835"/>
                    <a:pt x="250241" y="230045"/>
                    <a:pt x="283261" y="118920"/>
                  </a:cubicBezTo>
                  <a:close/>
                  <a:moveTo>
                    <a:pt x="263576" y="96695"/>
                  </a:moveTo>
                  <a:cubicBezTo>
                    <a:pt x="261671" y="99870"/>
                    <a:pt x="260401" y="101775"/>
                    <a:pt x="259766" y="103045"/>
                  </a:cubicBezTo>
                  <a:cubicBezTo>
                    <a:pt x="249606" y="96060"/>
                    <a:pt x="253416" y="87170"/>
                    <a:pt x="263576" y="96695"/>
                  </a:cubicBezTo>
                  <a:close/>
                  <a:moveTo>
                    <a:pt x="229286" y="144320"/>
                  </a:moveTo>
                  <a:cubicBezTo>
                    <a:pt x="232461" y="131620"/>
                    <a:pt x="239446" y="126540"/>
                    <a:pt x="255321" y="121460"/>
                  </a:cubicBezTo>
                  <a:cubicBezTo>
                    <a:pt x="248336" y="136065"/>
                    <a:pt x="245161" y="146225"/>
                    <a:pt x="229286" y="144320"/>
                  </a:cubicBezTo>
                  <a:close/>
                  <a:moveTo>
                    <a:pt x="201346" y="404035"/>
                  </a:moveTo>
                  <a:cubicBezTo>
                    <a:pt x="199441" y="358315"/>
                    <a:pt x="131496" y="364030"/>
                    <a:pt x="106731" y="386890"/>
                  </a:cubicBezTo>
                  <a:cubicBezTo>
                    <a:pt x="81331" y="451660"/>
                    <a:pt x="128956" y="520240"/>
                    <a:pt x="190551" y="461185"/>
                  </a:cubicBezTo>
                  <a:cubicBezTo>
                    <a:pt x="208966" y="445945"/>
                    <a:pt x="200076" y="424355"/>
                    <a:pt x="201346" y="404035"/>
                  </a:cubicBezTo>
                  <a:close/>
                  <a:moveTo>
                    <a:pt x="424866" y="139875"/>
                  </a:moveTo>
                  <a:cubicBezTo>
                    <a:pt x="413436" y="53515"/>
                    <a:pt x="334696" y="68120"/>
                    <a:pt x="334061" y="151305"/>
                  </a:cubicBezTo>
                  <a:cubicBezTo>
                    <a:pt x="334061" y="216075"/>
                    <a:pt x="445821" y="205915"/>
                    <a:pt x="424866" y="139875"/>
                  </a:cubicBezTo>
                  <a:close/>
                  <a:moveTo>
                    <a:pt x="259131" y="467535"/>
                  </a:moveTo>
                  <a:cubicBezTo>
                    <a:pt x="194361" y="477060"/>
                    <a:pt x="205156" y="565960"/>
                    <a:pt x="274371" y="560880"/>
                  </a:cubicBezTo>
                  <a:cubicBezTo>
                    <a:pt x="332791" y="531035"/>
                    <a:pt x="342316" y="461185"/>
                    <a:pt x="259131" y="467535"/>
                  </a:cubicBezTo>
                  <a:close/>
                  <a:moveTo>
                    <a:pt x="410261" y="407210"/>
                  </a:moveTo>
                  <a:cubicBezTo>
                    <a:pt x="370891" y="406575"/>
                    <a:pt x="327711" y="466265"/>
                    <a:pt x="364541" y="497380"/>
                  </a:cubicBezTo>
                  <a:cubicBezTo>
                    <a:pt x="418516" y="538655"/>
                    <a:pt x="504876" y="406575"/>
                    <a:pt x="410261" y="407210"/>
                  </a:cubicBezTo>
                  <a:close/>
                  <a:moveTo>
                    <a:pt x="390576" y="483410"/>
                  </a:moveTo>
                  <a:cubicBezTo>
                    <a:pt x="351206" y="484680"/>
                    <a:pt x="389306" y="425625"/>
                    <a:pt x="413436" y="428165"/>
                  </a:cubicBezTo>
                  <a:cubicBezTo>
                    <a:pt x="455346" y="434515"/>
                    <a:pt x="410261" y="476425"/>
                    <a:pt x="390576" y="48341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7" name="Google Shape;143;p3">
              <a:extLst>
                <a:ext uri="{FF2B5EF4-FFF2-40B4-BE49-F238E27FC236}">
                  <a16:creationId xmlns:a16="http://schemas.microsoft.com/office/drawing/2014/main" id="{594D8DC3-1DC1-4C04-8D8B-12D29A61F2A4}"/>
                </a:ext>
              </a:extLst>
            </p:cNvPr>
            <p:cNvSpPr/>
            <p:nvPr/>
          </p:nvSpPr>
          <p:spPr>
            <a:xfrm rot="1799564">
              <a:off x="7155158" y="4556613"/>
              <a:ext cx="351219" cy="440001"/>
            </a:xfrm>
            <a:custGeom>
              <a:avLst/>
              <a:gdLst/>
              <a:ahLst/>
              <a:cxnLst/>
              <a:rect l="l" t="t" r="r" b="b"/>
              <a:pathLst>
                <a:path w="408305" h="511517" extrusionOk="0">
                  <a:moveTo>
                    <a:pt x="89536" y="14843"/>
                  </a:moveTo>
                  <a:cubicBezTo>
                    <a:pt x="68580" y="20558"/>
                    <a:pt x="76200" y="45323"/>
                    <a:pt x="70486" y="61198"/>
                  </a:cubicBezTo>
                  <a:cubicBezTo>
                    <a:pt x="48261" y="207248"/>
                    <a:pt x="12700" y="352663"/>
                    <a:pt x="0" y="499348"/>
                  </a:cubicBezTo>
                  <a:cubicBezTo>
                    <a:pt x="80011" y="540623"/>
                    <a:pt x="333375" y="470138"/>
                    <a:pt x="377190" y="389493"/>
                  </a:cubicBezTo>
                  <a:cubicBezTo>
                    <a:pt x="321945" y="291068"/>
                    <a:pt x="245111" y="207248"/>
                    <a:pt x="178436" y="117078"/>
                  </a:cubicBezTo>
                  <a:cubicBezTo>
                    <a:pt x="146050" y="88503"/>
                    <a:pt x="130811" y="26273"/>
                    <a:pt x="89536" y="14843"/>
                  </a:cubicBezTo>
                  <a:close/>
                  <a:moveTo>
                    <a:pt x="344805" y="390763"/>
                  </a:moveTo>
                  <a:cubicBezTo>
                    <a:pt x="313055" y="461248"/>
                    <a:pt x="111761" y="499348"/>
                    <a:pt x="36830" y="494268"/>
                  </a:cubicBezTo>
                  <a:cubicBezTo>
                    <a:pt x="33655" y="423148"/>
                    <a:pt x="287655" y="318373"/>
                    <a:pt x="344805" y="390763"/>
                  </a:cubicBezTo>
                  <a:close/>
                  <a:moveTo>
                    <a:pt x="184150" y="362188"/>
                  </a:moveTo>
                  <a:cubicBezTo>
                    <a:pt x="176530" y="351393"/>
                    <a:pt x="170180" y="341868"/>
                    <a:pt x="161290" y="329803"/>
                  </a:cubicBezTo>
                  <a:cubicBezTo>
                    <a:pt x="150495" y="343773"/>
                    <a:pt x="154305" y="353933"/>
                    <a:pt x="156211" y="369808"/>
                  </a:cubicBezTo>
                  <a:cubicBezTo>
                    <a:pt x="114300" y="394573"/>
                    <a:pt x="70486" y="415528"/>
                    <a:pt x="33655" y="447913"/>
                  </a:cubicBezTo>
                  <a:cubicBezTo>
                    <a:pt x="18415" y="439023"/>
                    <a:pt x="32386" y="417433"/>
                    <a:pt x="31750" y="403463"/>
                  </a:cubicBezTo>
                  <a:cubicBezTo>
                    <a:pt x="55880" y="288528"/>
                    <a:pt x="65405" y="170418"/>
                    <a:pt x="95886" y="57388"/>
                  </a:cubicBezTo>
                  <a:cubicBezTo>
                    <a:pt x="111125" y="52308"/>
                    <a:pt x="112395" y="68183"/>
                    <a:pt x="118111" y="78978"/>
                  </a:cubicBezTo>
                  <a:cubicBezTo>
                    <a:pt x="111761" y="80883"/>
                    <a:pt x="104775" y="82153"/>
                    <a:pt x="97155" y="84693"/>
                  </a:cubicBezTo>
                  <a:cubicBezTo>
                    <a:pt x="99695" y="98663"/>
                    <a:pt x="100330" y="123428"/>
                    <a:pt x="120015" y="112633"/>
                  </a:cubicBezTo>
                  <a:cubicBezTo>
                    <a:pt x="121286" y="104378"/>
                    <a:pt x="123190" y="96123"/>
                    <a:pt x="124461" y="87233"/>
                  </a:cubicBezTo>
                  <a:cubicBezTo>
                    <a:pt x="189230" y="173593"/>
                    <a:pt x="263525" y="252968"/>
                    <a:pt x="317500" y="346948"/>
                  </a:cubicBezTo>
                  <a:cubicBezTo>
                    <a:pt x="271780" y="346313"/>
                    <a:pt x="229870" y="353933"/>
                    <a:pt x="184150" y="362188"/>
                  </a:cubicBezTo>
                  <a:close/>
                  <a:moveTo>
                    <a:pt x="326390" y="268208"/>
                  </a:moveTo>
                  <a:cubicBezTo>
                    <a:pt x="326390" y="285988"/>
                    <a:pt x="349250" y="302498"/>
                    <a:pt x="354330" y="321548"/>
                  </a:cubicBezTo>
                  <a:cubicBezTo>
                    <a:pt x="360680" y="330438"/>
                    <a:pt x="370205" y="339328"/>
                    <a:pt x="382270" y="330438"/>
                  </a:cubicBezTo>
                  <a:cubicBezTo>
                    <a:pt x="373380" y="307578"/>
                    <a:pt x="350520" y="297418"/>
                    <a:pt x="344805" y="272018"/>
                  </a:cubicBezTo>
                  <a:cubicBezTo>
                    <a:pt x="341630" y="264398"/>
                    <a:pt x="332740" y="265033"/>
                    <a:pt x="326390" y="268208"/>
                  </a:cubicBezTo>
                  <a:close/>
                  <a:moveTo>
                    <a:pt x="160020" y="26908"/>
                  </a:moveTo>
                  <a:cubicBezTo>
                    <a:pt x="147320" y="1508"/>
                    <a:pt x="137161" y="-8652"/>
                    <a:pt x="119380" y="8493"/>
                  </a:cubicBezTo>
                  <a:cubicBezTo>
                    <a:pt x="132715" y="18653"/>
                    <a:pt x="144145" y="46593"/>
                    <a:pt x="160020" y="26908"/>
                  </a:cubicBezTo>
                  <a:close/>
                  <a:moveTo>
                    <a:pt x="280670" y="188198"/>
                  </a:moveTo>
                  <a:cubicBezTo>
                    <a:pt x="285115" y="164068"/>
                    <a:pt x="281305" y="158353"/>
                    <a:pt x="252730" y="155813"/>
                  </a:cubicBezTo>
                  <a:cubicBezTo>
                    <a:pt x="259080" y="172323"/>
                    <a:pt x="266700" y="182483"/>
                    <a:pt x="280670" y="188198"/>
                  </a:cubicBezTo>
                  <a:close/>
                  <a:moveTo>
                    <a:pt x="245111" y="131683"/>
                  </a:moveTo>
                  <a:cubicBezTo>
                    <a:pt x="254636" y="116443"/>
                    <a:pt x="235586" y="105648"/>
                    <a:pt x="218440" y="110093"/>
                  </a:cubicBezTo>
                  <a:cubicBezTo>
                    <a:pt x="226061" y="126603"/>
                    <a:pt x="231775" y="138033"/>
                    <a:pt x="245111" y="131683"/>
                  </a:cubicBezTo>
                  <a:close/>
                  <a:moveTo>
                    <a:pt x="290830" y="209788"/>
                  </a:moveTo>
                  <a:cubicBezTo>
                    <a:pt x="284480" y="219313"/>
                    <a:pt x="295275" y="227568"/>
                    <a:pt x="300990" y="234553"/>
                  </a:cubicBezTo>
                  <a:cubicBezTo>
                    <a:pt x="328295" y="239633"/>
                    <a:pt x="310515" y="205343"/>
                    <a:pt x="290830" y="209788"/>
                  </a:cubicBezTo>
                  <a:close/>
                  <a:moveTo>
                    <a:pt x="202565" y="76438"/>
                  </a:moveTo>
                  <a:cubicBezTo>
                    <a:pt x="202565" y="63103"/>
                    <a:pt x="183515" y="56118"/>
                    <a:pt x="176530" y="65643"/>
                  </a:cubicBezTo>
                  <a:cubicBezTo>
                    <a:pt x="174625" y="77708"/>
                    <a:pt x="193040" y="87233"/>
                    <a:pt x="202565" y="76438"/>
                  </a:cubicBezTo>
                  <a:close/>
                  <a:moveTo>
                    <a:pt x="389890" y="366633"/>
                  </a:moveTo>
                  <a:cubicBezTo>
                    <a:pt x="393700" y="375523"/>
                    <a:pt x="399415" y="371078"/>
                    <a:pt x="408305" y="366633"/>
                  </a:cubicBezTo>
                  <a:cubicBezTo>
                    <a:pt x="398145" y="357743"/>
                    <a:pt x="395605" y="355838"/>
                    <a:pt x="389890" y="366633"/>
                  </a:cubicBezTo>
                  <a:close/>
                  <a:moveTo>
                    <a:pt x="119380" y="157718"/>
                  </a:moveTo>
                  <a:cubicBezTo>
                    <a:pt x="102870" y="164703"/>
                    <a:pt x="128905" y="203438"/>
                    <a:pt x="139700" y="179308"/>
                  </a:cubicBezTo>
                  <a:cubicBezTo>
                    <a:pt x="134620" y="170418"/>
                    <a:pt x="132715" y="155178"/>
                    <a:pt x="119380" y="157718"/>
                  </a:cubicBezTo>
                  <a:close/>
                  <a:moveTo>
                    <a:pt x="146686" y="244078"/>
                  </a:moveTo>
                  <a:cubicBezTo>
                    <a:pt x="157480" y="238998"/>
                    <a:pt x="151130" y="216773"/>
                    <a:pt x="139700" y="214868"/>
                  </a:cubicBezTo>
                  <a:cubicBezTo>
                    <a:pt x="126365" y="219313"/>
                    <a:pt x="131445" y="247888"/>
                    <a:pt x="146686" y="244078"/>
                  </a:cubicBezTo>
                  <a:close/>
                  <a:moveTo>
                    <a:pt x="142875" y="287258"/>
                  </a:moveTo>
                  <a:cubicBezTo>
                    <a:pt x="142875" y="305673"/>
                    <a:pt x="164465" y="305673"/>
                    <a:pt x="163195" y="289798"/>
                  </a:cubicBezTo>
                  <a:cubicBezTo>
                    <a:pt x="161290" y="275828"/>
                    <a:pt x="147320" y="277098"/>
                    <a:pt x="142875" y="287258"/>
                  </a:cubicBezTo>
                  <a:close/>
                  <a:moveTo>
                    <a:pt x="172086" y="402193"/>
                  </a:moveTo>
                  <a:cubicBezTo>
                    <a:pt x="160655" y="407908"/>
                    <a:pt x="168911" y="423783"/>
                    <a:pt x="180975" y="426323"/>
                  </a:cubicBezTo>
                  <a:cubicBezTo>
                    <a:pt x="191136" y="415528"/>
                    <a:pt x="185420" y="402193"/>
                    <a:pt x="172086" y="402193"/>
                  </a:cubicBezTo>
                  <a:close/>
                  <a:moveTo>
                    <a:pt x="187961" y="447913"/>
                  </a:moveTo>
                  <a:cubicBezTo>
                    <a:pt x="184786" y="451088"/>
                    <a:pt x="182245" y="453628"/>
                    <a:pt x="180340" y="456168"/>
                  </a:cubicBezTo>
                  <a:cubicBezTo>
                    <a:pt x="187961" y="468868"/>
                    <a:pt x="201930" y="458073"/>
                    <a:pt x="187961" y="4479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8" name="Google Shape;144;p3">
              <a:extLst>
                <a:ext uri="{FF2B5EF4-FFF2-40B4-BE49-F238E27FC236}">
                  <a16:creationId xmlns:a16="http://schemas.microsoft.com/office/drawing/2014/main" id="{81F1ED35-B550-4F73-8A0D-BB1EA8636792}"/>
                </a:ext>
              </a:extLst>
            </p:cNvPr>
            <p:cNvSpPr/>
            <p:nvPr/>
          </p:nvSpPr>
          <p:spPr>
            <a:xfrm>
              <a:off x="7413193" y="740389"/>
              <a:ext cx="289739" cy="456235"/>
            </a:xfrm>
            <a:custGeom>
              <a:avLst/>
              <a:gdLst/>
              <a:ahLst/>
              <a:cxnLst/>
              <a:rect l="l" t="t" r="r" b="b"/>
              <a:pathLst>
                <a:path w="336906" h="530506" extrusionOk="0">
                  <a:moveTo>
                    <a:pt x="136525" y="96168"/>
                  </a:moveTo>
                  <a:cubicBezTo>
                    <a:pt x="113030" y="223803"/>
                    <a:pt x="24130" y="329848"/>
                    <a:pt x="0" y="458118"/>
                  </a:cubicBezTo>
                  <a:cubicBezTo>
                    <a:pt x="60960" y="713388"/>
                    <a:pt x="264795" y="217453"/>
                    <a:pt x="278765" y="141253"/>
                  </a:cubicBezTo>
                  <a:cubicBezTo>
                    <a:pt x="291465" y="75213"/>
                    <a:pt x="152400" y="18698"/>
                    <a:pt x="136525" y="96168"/>
                  </a:cubicBezTo>
                  <a:close/>
                  <a:moveTo>
                    <a:pt x="69850" y="504473"/>
                  </a:moveTo>
                  <a:cubicBezTo>
                    <a:pt x="-16510" y="531778"/>
                    <a:pt x="43815" y="378743"/>
                    <a:pt x="63500" y="342548"/>
                  </a:cubicBezTo>
                  <a:cubicBezTo>
                    <a:pt x="111760" y="336833"/>
                    <a:pt x="138430" y="339373"/>
                    <a:pt x="164465" y="352073"/>
                  </a:cubicBezTo>
                  <a:cubicBezTo>
                    <a:pt x="137795" y="404778"/>
                    <a:pt x="107315" y="458753"/>
                    <a:pt x="69850" y="504473"/>
                  </a:cubicBezTo>
                  <a:close/>
                  <a:moveTo>
                    <a:pt x="182245" y="318418"/>
                  </a:moveTo>
                  <a:cubicBezTo>
                    <a:pt x="149860" y="327308"/>
                    <a:pt x="116205" y="321593"/>
                    <a:pt x="80645" y="319053"/>
                  </a:cubicBezTo>
                  <a:cubicBezTo>
                    <a:pt x="100330" y="253013"/>
                    <a:pt x="133350" y="192053"/>
                    <a:pt x="159385" y="127918"/>
                  </a:cubicBezTo>
                  <a:cubicBezTo>
                    <a:pt x="189230" y="139348"/>
                    <a:pt x="217170" y="150143"/>
                    <a:pt x="245110" y="161573"/>
                  </a:cubicBezTo>
                  <a:cubicBezTo>
                    <a:pt x="244475" y="190148"/>
                    <a:pt x="216535" y="259998"/>
                    <a:pt x="182245" y="318418"/>
                  </a:cubicBezTo>
                  <a:close/>
                  <a:moveTo>
                    <a:pt x="248285" y="134268"/>
                  </a:moveTo>
                  <a:cubicBezTo>
                    <a:pt x="222885" y="140618"/>
                    <a:pt x="121920" y="93628"/>
                    <a:pt x="187960" y="80928"/>
                  </a:cubicBezTo>
                  <a:cubicBezTo>
                    <a:pt x="208915" y="83468"/>
                    <a:pt x="281940" y="105693"/>
                    <a:pt x="248285" y="134268"/>
                  </a:cubicBezTo>
                  <a:close/>
                  <a:moveTo>
                    <a:pt x="295275" y="283"/>
                  </a:moveTo>
                  <a:cubicBezTo>
                    <a:pt x="224155" y="-6067"/>
                    <a:pt x="259715" y="96803"/>
                    <a:pt x="311785" y="73308"/>
                  </a:cubicBezTo>
                  <a:cubicBezTo>
                    <a:pt x="353695" y="53623"/>
                    <a:pt x="339725" y="-1622"/>
                    <a:pt x="295275" y="283"/>
                  </a:cubicBezTo>
                  <a:close/>
                  <a:moveTo>
                    <a:pt x="274320" y="30763"/>
                  </a:moveTo>
                  <a:cubicBezTo>
                    <a:pt x="290830" y="26318"/>
                    <a:pt x="303530" y="14253"/>
                    <a:pt x="317500" y="26318"/>
                  </a:cubicBezTo>
                  <a:cubicBezTo>
                    <a:pt x="329565" y="56163"/>
                    <a:pt x="273685" y="75848"/>
                    <a:pt x="274320" y="30763"/>
                  </a:cubicBezTo>
                  <a:close/>
                  <a:moveTo>
                    <a:pt x="210820" y="187608"/>
                  </a:moveTo>
                  <a:cubicBezTo>
                    <a:pt x="212090" y="151413"/>
                    <a:pt x="158115" y="146333"/>
                    <a:pt x="156210" y="186338"/>
                  </a:cubicBezTo>
                  <a:cubicBezTo>
                    <a:pt x="155575" y="216183"/>
                    <a:pt x="209550" y="217453"/>
                    <a:pt x="210820" y="187608"/>
                  </a:cubicBezTo>
                  <a:close/>
                  <a:moveTo>
                    <a:pt x="187960" y="180623"/>
                  </a:moveTo>
                  <a:cubicBezTo>
                    <a:pt x="193040" y="185068"/>
                    <a:pt x="189230" y="186973"/>
                    <a:pt x="186055" y="190783"/>
                  </a:cubicBezTo>
                  <a:cubicBezTo>
                    <a:pt x="179705" y="185068"/>
                    <a:pt x="183515" y="184433"/>
                    <a:pt x="187960" y="180623"/>
                  </a:cubicBezTo>
                  <a:close/>
                  <a:moveTo>
                    <a:pt x="167005" y="229518"/>
                  </a:moveTo>
                  <a:cubicBezTo>
                    <a:pt x="139700" y="230153"/>
                    <a:pt x="128270" y="275873"/>
                    <a:pt x="164465" y="276508"/>
                  </a:cubicBezTo>
                  <a:cubicBezTo>
                    <a:pt x="196215" y="277143"/>
                    <a:pt x="193675" y="232058"/>
                    <a:pt x="167005" y="2295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9" name="Google Shape;145;p3">
              <a:extLst>
                <a:ext uri="{FF2B5EF4-FFF2-40B4-BE49-F238E27FC236}">
                  <a16:creationId xmlns:a16="http://schemas.microsoft.com/office/drawing/2014/main" id="{FCA7A200-8695-4433-80AB-6AD5C9BC8FB1}"/>
                </a:ext>
              </a:extLst>
            </p:cNvPr>
            <p:cNvSpPr/>
            <p:nvPr/>
          </p:nvSpPr>
          <p:spPr>
            <a:xfrm>
              <a:off x="7082287" y="-53997"/>
              <a:ext cx="602898" cy="641121"/>
            </a:xfrm>
            <a:custGeom>
              <a:avLst/>
              <a:gdLst/>
              <a:ahLst/>
              <a:cxnLst/>
              <a:rect l="l" t="t" r="r" b="b"/>
              <a:pathLst>
                <a:path w="701044" h="745490" extrusionOk="0">
                  <a:moveTo>
                    <a:pt x="690343" y="116840"/>
                  </a:moveTo>
                  <a:cubicBezTo>
                    <a:pt x="663037" y="55245"/>
                    <a:pt x="674468" y="90170"/>
                    <a:pt x="624302" y="72390"/>
                  </a:cubicBezTo>
                  <a:cubicBezTo>
                    <a:pt x="483968" y="55880"/>
                    <a:pt x="352522" y="0"/>
                    <a:pt x="209647" y="0"/>
                  </a:cubicBezTo>
                  <a:cubicBezTo>
                    <a:pt x="-38003" y="735330"/>
                    <a:pt x="-186592" y="579120"/>
                    <a:pt x="475712" y="745490"/>
                  </a:cubicBezTo>
                  <a:cubicBezTo>
                    <a:pt x="548102" y="622935"/>
                    <a:pt x="579218" y="475615"/>
                    <a:pt x="631922" y="342900"/>
                  </a:cubicBezTo>
                  <a:cubicBezTo>
                    <a:pt x="640812" y="299720"/>
                    <a:pt x="731618" y="134620"/>
                    <a:pt x="690343" y="116840"/>
                  </a:cubicBezTo>
                  <a:close/>
                  <a:moveTo>
                    <a:pt x="219172" y="41275"/>
                  </a:moveTo>
                  <a:cubicBezTo>
                    <a:pt x="230602" y="-11430"/>
                    <a:pt x="585568" y="92075"/>
                    <a:pt x="641447" y="107950"/>
                  </a:cubicBezTo>
                  <a:cubicBezTo>
                    <a:pt x="585568" y="295910"/>
                    <a:pt x="517622" y="479425"/>
                    <a:pt x="438247" y="658495"/>
                  </a:cubicBezTo>
                  <a:cubicBezTo>
                    <a:pt x="294102" y="639445"/>
                    <a:pt x="169643" y="583565"/>
                    <a:pt x="30577" y="553085"/>
                  </a:cubicBezTo>
                  <a:cubicBezTo>
                    <a:pt x="79472" y="377190"/>
                    <a:pt x="160118" y="213995"/>
                    <a:pt x="219172" y="41275"/>
                  </a:cubicBezTo>
                  <a:close/>
                  <a:moveTo>
                    <a:pt x="612872" y="333375"/>
                  </a:moveTo>
                  <a:cubicBezTo>
                    <a:pt x="569058" y="462280"/>
                    <a:pt x="518893" y="588010"/>
                    <a:pt x="469997" y="715645"/>
                  </a:cubicBezTo>
                  <a:cubicBezTo>
                    <a:pt x="320772" y="690245"/>
                    <a:pt x="174087" y="657860"/>
                    <a:pt x="30577" y="610235"/>
                  </a:cubicBezTo>
                  <a:cubicBezTo>
                    <a:pt x="24227" y="600710"/>
                    <a:pt x="22958" y="591820"/>
                    <a:pt x="30577" y="581660"/>
                  </a:cubicBezTo>
                  <a:cubicBezTo>
                    <a:pt x="151227" y="589915"/>
                    <a:pt x="265527" y="648335"/>
                    <a:pt x="384272" y="674370"/>
                  </a:cubicBezTo>
                  <a:cubicBezTo>
                    <a:pt x="461108" y="708025"/>
                    <a:pt x="464283" y="661035"/>
                    <a:pt x="487143" y="600710"/>
                  </a:cubicBezTo>
                  <a:cubicBezTo>
                    <a:pt x="563343" y="445770"/>
                    <a:pt x="599537" y="280035"/>
                    <a:pt x="664943" y="121920"/>
                  </a:cubicBezTo>
                  <a:cubicBezTo>
                    <a:pt x="691612" y="187960"/>
                    <a:pt x="622397" y="264795"/>
                    <a:pt x="612872" y="333375"/>
                  </a:cubicBezTo>
                  <a:close/>
                  <a:moveTo>
                    <a:pt x="533497" y="298450"/>
                  </a:moveTo>
                  <a:cubicBezTo>
                    <a:pt x="540483" y="255270"/>
                    <a:pt x="596362" y="196850"/>
                    <a:pt x="565883" y="157480"/>
                  </a:cubicBezTo>
                  <a:cubicBezTo>
                    <a:pt x="503018" y="130810"/>
                    <a:pt x="431262" y="120650"/>
                    <a:pt x="363952" y="105410"/>
                  </a:cubicBezTo>
                  <a:cubicBezTo>
                    <a:pt x="329662" y="93980"/>
                    <a:pt x="291562" y="78105"/>
                    <a:pt x="254733" y="90805"/>
                  </a:cubicBezTo>
                  <a:cubicBezTo>
                    <a:pt x="231872" y="146685"/>
                    <a:pt x="221712" y="208280"/>
                    <a:pt x="191233" y="264160"/>
                  </a:cubicBezTo>
                  <a:cubicBezTo>
                    <a:pt x="285847" y="318135"/>
                    <a:pt x="410308" y="321310"/>
                    <a:pt x="511908" y="368300"/>
                  </a:cubicBezTo>
                  <a:cubicBezTo>
                    <a:pt x="534768" y="354965"/>
                    <a:pt x="522702" y="320040"/>
                    <a:pt x="533497" y="298450"/>
                  </a:cubicBezTo>
                  <a:close/>
                  <a:moveTo>
                    <a:pt x="224252" y="257175"/>
                  </a:moveTo>
                  <a:cubicBezTo>
                    <a:pt x="268702" y="73025"/>
                    <a:pt x="257272" y="105410"/>
                    <a:pt x="427452" y="140335"/>
                  </a:cubicBezTo>
                  <a:cubicBezTo>
                    <a:pt x="619222" y="183515"/>
                    <a:pt x="536037" y="178435"/>
                    <a:pt x="504287" y="334010"/>
                  </a:cubicBezTo>
                  <a:cubicBezTo>
                    <a:pt x="408402" y="320040"/>
                    <a:pt x="312518" y="288290"/>
                    <a:pt x="224252" y="257175"/>
                  </a:cubicBezTo>
                  <a:close/>
                  <a:moveTo>
                    <a:pt x="297912" y="153670"/>
                  </a:moveTo>
                  <a:cubicBezTo>
                    <a:pt x="239493" y="175260"/>
                    <a:pt x="427452" y="197485"/>
                    <a:pt x="442693" y="207645"/>
                  </a:cubicBezTo>
                  <a:cubicBezTo>
                    <a:pt x="456662" y="171450"/>
                    <a:pt x="325218" y="168275"/>
                    <a:pt x="297912" y="153670"/>
                  </a:cubicBezTo>
                  <a:close/>
                  <a:moveTo>
                    <a:pt x="280768" y="226060"/>
                  </a:moveTo>
                  <a:cubicBezTo>
                    <a:pt x="305533" y="227965"/>
                    <a:pt x="325852" y="247650"/>
                    <a:pt x="348077" y="226695"/>
                  </a:cubicBezTo>
                  <a:cubicBezTo>
                    <a:pt x="327122" y="221615"/>
                    <a:pt x="259812" y="190500"/>
                    <a:pt x="280768" y="22606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0" name="Google Shape;146;p3">
              <a:extLst>
                <a:ext uri="{FF2B5EF4-FFF2-40B4-BE49-F238E27FC236}">
                  <a16:creationId xmlns:a16="http://schemas.microsoft.com/office/drawing/2014/main" id="{C35532D8-0C59-45DE-AEA2-EDF349D00105}"/>
                </a:ext>
              </a:extLst>
            </p:cNvPr>
            <p:cNvSpPr/>
            <p:nvPr/>
          </p:nvSpPr>
          <p:spPr>
            <a:xfrm>
              <a:off x="4981978" y="271723"/>
              <a:ext cx="738779" cy="460515"/>
            </a:xfrm>
            <a:custGeom>
              <a:avLst/>
              <a:gdLst/>
              <a:ahLst/>
              <a:cxnLst/>
              <a:rect l="l" t="t" r="r" b="b"/>
              <a:pathLst>
                <a:path w="859045" h="535482" extrusionOk="0">
                  <a:moveTo>
                    <a:pt x="588002" y="328160"/>
                  </a:moveTo>
                  <a:cubicBezTo>
                    <a:pt x="447667" y="234815"/>
                    <a:pt x="414647" y="298950"/>
                    <a:pt x="312412" y="268470"/>
                  </a:cubicBezTo>
                  <a:cubicBezTo>
                    <a:pt x="254627" y="231640"/>
                    <a:pt x="209542" y="179570"/>
                    <a:pt x="135247" y="175760"/>
                  </a:cubicBezTo>
                  <a:cubicBezTo>
                    <a:pt x="168267" y="137660"/>
                    <a:pt x="314952" y="51935"/>
                    <a:pt x="353052" y="104640"/>
                  </a:cubicBezTo>
                  <a:cubicBezTo>
                    <a:pt x="377182" y="131310"/>
                    <a:pt x="401947" y="37965"/>
                    <a:pt x="394962" y="25265"/>
                  </a:cubicBezTo>
                  <a:cubicBezTo>
                    <a:pt x="337812" y="-50935"/>
                    <a:pt x="224782" y="67175"/>
                    <a:pt x="161282" y="91940"/>
                  </a:cubicBezTo>
                  <a:cubicBezTo>
                    <a:pt x="116832" y="124325"/>
                    <a:pt x="52697" y="142105"/>
                    <a:pt x="22852" y="189730"/>
                  </a:cubicBezTo>
                  <a:cubicBezTo>
                    <a:pt x="10787" y="253230"/>
                    <a:pt x="-31758" y="349115"/>
                    <a:pt x="43807" y="387215"/>
                  </a:cubicBezTo>
                  <a:cubicBezTo>
                    <a:pt x="95877" y="407535"/>
                    <a:pt x="179697" y="445000"/>
                    <a:pt x="226052" y="402455"/>
                  </a:cubicBezTo>
                  <a:cubicBezTo>
                    <a:pt x="252087" y="370070"/>
                    <a:pt x="276852" y="313555"/>
                    <a:pt x="325747" y="344035"/>
                  </a:cubicBezTo>
                  <a:cubicBezTo>
                    <a:pt x="344162" y="391660"/>
                    <a:pt x="297807" y="450715"/>
                    <a:pt x="356227" y="485640"/>
                  </a:cubicBezTo>
                  <a:cubicBezTo>
                    <a:pt x="408932" y="513580"/>
                    <a:pt x="501642" y="562475"/>
                    <a:pt x="552442" y="516755"/>
                  </a:cubicBezTo>
                  <a:cubicBezTo>
                    <a:pt x="594352" y="462145"/>
                    <a:pt x="588002" y="377690"/>
                    <a:pt x="659122" y="346575"/>
                  </a:cubicBezTo>
                  <a:cubicBezTo>
                    <a:pt x="711827" y="330065"/>
                    <a:pt x="769612" y="267200"/>
                    <a:pt x="825492" y="298315"/>
                  </a:cubicBezTo>
                  <a:cubicBezTo>
                    <a:pt x="836922" y="307205"/>
                    <a:pt x="850892" y="301490"/>
                    <a:pt x="857242" y="288155"/>
                  </a:cubicBezTo>
                  <a:cubicBezTo>
                    <a:pt x="881372" y="103370"/>
                    <a:pt x="656582" y="314825"/>
                    <a:pt x="588002" y="328160"/>
                  </a:cubicBezTo>
                  <a:close/>
                  <a:moveTo>
                    <a:pt x="367022" y="24630"/>
                  </a:moveTo>
                  <a:cubicBezTo>
                    <a:pt x="374007" y="56380"/>
                    <a:pt x="374007" y="56380"/>
                    <a:pt x="363847" y="76065"/>
                  </a:cubicBezTo>
                  <a:cubicBezTo>
                    <a:pt x="287647" y="35425"/>
                    <a:pt x="214622" y="112260"/>
                    <a:pt x="141597" y="130040"/>
                  </a:cubicBezTo>
                  <a:cubicBezTo>
                    <a:pt x="214622" y="91305"/>
                    <a:pt x="285742" y="15740"/>
                    <a:pt x="367022" y="24630"/>
                  </a:cubicBezTo>
                  <a:close/>
                  <a:moveTo>
                    <a:pt x="114927" y="142740"/>
                  </a:moveTo>
                  <a:cubicBezTo>
                    <a:pt x="123182" y="139565"/>
                    <a:pt x="130802" y="135755"/>
                    <a:pt x="139057" y="131945"/>
                  </a:cubicBezTo>
                  <a:cubicBezTo>
                    <a:pt x="133977" y="141470"/>
                    <a:pt x="125087" y="142740"/>
                    <a:pt x="114927" y="142740"/>
                  </a:cubicBezTo>
                  <a:cubicBezTo>
                    <a:pt x="111117" y="162425"/>
                    <a:pt x="99687" y="173220"/>
                    <a:pt x="76192" y="178300"/>
                  </a:cubicBezTo>
                  <a:cubicBezTo>
                    <a:pt x="84447" y="156710"/>
                    <a:pt x="105402" y="156075"/>
                    <a:pt x="114927" y="142740"/>
                  </a:cubicBezTo>
                  <a:close/>
                  <a:moveTo>
                    <a:pt x="506087" y="512310"/>
                  </a:moveTo>
                  <a:cubicBezTo>
                    <a:pt x="448937" y="504690"/>
                    <a:pt x="340352" y="490720"/>
                    <a:pt x="348607" y="414520"/>
                  </a:cubicBezTo>
                  <a:cubicBezTo>
                    <a:pt x="352417" y="388485"/>
                    <a:pt x="363212" y="354195"/>
                    <a:pt x="344797" y="331970"/>
                  </a:cubicBezTo>
                  <a:cubicBezTo>
                    <a:pt x="315587" y="307840"/>
                    <a:pt x="266057" y="301490"/>
                    <a:pt x="245102" y="338955"/>
                  </a:cubicBezTo>
                  <a:cubicBezTo>
                    <a:pt x="208272" y="420235"/>
                    <a:pt x="116832" y="403090"/>
                    <a:pt x="50792" y="366895"/>
                  </a:cubicBezTo>
                  <a:cubicBezTo>
                    <a:pt x="5072" y="335145"/>
                    <a:pt x="26662" y="269105"/>
                    <a:pt x="39362" y="224655"/>
                  </a:cubicBezTo>
                  <a:cubicBezTo>
                    <a:pt x="88892" y="175125"/>
                    <a:pt x="194302" y="201795"/>
                    <a:pt x="245102" y="244975"/>
                  </a:cubicBezTo>
                  <a:cubicBezTo>
                    <a:pt x="356227" y="360545"/>
                    <a:pt x="455922" y="237355"/>
                    <a:pt x="593717" y="359275"/>
                  </a:cubicBezTo>
                  <a:cubicBezTo>
                    <a:pt x="570857" y="410710"/>
                    <a:pt x="568317" y="499610"/>
                    <a:pt x="506087" y="512310"/>
                  </a:cubicBezTo>
                  <a:close/>
                  <a:moveTo>
                    <a:pt x="680077" y="302760"/>
                  </a:moveTo>
                  <a:cubicBezTo>
                    <a:pt x="680077" y="302125"/>
                    <a:pt x="680077" y="302125"/>
                    <a:pt x="679442" y="301490"/>
                  </a:cubicBezTo>
                  <a:cubicBezTo>
                    <a:pt x="679442" y="301490"/>
                    <a:pt x="680077" y="301490"/>
                    <a:pt x="680077" y="300855"/>
                  </a:cubicBezTo>
                  <a:cubicBezTo>
                    <a:pt x="680077" y="302125"/>
                    <a:pt x="680077" y="302760"/>
                    <a:pt x="680077" y="302760"/>
                  </a:cubicBezTo>
                  <a:close/>
                  <a:moveTo>
                    <a:pt x="680712" y="300855"/>
                  </a:moveTo>
                  <a:cubicBezTo>
                    <a:pt x="687697" y="296410"/>
                    <a:pt x="694682" y="291965"/>
                    <a:pt x="702302" y="289425"/>
                  </a:cubicBezTo>
                  <a:cubicBezTo>
                    <a:pt x="697857" y="303395"/>
                    <a:pt x="695952" y="304665"/>
                    <a:pt x="680712" y="300855"/>
                  </a:cubicBezTo>
                  <a:close/>
                  <a:moveTo>
                    <a:pt x="704842" y="288155"/>
                  </a:moveTo>
                  <a:cubicBezTo>
                    <a:pt x="709922" y="286885"/>
                    <a:pt x="715002" y="285615"/>
                    <a:pt x="720082" y="285615"/>
                  </a:cubicBezTo>
                  <a:cubicBezTo>
                    <a:pt x="715637" y="291965"/>
                    <a:pt x="709922" y="289425"/>
                    <a:pt x="704842" y="288155"/>
                  </a:cubicBezTo>
                  <a:close/>
                  <a:moveTo>
                    <a:pt x="836922" y="272280"/>
                  </a:moveTo>
                  <a:cubicBezTo>
                    <a:pt x="797552" y="259580"/>
                    <a:pt x="761357" y="271645"/>
                    <a:pt x="722622" y="284980"/>
                  </a:cubicBezTo>
                  <a:cubicBezTo>
                    <a:pt x="744847" y="262755"/>
                    <a:pt x="803902" y="229735"/>
                    <a:pt x="835017" y="242435"/>
                  </a:cubicBezTo>
                  <a:cubicBezTo>
                    <a:pt x="842002" y="251960"/>
                    <a:pt x="836287" y="262120"/>
                    <a:pt x="836922" y="272280"/>
                  </a:cubicBezTo>
                  <a:close/>
                  <a:moveTo>
                    <a:pt x="412107" y="311015"/>
                  </a:moveTo>
                  <a:cubicBezTo>
                    <a:pt x="310507" y="396105"/>
                    <a:pt x="406392" y="528185"/>
                    <a:pt x="519422" y="475480"/>
                  </a:cubicBezTo>
                  <a:cubicBezTo>
                    <a:pt x="629277" y="409440"/>
                    <a:pt x="504817" y="293235"/>
                    <a:pt x="412107" y="311015"/>
                  </a:cubicBezTo>
                  <a:close/>
                  <a:moveTo>
                    <a:pt x="479417" y="346575"/>
                  </a:moveTo>
                  <a:cubicBezTo>
                    <a:pt x="475607" y="357370"/>
                    <a:pt x="476877" y="367530"/>
                    <a:pt x="487672" y="376420"/>
                  </a:cubicBezTo>
                  <a:cubicBezTo>
                    <a:pt x="499737" y="386580"/>
                    <a:pt x="502912" y="401185"/>
                    <a:pt x="503547" y="416425"/>
                  </a:cubicBezTo>
                  <a:cubicBezTo>
                    <a:pt x="528312" y="451985"/>
                    <a:pt x="511802" y="373245"/>
                    <a:pt x="508627" y="362450"/>
                  </a:cubicBezTo>
                  <a:cubicBezTo>
                    <a:pt x="570857" y="377055"/>
                    <a:pt x="538472" y="462780"/>
                    <a:pt x="480687" y="465320"/>
                  </a:cubicBezTo>
                  <a:cubicBezTo>
                    <a:pt x="398772" y="478020"/>
                    <a:pt x="358767" y="380865"/>
                    <a:pt x="427347" y="333875"/>
                  </a:cubicBezTo>
                  <a:cubicBezTo>
                    <a:pt x="443857" y="336415"/>
                    <a:pt x="462907" y="330065"/>
                    <a:pt x="479417" y="346575"/>
                  </a:cubicBezTo>
                  <a:close/>
                  <a:moveTo>
                    <a:pt x="45712" y="274820"/>
                  </a:moveTo>
                  <a:cubicBezTo>
                    <a:pt x="15232" y="385945"/>
                    <a:pt x="243197" y="432935"/>
                    <a:pt x="235577" y="303395"/>
                  </a:cubicBezTo>
                  <a:cubicBezTo>
                    <a:pt x="240657" y="208780"/>
                    <a:pt x="60317" y="177665"/>
                    <a:pt x="45712" y="274820"/>
                  </a:cubicBezTo>
                  <a:close/>
                  <a:moveTo>
                    <a:pt x="97147" y="342130"/>
                  </a:moveTo>
                  <a:cubicBezTo>
                    <a:pt x="50157" y="326255"/>
                    <a:pt x="55872" y="255135"/>
                    <a:pt x="99687" y="242435"/>
                  </a:cubicBezTo>
                  <a:cubicBezTo>
                    <a:pt x="121277" y="242435"/>
                    <a:pt x="143502" y="232910"/>
                    <a:pt x="166362" y="242435"/>
                  </a:cubicBezTo>
                  <a:cubicBezTo>
                    <a:pt x="167632" y="272915"/>
                    <a:pt x="187317" y="281805"/>
                    <a:pt x="186682" y="314190"/>
                  </a:cubicBezTo>
                  <a:cubicBezTo>
                    <a:pt x="215892" y="327525"/>
                    <a:pt x="198112" y="269740"/>
                    <a:pt x="187317" y="258310"/>
                  </a:cubicBezTo>
                  <a:cubicBezTo>
                    <a:pt x="256532" y="269105"/>
                    <a:pt x="208907" y="416425"/>
                    <a:pt x="97147" y="342130"/>
                  </a:cubicBezTo>
                  <a:close/>
                  <a:moveTo>
                    <a:pt x="476242" y="414520"/>
                  </a:moveTo>
                  <a:cubicBezTo>
                    <a:pt x="494657" y="408170"/>
                    <a:pt x="478782" y="377690"/>
                    <a:pt x="459732" y="378325"/>
                  </a:cubicBezTo>
                  <a:cubicBezTo>
                    <a:pt x="465447" y="395470"/>
                    <a:pt x="461637" y="409440"/>
                    <a:pt x="476242" y="414520"/>
                  </a:cubicBezTo>
                  <a:close/>
                  <a:moveTo>
                    <a:pt x="145407" y="286250"/>
                  </a:moveTo>
                  <a:cubicBezTo>
                    <a:pt x="154297" y="305300"/>
                    <a:pt x="148582" y="333240"/>
                    <a:pt x="172077" y="340860"/>
                  </a:cubicBezTo>
                  <a:cubicBezTo>
                    <a:pt x="175887" y="321810"/>
                    <a:pt x="168267" y="265930"/>
                    <a:pt x="145407" y="2862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1" name="Google Shape;147;p3">
              <a:extLst>
                <a:ext uri="{FF2B5EF4-FFF2-40B4-BE49-F238E27FC236}">
                  <a16:creationId xmlns:a16="http://schemas.microsoft.com/office/drawing/2014/main" id="{85AAC109-4491-463F-B14F-6FEBB7D58F80}"/>
                </a:ext>
              </a:extLst>
            </p:cNvPr>
            <p:cNvSpPr/>
            <p:nvPr/>
          </p:nvSpPr>
          <p:spPr>
            <a:xfrm rot="-1245048">
              <a:off x="7884626" y="2097617"/>
              <a:ext cx="363919" cy="537176"/>
            </a:xfrm>
            <a:custGeom>
              <a:avLst/>
              <a:gdLst/>
              <a:ahLst/>
              <a:cxnLst/>
              <a:rect l="l" t="t" r="r" b="b"/>
              <a:pathLst>
                <a:path w="422747" h="624012" extrusionOk="0">
                  <a:moveTo>
                    <a:pt x="410845" y="259621"/>
                  </a:moveTo>
                  <a:cubicBezTo>
                    <a:pt x="398145" y="183421"/>
                    <a:pt x="422275" y="81821"/>
                    <a:pt x="377825" y="18321"/>
                  </a:cubicBezTo>
                  <a:cubicBezTo>
                    <a:pt x="294640" y="-22319"/>
                    <a:pt x="191770" y="15781"/>
                    <a:pt x="103505" y="26576"/>
                  </a:cubicBezTo>
                  <a:cubicBezTo>
                    <a:pt x="76836" y="36101"/>
                    <a:pt x="38100" y="32291"/>
                    <a:pt x="17780" y="51976"/>
                  </a:cubicBezTo>
                  <a:cubicBezTo>
                    <a:pt x="17145" y="62771"/>
                    <a:pt x="5715" y="62771"/>
                    <a:pt x="0" y="72931"/>
                  </a:cubicBezTo>
                  <a:cubicBezTo>
                    <a:pt x="19686" y="229776"/>
                    <a:pt x="7620" y="389161"/>
                    <a:pt x="13970" y="547276"/>
                  </a:cubicBezTo>
                  <a:cubicBezTo>
                    <a:pt x="-6350" y="657766"/>
                    <a:pt x="162561" y="615856"/>
                    <a:pt x="227330" y="617761"/>
                  </a:cubicBezTo>
                  <a:cubicBezTo>
                    <a:pt x="270511" y="592361"/>
                    <a:pt x="426086" y="628556"/>
                    <a:pt x="422275" y="570771"/>
                  </a:cubicBezTo>
                  <a:cubicBezTo>
                    <a:pt x="424815" y="467266"/>
                    <a:pt x="416561" y="363126"/>
                    <a:pt x="410845" y="259621"/>
                  </a:cubicBezTo>
                  <a:close/>
                  <a:moveTo>
                    <a:pt x="353061" y="579026"/>
                  </a:moveTo>
                  <a:cubicBezTo>
                    <a:pt x="288925" y="577121"/>
                    <a:pt x="60961" y="637446"/>
                    <a:pt x="38736" y="575851"/>
                  </a:cubicBezTo>
                  <a:cubicBezTo>
                    <a:pt x="143511" y="579026"/>
                    <a:pt x="248286" y="572676"/>
                    <a:pt x="353061" y="574581"/>
                  </a:cubicBezTo>
                  <a:cubicBezTo>
                    <a:pt x="353061" y="575851"/>
                    <a:pt x="353061" y="577121"/>
                    <a:pt x="353061" y="579026"/>
                  </a:cubicBezTo>
                  <a:close/>
                  <a:moveTo>
                    <a:pt x="361315" y="547911"/>
                  </a:moveTo>
                  <a:cubicBezTo>
                    <a:pt x="252095" y="555531"/>
                    <a:pt x="144145" y="561881"/>
                    <a:pt x="35561" y="551086"/>
                  </a:cubicBezTo>
                  <a:cubicBezTo>
                    <a:pt x="39370" y="392971"/>
                    <a:pt x="33020" y="236761"/>
                    <a:pt x="27305" y="79281"/>
                  </a:cubicBezTo>
                  <a:cubicBezTo>
                    <a:pt x="112395" y="27846"/>
                    <a:pt x="231775" y="25941"/>
                    <a:pt x="329565" y="25941"/>
                  </a:cubicBezTo>
                  <a:cubicBezTo>
                    <a:pt x="369570" y="197391"/>
                    <a:pt x="365761" y="373286"/>
                    <a:pt x="361315" y="547911"/>
                  </a:cubicBezTo>
                  <a:close/>
                  <a:moveTo>
                    <a:pt x="377190" y="141511"/>
                  </a:moveTo>
                  <a:cubicBezTo>
                    <a:pt x="360045" y="110396"/>
                    <a:pt x="364490" y="76106"/>
                    <a:pt x="356870" y="41816"/>
                  </a:cubicBezTo>
                  <a:cubicBezTo>
                    <a:pt x="381000" y="13241"/>
                    <a:pt x="381000" y="121826"/>
                    <a:pt x="377190" y="141511"/>
                  </a:cubicBezTo>
                  <a:close/>
                  <a:moveTo>
                    <a:pt x="397511" y="544736"/>
                  </a:moveTo>
                  <a:cubicBezTo>
                    <a:pt x="372745" y="497746"/>
                    <a:pt x="394336" y="431071"/>
                    <a:pt x="387350" y="376461"/>
                  </a:cubicBezTo>
                  <a:cubicBezTo>
                    <a:pt x="401955" y="370746"/>
                    <a:pt x="402590" y="530766"/>
                    <a:pt x="397511" y="544736"/>
                  </a:cubicBezTo>
                  <a:close/>
                  <a:moveTo>
                    <a:pt x="302895" y="182786"/>
                  </a:moveTo>
                  <a:cubicBezTo>
                    <a:pt x="313690" y="183421"/>
                    <a:pt x="331470" y="173896"/>
                    <a:pt x="320675" y="162466"/>
                  </a:cubicBezTo>
                  <a:cubicBezTo>
                    <a:pt x="297180" y="138336"/>
                    <a:pt x="309880" y="104046"/>
                    <a:pt x="300355" y="74836"/>
                  </a:cubicBezTo>
                  <a:cubicBezTo>
                    <a:pt x="307340" y="35466"/>
                    <a:pt x="90170" y="76741"/>
                    <a:pt x="59690" y="81821"/>
                  </a:cubicBezTo>
                  <a:cubicBezTo>
                    <a:pt x="48261" y="119921"/>
                    <a:pt x="77470" y="152941"/>
                    <a:pt x="62865" y="194851"/>
                  </a:cubicBezTo>
                  <a:cubicBezTo>
                    <a:pt x="148590" y="206916"/>
                    <a:pt x="211455" y="177071"/>
                    <a:pt x="302895" y="182786"/>
                  </a:cubicBezTo>
                  <a:close/>
                  <a:moveTo>
                    <a:pt x="282575" y="83091"/>
                  </a:moveTo>
                  <a:cubicBezTo>
                    <a:pt x="292100" y="105316"/>
                    <a:pt x="287655" y="127541"/>
                    <a:pt x="290830" y="149131"/>
                  </a:cubicBezTo>
                  <a:cubicBezTo>
                    <a:pt x="227965" y="172626"/>
                    <a:pt x="154940" y="172626"/>
                    <a:pt x="87630" y="174531"/>
                  </a:cubicBezTo>
                  <a:cubicBezTo>
                    <a:pt x="75565" y="151671"/>
                    <a:pt x="83820" y="128176"/>
                    <a:pt x="72390" y="104046"/>
                  </a:cubicBezTo>
                  <a:cubicBezTo>
                    <a:pt x="140970" y="86266"/>
                    <a:pt x="212725" y="81821"/>
                    <a:pt x="282575" y="83091"/>
                  </a:cubicBezTo>
                  <a:close/>
                  <a:moveTo>
                    <a:pt x="274955" y="383446"/>
                  </a:moveTo>
                  <a:cubicBezTo>
                    <a:pt x="257811" y="411386"/>
                    <a:pt x="281305" y="441866"/>
                    <a:pt x="268605" y="477426"/>
                  </a:cubicBezTo>
                  <a:cubicBezTo>
                    <a:pt x="244475" y="452026"/>
                    <a:pt x="215900" y="479331"/>
                    <a:pt x="189865" y="461551"/>
                  </a:cubicBezTo>
                  <a:cubicBezTo>
                    <a:pt x="175261" y="454566"/>
                    <a:pt x="163195" y="458376"/>
                    <a:pt x="153036" y="471076"/>
                  </a:cubicBezTo>
                  <a:cubicBezTo>
                    <a:pt x="159386" y="509176"/>
                    <a:pt x="156845" y="525686"/>
                    <a:pt x="204470" y="518066"/>
                  </a:cubicBezTo>
                  <a:cubicBezTo>
                    <a:pt x="208280" y="509811"/>
                    <a:pt x="212725" y="500921"/>
                    <a:pt x="218440" y="490761"/>
                  </a:cubicBezTo>
                  <a:cubicBezTo>
                    <a:pt x="223520" y="501556"/>
                    <a:pt x="227330" y="510446"/>
                    <a:pt x="232411" y="521241"/>
                  </a:cubicBezTo>
                  <a:cubicBezTo>
                    <a:pt x="243840" y="517431"/>
                    <a:pt x="253365" y="513621"/>
                    <a:pt x="263525" y="510446"/>
                  </a:cubicBezTo>
                  <a:cubicBezTo>
                    <a:pt x="290195" y="526321"/>
                    <a:pt x="290195" y="526321"/>
                    <a:pt x="328295" y="509811"/>
                  </a:cubicBezTo>
                  <a:cubicBezTo>
                    <a:pt x="327661" y="468536"/>
                    <a:pt x="347345" y="349791"/>
                    <a:pt x="274955" y="383446"/>
                  </a:cubicBezTo>
                  <a:close/>
                  <a:moveTo>
                    <a:pt x="193040" y="500921"/>
                  </a:moveTo>
                  <a:cubicBezTo>
                    <a:pt x="177800" y="500921"/>
                    <a:pt x="173990" y="498381"/>
                    <a:pt x="173355" y="489491"/>
                  </a:cubicBezTo>
                  <a:cubicBezTo>
                    <a:pt x="176530" y="469806"/>
                    <a:pt x="203836" y="475521"/>
                    <a:pt x="193040" y="500921"/>
                  </a:cubicBezTo>
                  <a:close/>
                  <a:moveTo>
                    <a:pt x="309245" y="497111"/>
                  </a:moveTo>
                  <a:cubicBezTo>
                    <a:pt x="302261" y="498381"/>
                    <a:pt x="296545" y="499016"/>
                    <a:pt x="290830" y="499651"/>
                  </a:cubicBezTo>
                  <a:cubicBezTo>
                    <a:pt x="267970" y="379636"/>
                    <a:pt x="323215" y="357411"/>
                    <a:pt x="309245" y="497111"/>
                  </a:cubicBezTo>
                  <a:close/>
                  <a:moveTo>
                    <a:pt x="296545" y="210091"/>
                  </a:moveTo>
                  <a:cubicBezTo>
                    <a:pt x="233680" y="208186"/>
                    <a:pt x="267970" y="301531"/>
                    <a:pt x="319405" y="275496"/>
                  </a:cubicBezTo>
                  <a:cubicBezTo>
                    <a:pt x="336550" y="264066"/>
                    <a:pt x="332740" y="203741"/>
                    <a:pt x="296545" y="210091"/>
                  </a:cubicBezTo>
                  <a:close/>
                  <a:moveTo>
                    <a:pt x="297815" y="259621"/>
                  </a:moveTo>
                  <a:cubicBezTo>
                    <a:pt x="281940" y="260891"/>
                    <a:pt x="273050" y="230411"/>
                    <a:pt x="294640" y="229141"/>
                  </a:cubicBezTo>
                  <a:cubicBezTo>
                    <a:pt x="314961" y="225331"/>
                    <a:pt x="313690" y="259621"/>
                    <a:pt x="297815" y="259621"/>
                  </a:cubicBezTo>
                  <a:close/>
                  <a:moveTo>
                    <a:pt x="244475" y="359316"/>
                  </a:moveTo>
                  <a:cubicBezTo>
                    <a:pt x="244475" y="342171"/>
                    <a:pt x="245111" y="327566"/>
                    <a:pt x="244475" y="312961"/>
                  </a:cubicBezTo>
                  <a:cubicBezTo>
                    <a:pt x="243205" y="288196"/>
                    <a:pt x="198120" y="286926"/>
                    <a:pt x="201930" y="315501"/>
                  </a:cubicBezTo>
                  <a:cubicBezTo>
                    <a:pt x="203836" y="344076"/>
                    <a:pt x="207645" y="372651"/>
                    <a:pt x="244475" y="359316"/>
                  </a:cubicBezTo>
                  <a:close/>
                  <a:moveTo>
                    <a:pt x="89536" y="305976"/>
                  </a:moveTo>
                  <a:cubicBezTo>
                    <a:pt x="83186" y="326296"/>
                    <a:pt x="95886" y="344711"/>
                    <a:pt x="95250" y="365666"/>
                  </a:cubicBezTo>
                  <a:cubicBezTo>
                    <a:pt x="164465" y="385986"/>
                    <a:pt x="142240" y="276131"/>
                    <a:pt x="89536" y="305976"/>
                  </a:cubicBezTo>
                  <a:close/>
                  <a:moveTo>
                    <a:pt x="111125" y="321851"/>
                  </a:moveTo>
                  <a:cubicBezTo>
                    <a:pt x="123190" y="324391"/>
                    <a:pt x="117475" y="335186"/>
                    <a:pt x="118745" y="345346"/>
                  </a:cubicBezTo>
                  <a:cubicBezTo>
                    <a:pt x="105411" y="341536"/>
                    <a:pt x="100965" y="326931"/>
                    <a:pt x="111125" y="321851"/>
                  </a:cubicBezTo>
                  <a:close/>
                  <a:moveTo>
                    <a:pt x="136525" y="446946"/>
                  </a:moveTo>
                  <a:cubicBezTo>
                    <a:pt x="143511" y="375191"/>
                    <a:pt x="60961" y="365031"/>
                    <a:pt x="86995" y="447581"/>
                  </a:cubicBezTo>
                  <a:cubicBezTo>
                    <a:pt x="114300" y="460916"/>
                    <a:pt x="114300" y="460916"/>
                    <a:pt x="136525" y="446946"/>
                  </a:cubicBezTo>
                  <a:close/>
                  <a:moveTo>
                    <a:pt x="100330" y="420911"/>
                  </a:moveTo>
                  <a:cubicBezTo>
                    <a:pt x="104775" y="394876"/>
                    <a:pt x="135255" y="420276"/>
                    <a:pt x="120650" y="436151"/>
                  </a:cubicBezTo>
                  <a:cubicBezTo>
                    <a:pt x="109220" y="446946"/>
                    <a:pt x="99061" y="432976"/>
                    <a:pt x="100330" y="420911"/>
                  </a:cubicBezTo>
                  <a:close/>
                  <a:moveTo>
                    <a:pt x="195580" y="443136"/>
                  </a:moveTo>
                  <a:cubicBezTo>
                    <a:pt x="203200" y="439961"/>
                    <a:pt x="205105" y="432341"/>
                    <a:pt x="201295" y="418371"/>
                  </a:cubicBezTo>
                  <a:cubicBezTo>
                    <a:pt x="196850" y="387891"/>
                    <a:pt x="176530" y="387891"/>
                    <a:pt x="149861" y="392336"/>
                  </a:cubicBezTo>
                  <a:cubicBezTo>
                    <a:pt x="140336" y="422181"/>
                    <a:pt x="160655" y="461551"/>
                    <a:pt x="195580" y="443136"/>
                  </a:cubicBezTo>
                  <a:close/>
                  <a:moveTo>
                    <a:pt x="167640" y="418371"/>
                  </a:moveTo>
                  <a:cubicBezTo>
                    <a:pt x="172086" y="406306"/>
                    <a:pt x="187961" y="408846"/>
                    <a:pt x="187961" y="424086"/>
                  </a:cubicBezTo>
                  <a:cubicBezTo>
                    <a:pt x="182245" y="432341"/>
                    <a:pt x="165736" y="429801"/>
                    <a:pt x="167640" y="418371"/>
                  </a:cubicBezTo>
                  <a:close/>
                  <a:moveTo>
                    <a:pt x="153670" y="298356"/>
                  </a:moveTo>
                  <a:cubicBezTo>
                    <a:pt x="156211" y="323756"/>
                    <a:pt x="149861" y="351696"/>
                    <a:pt x="179705" y="368206"/>
                  </a:cubicBezTo>
                  <a:cubicBezTo>
                    <a:pt x="205105" y="341536"/>
                    <a:pt x="201930" y="284386"/>
                    <a:pt x="153670" y="298356"/>
                  </a:cubicBezTo>
                  <a:close/>
                  <a:moveTo>
                    <a:pt x="281940" y="293276"/>
                  </a:moveTo>
                  <a:cubicBezTo>
                    <a:pt x="253365" y="305341"/>
                    <a:pt x="274955" y="359951"/>
                    <a:pt x="304165" y="356141"/>
                  </a:cubicBezTo>
                  <a:cubicBezTo>
                    <a:pt x="340995" y="335186"/>
                    <a:pt x="321311" y="295181"/>
                    <a:pt x="281940" y="293276"/>
                  </a:cubicBezTo>
                  <a:close/>
                  <a:moveTo>
                    <a:pt x="295911" y="331376"/>
                  </a:moveTo>
                  <a:cubicBezTo>
                    <a:pt x="282575" y="330741"/>
                    <a:pt x="287020" y="317406"/>
                    <a:pt x="297180" y="311691"/>
                  </a:cubicBezTo>
                  <a:cubicBezTo>
                    <a:pt x="304800" y="321216"/>
                    <a:pt x="306070" y="326931"/>
                    <a:pt x="295911" y="331376"/>
                  </a:cubicBezTo>
                  <a:close/>
                  <a:moveTo>
                    <a:pt x="123825" y="282481"/>
                  </a:moveTo>
                  <a:cubicBezTo>
                    <a:pt x="137795" y="226601"/>
                    <a:pt x="78740" y="200566"/>
                    <a:pt x="79375" y="252001"/>
                  </a:cubicBezTo>
                  <a:cubicBezTo>
                    <a:pt x="79375" y="279306"/>
                    <a:pt x="96520" y="290101"/>
                    <a:pt x="123825" y="282481"/>
                  </a:cubicBezTo>
                  <a:close/>
                  <a:moveTo>
                    <a:pt x="98425" y="248826"/>
                  </a:moveTo>
                  <a:cubicBezTo>
                    <a:pt x="99695" y="250096"/>
                    <a:pt x="100330" y="251366"/>
                    <a:pt x="101600" y="252636"/>
                  </a:cubicBezTo>
                  <a:cubicBezTo>
                    <a:pt x="100330" y="253906"/>
                    <a:pt x="99061" y="254541"/>
                    <a:pt x="97155" y="255811"/>
                  </a:cubicBezTo>
                  <a:cubicBezTo>
                    <a:pt x="94615" y="252636"/>
                    <a:pt x="97155" y="250731"/>
                    <a:pt x="98425" y="248826"/>
                  </a:cubicBezTo>
                  <a:close/>
                  <a:moveTo>
                    <a:pt x="92075" y="494571"/>
                  </a:moveTo>
                  <a:cubicBezTo>
                    <a:pt x="85090" y="528861"/>
                    <a:pt x="130811" y="542831"/>
                    <a:pt x="140336" y="509176"/>
                  </a:cubicBezTo>
                  <a:cubicBezTo>
                    <a:pt x="157480" y="470441"/>
                    <a:pt x="92075" y="442501"/>
                    <a:pt x="92075" y="494571"/>
                  </a:cubicBezTo>
                  <a:close/>
                  <a:moveTo>
                    <a:pt x="120650" y="509176"/>
                  </a:moveTo>
                  <a:cubicBezTo>
                    <a:pt x="103505" y="511081"/>
                    <a:pt x="111125" y="487586"/>
                    <a:pt x="123190" y="483141"/>
                  </a:cubicBezTo>
                  <a:cubicBezTo>
                    <a:pt x="133986" y="490126"/>
                    <a:pt x="130811" y="503461"/>
                    <a:pt x="120650" y="509176"/>
                  </a:cubicBezTo>
                  <a:close/>
                  <a:moveTo>
                    <a:pt x="202565" y="236126"/>
                  </a:moveTo>
                  <a:cubicBezTo>
                    <a:pt x="179070" y="285656"/>
                    <a:pt x="231140" y="297721"/>
                    <a:pt x="239395" y="257716"/>
                  </a:cubicBezTo>
                  <a:cubicBezTo>
                    <a:pt x="245111" y="238666"/>
                    <a:pt x="234315" y="207551"/>
                    <a:pt x="211455" y="216441"/>
                  </a:cubicBezTo>
                  <a:cubicBezTo>
                    <a:pt x="207011" y="231046"/>
                    <a:pt x="232411" y="231046"/>
                    <a:pt x="218440" y="250731"/>
                  </a:cubicBezTo>
                  <a:cubicBezTo>
                    <a:pt x="213995" y="245651"/>
                    <a:pt x="210186" y="242476"/>
                    <a:pt x="202565" y="236126"/>
                  </a:cubicBezTo>
                  <a:close/>
                  <a:moveTo>
                    <a:pt x="168911" y="271686"/>
                  </a:moveTo>
                  <a:cubicBezTo>
                    <a:pt x="217805" y="236126"/>
                    <a:pt x="125730" y="175801"/>
                    <a:pt x="143511" y="248826"/>
                  </a:cubicBezTo>
                  <a:cubicBezTo>
                    <a:pt x="134620" y="267241"/>
                    <a:pt x="151765" y="288831"/>
                    <a:pt x="168911" y="271686"/>
                  </a:cubicBezTo>
                  <a:close/>
                  <a:moveTo>
                    <a:pt x="161925" y="243111"/>
                  </a:moveTo>
                  <a:cubicBezTo>
                    <a:pt x="161290" y="244381"/>
                    <a:pt x="161290" y="245016"/>
                    <a:pt x="160655" y="246921"/>
                  </a:cubicBezTo>
                  <a:cubicBezTo>
                    <a:pt x="159386" y="243746"/>
                    <a:pt x="158750" y="243111"/>
                    <a:pt x="161925" y="243111"/>
                  </a:cubicBezTo>
                  <a:close/>
                  <a:moveTo>
                    <a:pt x="238125" y="450121"/>
                  </a:moveTo>
                  <a:cubicBezTo>
                    <a:pt x="280036" y="441866"/>
                    <a:pt x="257811" y="388526"/>
                    <a:pt x="221615" y="387256"/>
                  </a:cubicBezTo>
                  <a:cubicBezTo>
                    <a:pt x="212725" y="409481"/>
                    <a:pt x="210820" y="448216"/>
                    <a:pt x="238125" y="450121"/>
                  </a:cubicBezTo>
                  <a:close/>
                  <a:moveTo>
                    <a:pt x="241936" y="415831"/>
                  </a:moveTo>
                  <a:cubicBezTo>
                    <a:pt x="243840" y="417736"/>
                    <a:pt x="245745" y="419641"/>
                    <a:pt x="248920" y="422816"/>
                  </a:cubicBezTo>
                  <a:cubicBezTo>
                    <a:pt x="245111" y="425991"/>
                    <a:pt x="241936" y="427896"/>
                    <a:pt x="239395" y="429801"/>
                  </a:cubicBezTo>
                  <a:cubicBezTo>
                    <a:pt x="235586" y="424086"/>
                    <a:pt x="235586" y="420276"/>
                    <a:pt x="241936" y="415831"/>
                  </a:cubicBezTo>
                  <a:close/>
                  <a:moveTo>
                    <a:pt x="272415" y="107856"/>
                  </a:moveTo>
                  <a:cubicBezTo>
                    <a:pt x="263525" y="83091"/>
                    <a:pt x="234315" y="98966"/>
                    <a:pt x="234950" y="120556"/>
                  </a:cubicBezTo>
                  <a:cubicBezTo>
                    <a:pt x="233045" y="161196"/>
                    <a:pt x="292736" y="142781"/>
                    <a:pt x="272415" y="107856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2" name="Google Shape;148;p3">
              <a:extLst>
                <a:ext uri="{FF2B5EF4-FFF2-40B4-BE49-F238E27FC236}">
                  <a16:creationId xmlns:a16="http://schemas.microsoft.com/office/drawing/2014/main" id="{E58DA6A9-C278-4BB1-B2CB-D5E0026C1509}"/>
                </a:ext>
              </a:extLst>
            </p:cNvPr>
            <p:cNvSpPr/>
            <p:nvPr/>
          </p:nvSpPr>
          <p:spPr>
            <a:xfrm>
              <a:off x="313599" y="1360788"/>
              <a:ext cx="410163" cy="515682"/>
            </a:xfrm>
            <a:custGeom>
              <a:avLst/>
              <a:gdLst/>
              <a:ahLst/>
              <a:cxnLst/>
              <a:rect l="l" t="t" r="r" b="b"/>
              <a:pathLst>
                <a:path w="556153" h="699230" extrusionOk="0">
                  <a:moveTo>
                    <a:pt x="410424" y="391256"/>
                  </a:moveTo>
                  <a:cubicBezTo>
                    <a:pt x="574889" y="156941"/>
                    <a:pt x="291679" y="-137064"/>
                    <a:pt x="71334" y="70581"/>
                  </a:cubicBezTo>
                  <a:cubicBezTo>
                    <a:pt x="-104561" y="236316"/>
                    <a:pt x="73239" y="511271"/>
                    <a:pt x="296759" y="455391"/>
                  </a:cubicBezTo>
                  <a:cubicBezTo>
                    <a:pt x="352639" y="534131"/>
                    <a:pt x="400899" y="617316"/>
                    <a:pt x="452969" y="699231"/>
                  </a:cubicBezTo>
                  <a:cubicBezTo>
                    <a:pt x="687919" y="695421"/>
                    <a:pt x="454239" y="483331"/>
                    <a:pt x="410424" y="391256"/>
                  </a:cubicBezTo>
                  <a:close/>
                  <a:moveTo>
                    <a:pt x="33234" y="166466"/>
                  </a:moveTo>
                  <a:cubicBezTo>
                    <a:pt x="120864" y="-48164"/>
                    <a:pt x="449794" y="-11334"/>
                    <a:pt x="437094" y="238856"/>
                  </a:cubicBezTo>
                  <a:cubicBezTo>
                    <a:pt x="427569" y="553181"/>
                    <a:pt x="-57571" y="469996"/>
                    <a:pt x="33234" y="166466"/>
                  </a:cubicBezTo>
                  <a:close/>
                  <a:moveTo>
                    <a:pt x="440904" y="631286"/>
                  </a:moveTo>
                  <a:cubicBezTo>
                    <a:pt x="404074" y="569056"/>
                    <a:pt x="351369" y="511271"/>
                    <a:pt x="325969" y="443961"/>
                  </a:cubicBezTo>
                  <a:cubicBezTo>
                    <a:pt x="345654" y="433166"/>
                    <a:pt x="365974" y="422371"/>
                    <a:pt x="389469" y="410306"/>
                  </a:cubicBezTo>
                  <a:cubicBezTo>
                    <a:pt x="429474" y="468091"/>
                    <a:pt x="590129" y="620491"/>
                    <a:pt x="440904" y="631286"/>
                  </a:cubicBezTo>
                  <a:close/>
                  <a:moveTo>
                    <a:pt x="459954" y="661131"/>
                  </a:moveTo>
                  <a:cubicBezTo>
                    <a:pt x="480909" y="647796"/>
                    <a:pt x="502499" y="634461"/>
                    <a:pt x="523454" y="620491"/>
                  </a:cubicBezTo>
                  <a:cubicBezTo>
                    <a:pt x="559649" y="647161"/>
                    <a:pt x="464399" y="711931"/>
                    <a:pt x="459954" y="661131"/>
                  </a:cubicBezTo>
                  <a:close/>
                  <a:moveTo>
                    <a:pt x="233259" y="64231"/>
                  </a:moveTo>
                  <a:cubicBezTo>
                    <a:pt x="-27726" y="91536"/>
                    <a:pt x="43394" y="449676"/>
                    <a:pt x="284694" y="393161"/>
                  </a:cubicBezTo>
                  <a:cubicBezTo>
                    <a:pt x="475194" y="323311"/>
                    <a:pt x="433284" y="80106"/>
                    <a:pt x="233259" y="64231"/>
                  </a:cubicBezTo>
                  <a:close/>
                  <a:moveTo>
                    <a:pt x="242784" y="379826"/>
                  </a:moveTo>
                  <a:cubicBezTo>
                    <a:pt x="26249" y="375381"/>
                    <a:pt x="54824" y="54071"/>
                    <a:pt x="264374" y="97251"/>
                  </a:cubicBezTo>
                  <a:cubicBezTo>
                    <a:pt x="449159" y="111221"/>
                    <a:pt x="402804" y="363316"/>
                    <a:pt x="242784" y="379826"/>
                  </a:cubicBezTo>
                  <a:close/>
                  <a:moveTo>
                    <a:pt x="225639" y="156306"/>
                  </a:moveTo>
                  <a:cubicBezTo>
                    <a:pt x="252944" y="146146"/>
                    <a:pt x="271359" y="166466"/>
                    <a:pt x="297394" y="166466"/>
                  </a:cubicBezTo>
                  <a:cubicBezTo>
                    <a:pt x="308824" y="120111"/>
                    <a:pt x="169759" y="120111"/>
                    <a:pt x="225639" y="15630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3" name="Google Shape;149;p3">
              <a:extLst>
                <a:ext uri="{FF2B5EF4-FFF2-40B4-BE49-F238E27FC236}">
                  <a16:creationId xmlns:a16="http://schemas.microsoft.com/office/drawing/2014/main" id="{789450D2-6F31-4A2B-B6F9-41770B7F2109}"/>
                </a:ext>
              </a:extLst>
            </p:cNvPr>
            <p:cNvSpPr/>
            <p:nvPr/>
          </p:nvSpPr>
          <p:spPr>
            <a:xfrm>
              <a:off x="2688787" y="4098763"/>
              <a:ext cx="455682" cy="432729"/>
            </a:xfrm>
            <a:custGeom>
              <a:avLst/>
              <a:gdLst/>
              <a:ahLst/>
              <a:cxnLst/>
              <a:rect l="l" t="t" r="r" b="b"/>
              <a:pathLst>
                <a:path w="529863" h="503173" extrusionOk="0">
                  <a:moveTo>
                    <a:pt x="284791" y="7"/>
                  </a:moveTo>
                  <a:cubicBezTo>
                    <a:pt x="128581" y="-1263"/>
                    <a:pt x="-16834" y="165107"/>
                    <a:pt x="1581" y="320047"/>
                  </a:cubicBezTo>
                  <a:cubicBezTo>
                    <a:pt x="39046" y="421647"/>
                    <a:pt x="142551" y="523247"/>
                    <a:pt x="258756" y="499752"/>
                  </a:cubicBezTo>
                  <a:cubicBezTo>
                    <a:pt x="592766" y="480702"/>
                    <a:pt x="637216" y="23502"/>
                    <a:pt x="284791" y="7"/>
                  </a:cubicBezTo>
                  <a:close/>
                  <a:moveTo>
                    <a:pt x="19996" y="279407"/>
                  </a:moveTo>
                  <a:cubicBezTo>
                    <a:pt x="54921" y="-23488"/>
                    <a:pt x="481641" y="-98418"/>
                    <a:pt x="510216" y="240037"/>
                  </a:cubicBezTo>
                  <a:cubicBezTo>
                    <a:pt x="498786" y="520707"/>
                    <a:pt x="47936" y="583572"/>
                    <a:pt x="19996" y="279407"/>
                  </a:cubicBezTo>
                  <a:close/>
                  <a:moveTo>
                    <a:pt x="420681" y="98432"/>
                  </a:moveTo>
                  <a:cubicBezTo>
                    <a:pt x="381311" y="71127"/>
                    <a:pt x="348926" y="18422"/>
                    <a:pt x="295586" y="25407"/>
                  </a:cubicBezTo>
                  <a:cubicBezTo>
                    <a:pt x="53651" y="36837"/>
                    <a:pt x="-66364" y="403867"/>
                    <a:pt x="216211" y="458477"/>
                  </a:cubicBezTo>
                  <a:cubicBezTo>
                    <a:pt x="395916" y="493402"/>
                    <a:pt x="611181" y="219082"/>
                    <a:pt x="420681" y="98432"/>
                  </a:cubicBezTo>
                  <a:close/>
                  <a:moveTo>
                    <a:pt x="448621" y="292742"/>
                  </a:moveTo>
                  <a:cubicBezTo>
                    <a:pt x="448621" y="321952"/>
                    <a:pt x="428301" y="340367"/>
                    <a:pt x="413061" y="361957"/>
                  </a:cubicBezTo>
                  <a:cubicBezTo>
                    <a:pt x="404171" y="358782"/>
                    <a:pt x="396551" y="356242"/>
                    <a:pt x="385756" y="353067"/>
                  </a:cubicBezTo>
                  <a:cubicBezTo>
                    <a:pt x="387026" y="363227"/>
                    <a:pt x="387661" y="371482"/>
                    <a:pt x="388931" y="381007"/>
                  </a:cubicBezTo>
                  <a:cubicBezTo>
                    <a:pt x="376866" y="389262"/>
                    <a:pt x="363531" y="398152"/>
                    <a:pt x="354006" y="405137"/>
                  </a:cubicBezTo>
                  <a:cubicBezTo>
                    <a:pt x="338131" y="406407"/>
                    <a:pt x="337496" y="387357"/>
                    <a:pt x="321621" y="391167"/>
                  </a:cubicBezTo>
                  <a:cubicBezTo>
                    <a:pt x="324796" y="427362"/>
                    <a:pt x="291776" y="441967"/>
                    <a:pt x="249231" y="436887"/>
                  </a:cubicBezTo>
                  <a:cubicBezTo>
                    <a:pt x="251771" y="392437"/>
                    <a:pt x="220656" y="385452"/>
                    <a:pt x="220656" y="434982"/>
                  </a:cubicBezTo>
                  <a:cubicBezTo>
                    <a:pt x="184461" y="439427"/>
                    <a:pt x="133661" y="422917"/>
                    <a:pt x="131121" y="384182"/>
                  </a:cubicBezTo>
                  <a:cubicBezTo>
                    <a:pt x="123501" y="374022"/>
                    <a:pt x="104451" y="381007"/>
                    <a:pt x="100641" y="363862"/>
                  </a:cubicBezTo>
                  <a:cubicBezTo>
                    <a:pt x="126676" y="342907"/>
                    <a:pt x="106356" y="340367"/>
                    <a:pt x="84131" y="337192"/>
                  </a:cubicBezTo>
                  <a:cubicBezTo>
                    <a:pt x="71431" y="309887"/>
                    <a:pt x="63176" y="283217"/>
                    <a:pt x="75241" y="253372"/>
                  </a:cubicBezTo>
                  <a:cubicBezTo>
                    <a:pt x="119691" y="255277"/>
                    <a:pt x="140011" y="238132"/>
                    <a:pt x="83496" y="227972"/>
                  </a:cubicBezTo>
                  <a:cubicBezTo>
                    <a:pt x="84131" y="196857"/>
                    <a:pt x="95561" y="172092"/>
                    <a:pt x="115246" y="151137"/>
                  </a:cubicBezTo>
                  <a:cubicBezTo>
                    <a:pt x="136836" y="150502"/>
                    <a:pt x="150171" y="158122"/>
                    <a:pt x="136201" y="127642"/>
                  </a:cubicBezTo>
                  <a:cubicBezTo>
                    <a:pt x="174301" y="55252"/>
                    <a:pt x="207321" y="129547"/>
                    <a:pt x="205416" y="75572"/>
                  </a:cubicBezTo>
                  <a:cubicBezTo>
                    <a:pt x="230181" y="48267"/>
                    <a:pt x="263201" y="50172"/>
                    <a:pt x="297491" y="50172"/>
                  </a:cubicBezTo>
                  <a:cubicBezTo>
                    <a:pt x="295586" y="66682"/>
                    <a:pt x="308921" y="107957"/>
                    <a:pt x="323526" y="78747"/>
                  </a:cubicBezTo>
                  <a:cubicBezTo>
                    <a:pt x="319716" y="17152"/>
                    <a:pt x="382581" y="87637"/>
                    <a:pt x="399726" y="104147"/>
                  </a:cubicBezTo>
                  <a:cubicBezTo>
                    <a:pt x="394646" y="118117"/>
                    <a:pt x="385121" y="125102"/>
                    <a:pt x="399726" y="135262"/>
                  </a:cubicBezTo>
                  <a:cubicBezTo>
                    <a:pt x="409251" y="131452"/>
                    <a:pt x="417506" y="128277"/>
                    <a:pt x="427031" y="124467"/>
                  </a:cubicBezTo>
                  <a:cubicBezTo>
                    <a:pt x="440366" y="138437"/>
                    <a:pt x="451161" y="153042"/>
                    <a:pt x="461956" y="168917"/>
                  </a:cubicBezTo>
                  <a:cubicBezTo>
                    <a:pt x="451796" y="175267"/>
                    <a:pt x="444176" y="179712"/>
                    <a:pt x="436556" y="184157"/>
                  </a:cubicBezTo>
                  <a:cubicBezTo>
                    <a:pt x="444176" y="199397"/>
                    <a:pt x="459416" y="190507"/>
                    <a:pt x="470846" y="199397"/>
                  </a:cubicBezTo>
                  <a:cubicBezTo>
                    <a:pt x="475926" y="240037"/>
                    <a:pt x="467036" y="281947"/>
                    <a:pt x="416871" y="266707"/>
                  </a:cubicBezTo>
                  <a:cubicBezTo>
                    <a:pt x="388931" y="285757"/>
                    <a:pt x="434651" y="288297"/>
                    <a:pt x="448621" y="292742"/>
                  </a:cubicBezTo>
                  <a:close/>
                  <a:moveTo>
                    <a:pt x="304476" y="222892"/>
                  </a:moveTo>
                  <a:cubicBezTo>
                    <a:pt x="320351" y="55887"/>
                    <a:pt x="287966" y="104782"/>
                    <a:pt x="251771" y="225432"/>
                  </a:cubicBezTo>
                  <a:cubicBezTo>
                    <a:pt x="240341" y="251467"/>
                    <a:pt x="258121" y="281312"/>
                    <a:pt x="287966" y="270517"/>
                  </a:cubicBezTo>
                  <a:cubicBezTo>
                    <a:pt x="318446" y="260357"/>
                    <a:pt x="343846" y="239402"/>
                    <a:pt x="374961" y="232417"/>
                  </a:cubicBezTo>
                  <a:cubicBezTo>
                    <a:pt x="383216" y="231147"/>
                    <a:pt x="386391" y="223527"/>
                    <a:pt x="384486" y="215272"/>
                  </a:cubicBezTo>
                  <a:cubicBezTo>
                    <a:pt x="370516" y="186062"/>
                    <a:pt x="329241" y="220987"/>
                    <a:pt x="304476" y="222892"/>
                  </a:cubicBezTo>
                  <a:close/>
                  <a:moveTo>
                    <a:pt x="273996" y="229242"/>
                  </a:moveTo>
                  <a:cubicBezTo>
                    <a:pt x="273996" y="219717"/>
                    <a:pt x="273996" y="209557"/>
                    <a:pt x="282886" y="201937"/>
                  </a:cubicBezTo>
                  <a:cubicBezTo>
                    <a:pt x="282251" y="220352"/>
                    <a:pt x="282251" y="220987"/>
                    <a:pt x="273996" y="2292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4" name="Google Shape;150;p3">
              <a:extLst>
                <a:ext uri="{FF2B5EF4-FFF2-40B4-BE49-F238E27FC236}">
                  <a16:creationId xmlns:a16="http://schemas.microsoft.com/office/drawing/2014/main" id="{5573F5F2-17BD-48C0-9F23-F83B1A5A8105}"/>
                </a:ext>
              </a:extLst>
            </p:cNvPr>
            <p:cNvSpPr/>
            <p:nvPr/>
          </p:nvSpPr>
          <p:spPr>
            <a:xfrm>
              <a:off x="933400" y="1069738"/>
              <a:ext cx="175646" cy="373020"/>
            </a:xfrm>
            <a:custGeom>
              <a:avLst/>
              <a:gdLst/>
              <a:ahLst/>
              <a:cxnLst/>
              <a:rect l="l" t="t" r="r" b="b"/>
              <a:pathLst>
                <a:path w="342723" h="727844" extrusionOk="0">
                  <a:moveTo>
                    <a:pt x="45039" y="381062"/>
                  </a:moveTo>
                  <a:cubicBezTo>
                    <a:pt x="-1317" y="378522"/>
                    <a:pt x="-11476" y="360107"/>
                    <a:pt x="12653" y="325182"/>
                  </a:cubicBezTo>
                  <a:cubicBezTo>
                    <a:pt x="39958" y="272477"/>
                    <a:pt x="46308" y="211517"/>
                    <a:pt x="66628" y="156272"/>
                  </a:cubicBezTo>
                  <a:cubicBezTo>
                    <a:pt x="88853" y="99757"/>
                    <a:pt x="95203" y="15302"/>
                    <a:pt x="167594" y="3237"/>
                  </a:cubicBezTo>
                  <a:cubicBezTo>
                    <a:pt x="221569" y="-5653"/>
                    <a:pt x="288878" y="2602"/>
                    <a:pt x="328249" y="42607"/>
                  </a:cubicBezTo>
                  <a:cubicBezTo>
                    <a:pt x="373333" y="154367"/>
                    <a:pt x="300944" y="280097"/>
                    <a:pt x="276178" y="390587"/>
                  </a:cubicBezTo>
                  <a:cubicBezTo>
                    <a:pt x="243158" y="499807"/>
                    <a:pt x="232999" y="643317"/>
                    <a:pt x="145369" y="722058"/>
                  </a:cubicBezTo>
                  <a:cubicBezTo>
                    <a:pt x="-64181" y="765872"/>
                    <a:pt x="59008" y="549972"/>
                    <a:pt x="74883" y="441387"/>
                  </a:cubicBezTo>
                  <a:cubicBezTo>
                    <a:pt x="96474" y="381062"/>
                    <a:pt x="117428" y="174052"/>
                    <a:pt x="175849" y="160082"/>
                  </a:cubicBezTo>
                  <a:cubicBezTo>
                    <a:pt x="205058" y="153097"/>
                    <a:pt x="234269" y="157542"/>
                    <a:pt x="230458" y="194372"/>
                  </a:cubicBezTo>
                  <a:cubicBezTo>
                    <a:pt x="240619" y="221677"/>
                    <a:pt x="129494" y="694752"/>
                    <a:pt x="133303" y="503617"/>
                  </a:cubicBezTo>
                  <a:cubicBezTo>
                    <a:pt x="150449" y="416622"/>
                    <a:pt x="184103" y="330262"/>
                    <a:pt x="181564" y="240727"/>
                  </a:cubicBezTo>
                  <a:cubicBezTo>
                    <a:pt x="130764" y="306132"/>
                    <a:pt x="137749" y="399477"/>
                    <a:pt x="109174" y="476312"/>
                  </a:cubicBezTo>
                  <a:cubicBezTo>
                    <a:pt x="105999" y="530922"/>
                    <a:pt x="19639" y="685862"/>
                    <a:pt x="116158" y="683957"/>
                  </a:cubicBezTo>
                  <a:cubicBezTo>
                    <a:pt x="208869" y="661732"/>
                    <a:pt x="231094" y="334707"/>
                    <a:pt x="270464" y="240092"/>
                  </a:cubicBezTo>
                  <a:cubicBezTo>
                    <a:pt x="276178" y="187387"/>
                    <a:pt x="298403" y="109917"/>
                    <a:pt x="252683" y="71182"/>
                  </a:cubicBezTo>
                  <a:cubicBezTo>
                    <a:pt x="213314" y="45147"/>
                    <a:pt x="172674" y="52767"/>
                    <a:pt x="144099" y="91502"/>
                  </a:cubicBezTo>
                  <a:cubicBezTo>
                    <a:pt x="95203" y="181037"/>
                    <a:pt x="85678" y="287717"/>
                    <a:pt x="45039" y="381062"/>
                  </a:cubicBezTo>
                  <a:close/>
                  <a:moveTo>
                    <a:pt x="300944" y="198182"/>
                  </a:moveTo>
                  <a:cubicBezTo>
                    <a:pt x="321899" y="177227"/>
                    <a:pt x="309833" y="138492"/>
                    <a:pt x="314914" y="110552"/>
                  </a:cubicBezTo>
                  <a:cubicBezTo>
                    <a:pt x="319358" y="81342"/>
                    <a:pt x="322533" y="48322"/>
                    <a:pt x="288878" y="37527"/>
                  </a:cubicBezTo>
                  <a:cubicBezTo>
                    <a:pt x="246969" y="18477"/>
                    <a:pt x="137749" y="1332"/>
                    <a:pt x="133303" y="62292"/>
                  </a:cubicBezTo>
                  <a:cubicBezTo>
                    <a:pt x="243794" y="-24703"/>
                    <a:pt x="324439" y="87692"/>
                    <a:pt x="300944" y="200722"/>
                  </a:cubicBezTo>
                  <a:cubicBezTo>
                    <a:pt x="300944" y="200087"/>
                    <a:pt x="300944" y="199452"/>
                    <a:pt x="300944" y="198182"/>
                  </a:cubicBezTo>
                  <a:close/>
                  <a:moveTo>
                    <a:pt x="124414" y="705547"/>
                  </a:moveTo>
                  <a:cubicBezTo>
                    <a:pt x="92028" y="697927"/>
                    <a:pt x="73614" y="690942"/>
                    <a:pt x="47578" y="676972"/>
                  </a:cubicBezTo>
                  <a:cubicBezTo>
                    <a:pt x="39958" y="705547"/>
                    <a:pt x="97744" y="711897"/>
                    <a:pt x="124414" y="705547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5" name="Google Shape;151;p3">
              <a:extLst>
                <a:ext uri="{FF2B5EF4-FFF2-40B4-BE49-F238E27FC236}">
                  <a16:creationId xmlns:a16="http://schemas.microsoft.com/office/drawing/2014/main" id="{1669DDF8-3A03-4864-9401-6964B3660B6E}"/>
                </a:ext>
              </a:extLst>
            </p:cNvPr>
            <p:cNvSpPr/>
            <p:nvPr/>
          </p:nvSpPr>
          <p:spPr>
            <a:xfrm>
              <a:off x="8204352" y="3801552"/>
              <a:ext cx="240787" cy="203050"/>
            </a:xfrm>
            <a:custGeom>
              <a:avLst/>
              <a:gdLst/>
              <a:ahLst/>
              <a:cxnLst/>
              <a:rect l="l" t="t" r="r" b="b"/>
              <a:pathLst>
                <a:path w="279985" h="236105" extrusionOk="0">
                  <a:moveTo>
                    <a:pt x="224300" y="47511"/>
                  </a:moveTo>
                  <a:cubicBezTo>
                    <a:pt x="226204" y="79261"/>
                    <a:pt x="221125" y="105931"/>
                    <a:pt x="208425" y="131331"/>
                  </a:cubicBezTo>
                  <a:cubicBezTo>
                    <a:pt x="221759" y="154826"/>
                    <a:pt x="285895" y="220866"/>
                    <a:pt x="279545" y="236106"/>
                  </a:cubicBezTo>
                  <a:cubicBezTo>
                    <a:pt x="240175" y="235471"/>
                    <a:pt x="211600" y="195466"/>
                    <a:pt x="177309" y="177686"/>
                  </a:cubicBezTo>
                  <a:cubicBezTo>
                    <a:pt x="143654" y="201816"/>
                    <a:pt x="92220" y="247536"/>
                    <a:pt x="79520" y="180226"/>
                  </a:cubicBezTo>
                  <a:cubicBezTo>
                    <a:pt x="76979" y="116091"/>
                    <a:pt x="-26525" y="129426"/>
                    <a:pt x="6495" y="57671"/>
                  </a:cubicBezTo>
                  <a:cubicBezTo>
                    <a:pt x="60470" y="-73774"/>
                    <a:pt x="91584" y="62116"/>
                    <a:pt x="169054" y="51321"/>
                  </a:cubicBezTo>
                  <a:cubicBezTo>
                    <a:pt x="187470" y="48781"/>
                    <a:pt x="205884" y="39891"/>
                    <a:pt x="224300" y="47511"/>
                  </a:cubicBezTo>
                  <a:close/>
                  <a:moveTo>
                    <a:pt x="217950" y="187211"/>
                  </a:moveTo>
                  <a:cubicBezTo>
                    <a:pt x="218584" y="187211"/>
                    <a:pt x="218584" y="186576"/>
                    <a:pt x="219220" y="186576"/>
                  </a:cubicBezTo>
                  <a:cubicBezTo>
                    <a:pt x="218584" y="186576"/>
                    <a:pt x="217950" y="187211"/>
                    <a:pt x="217315" y="187211"/>
                  </a:cubicBezTo>
                  <a:cubicBezTo>
                    <a:pt x="224300" y="172606"/>
                    <a:pt x="211600" y="156096"/>
                    <a:pt x="196995" y="158636"/>
                  </a:cubicBezTo>
                  <a:cubicBezTo>
                    <a:pt x="196359" y="171336"/>
                    <a:pt x="210329" y="177686"/>
                    <a:pt x="217950" y="187211"/>
                  </a:cubicBezTo>
                  <a:close/>
                  <a:moveTo>
                    <a:pt x="87140" y="47511"/>
                  </a:moveTo>
                  <a:cubicBezTo>
                    <a:pt x="75075" y="65926"/>
                    <a:pt x="63009" y="84341"/>
                    <a:pt x="50945" y="103391"/>
                  </a:cubicBezTo>
                  <a:cubicBezTo>
                    <a:pt x="66820" y="119901"/>
                    <a:pt x="82059" y="135776"/>
                    <a:pt x="96665" y="151016"/>
                  </a:cubicBezTo>
                  <a:cubicBezTo>
                    <a:pt x="125875" y="135776"/>
                    <a:pt x="153815" y="112281"/>
                    <a:pt x="149370" y="78626"/>
                  </a:cubicBezTo>
                  <a:cubicBezTo>
                    <a:pt x="129684" y="69101"/>
                    <a:pt x="110634" y="59576"/>
                    <a:pt x="87140" y="47511"/>
                  </a:cubicBezTo>
                  <a:close/>
                  <a:moveTo>
                    <a:pt x="202075" y="76721"/>
                  </a:moveTo>
                  <a:cubicBezTo>
                    <a:pt x="174770" y="65291"/>
                    <a:pt x="153179" y="156096"/>
                    <a:pt x="103650" y="180861"/>
                  </a:cubicBezTo>
                  <a:cubicBezTo>
                    <a:pt x="118890" y="218961"/>
                    <a:pt x="213504" y="108471"/>
                    <a:pt x="202075" y="76721"/>
                  </a:cubicBezTo>
                  <a:close/>
                  <a:moveTo>
                    <a:pt x="22370" y="86246"/>
                  </a:moveTo>
                  <a:cubicBezTo>
                    <a:pt x="54120" y="77356"/>
                    <a:pt x="60470" y="54496"/>
                    <a:pt x="67454" y="32271"/>
                  </a:cubicBezTo>
                  <a:cubicBezTo>
                    <a:pt x="47134" y="4331"/>
                    <a:pt x="24909" y="63386"/>
                    <a:pt x="22370" y="8624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6" name="Google Shape;152;p3">
              <a:extLst>
                <a:ext uri="{FF2B5EF4-FFF2-40B4-BE49-F238E27FC236}">
                  <a16:creationId xmlns:a16="http://schemas.microsoft.com/office/drawing/2014/main" id="{FD5CC3CC-71F7-4EA4-9714-7E4B1A822154}"/>
                </a:ext>
              </a:extLst>
            </p:cNvPr>
            <p:cNvSpPr/>
            <p:nvPr/>
          </p:nvSpPr>
          <p:spPr>
            <a:xfrm>
              <a:off x="8204357" y="240186"/>
              <a:ext cx="175884" cy="174728"/>
            </a:xfrm>
            <a:custGeom>
              <a:avLst/>
              <a:gdLst/>
              <a:ahLst/>
              <a:cxnLst/>
              <a:rect l="l" t="t" r="r" b="b"/>
              <a:pathLst>
                <a:path w="204516" h="203172" extrusionOk="0">
                  <a:moveTo>
                    <a:pt x="139555" y="137768"/>
                  </a:moveTo>
                  <a:cubicBezTo>
                    <a:pt x="146541" y="154278"/>
                    <a:pt x="194166" y="201903"/>
                    <a:pt x="157971" y="203173"/>
                  </a:cubicBezTo>
                  <a:cubicBezTo>
                    <a:pt x="139555" y="186028"/>
                    <a:pt x="135746" y="163168"/>
                    <a:pt x="112250" y="148563"/>
                  </a:cubicBezTo>
                  <a:cubicBezTo>
                    <a:pt x="-110000" y="230478"/>
                    <a:pt x="44941" y="-27967"/>
                    <a:pt x="173210" y="2513"/>
                  </a:cubicBezTo>
                  <a:cubicBezTo>
                    <a:pt x="245600" y="34898"/>
                    <a:pt x="174480" y="104113"/>
                    <a:pt x="139555" y="137768"/>
                  </a:cubicBezTo>
                  <a:close/>
                  <a:moveTo>
                    <a:pt x="184005" y="29183"/>
                  </a:moveTo>
                  <a:cubicBezTo>
                    <a:pt x="117330" y="1243"/>
                    <a:pt x="46846" y="67283"/>
                    <a:pt x="20175" y="123163"/>
                  </a:cubicBezTo>
                  <a:cubicBezTo>
                    <a:pt x="32875" y="190473"/>
                    <a:pt x="196705" y="83158"/>
                    <a:pt x="184005" y="2918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7" name="Google Shape;153;p3">
              <a:extLst>
                <a:ext uri="{FF2B5EF4-FFF2-40B4-BE49-F238E27FC236}">
                  <a16:creationId xmlns:a16="http://schemas.microsoft.com/office/drawing/2014/main" id="{66AD0467-5823-4999-AD6B-89A8E5203963}"/>
                </a:ext>
              </a:extLst>
            </p:cNvPr>
            <p:cNvSpPr/>
            <p:nvPr/>
          </p:nvSpPr>
          <p:spPr>
            <a:xfrm>
              <a:off x="8514477" y="3303552"/>
              <a:ext cx="236138" cy="229907"/>
            </a:xfrm>
            <a:custGeom>
              <a:avLst/>
              <a:gdLst/>
              <a:ahLst/>
              <a:cxnLst/>
              <a:rect l="l" t="t" r="r" b="b"/>
              <a:pathLst>
                <a:path w="274579" h="267334" extrusionOk="0">
                  <a:moveTo>
                    <a:pt x="222259" y="167640"/>
                  </a:moveTo>
                  <a:cubicBezTo>
                    <a:pt x="200669" y="206375"/>
                    <a:pt x="227974" y="238760"/>
                    <a:pt x="193049" y="267335"/>
                  </a:cubicBezTo>
                  <a:cubicBezTo>
                    <a:pt x="166379" y="251460"/>
                    <a:pt x="158124" y="217805"/>
                    <a:pt x="132724" y="198755"/>
                  </a:cubicBezTo>
                  <a:cubicBezTo>
                    <a:pt x="50809" y="235585"/>
                    <a:pt x="-626" y="271780"/>
                    <a:pt x="51444" y="151130"/>
                  </a:cubicBezTo>
                  <a:cubicBezTo>
                    <a:pt x="27949" y="105410"/>
                    <a:pt x="-53966" y="71120"/>
                    <a:pt x="55889" y="73660"/>
                  </a:cubicBezTo>
                  <a:cubicBezTo>
                    <a:pt x="107959" y="83820"/>
                    <a:pt x="113674" y="19685"/>
                    <a:pt x="156854" y="0"/>
                  </a:cubicBezTo>
                  <a:cubicBezTo>
                    <a:pt x="186064" y="11430"/>
                    <a:pt x="174634" y="57785"/>
                    <a:pt x="184794" y="83185"/>
                  </a:cubicBezTo>
                  <a:cubicBezTo>
                    <a:pt x="215274" y="124460"/>
                    <a:pt x="346084" y="109220"/>
                    <a:pt x="222259" y="167640"/>
                  </a:cubicBezTo>
                  <a:close/>
                  <a:moveTo>
                    <a:pt x="151774" y="35560"/>
                  </a:moveTo>
                  <a:cubicBezTo>
                    <a:pt x="100339" y="85725"/>
                    <a:pt x="120659" y="93980"/>
                    <a:pt x="39379" y="97790"/>
                  </a:cubicBezTo>
                  <a:cubicBezTo>
                    <a:pt x="53349" y="115570"/>
                    <a:pt x="65414" y="131445"/>
                    <a:pt x="76844" y="146685"/>
                  </a:cubicBezTo>
                  <a:cubicBezTo>
                    <a:pt x="74304" y="165735"/>
                    <a:pt x="60969" y="180340"/>
                    <a:pt x="63509" y="201295"/>
                  </a:cubicBezTo>
                  <a:cubicBezTo>
                    <a:pt x="123199" y="180975"/>
                    <a:pt x="142884" y="154940"/>
                    <a:pt x="178444" y="226695"/>
                  </a:cubicBezTo>
                  <a:cubicBezTo>
                    <a:pt x="181619" y="231140"/>
                    <a:pt x="184794" y="234950"/>
                    <a:pt x="191779" y="231140"/>
                  </a:cubicBezTo>
                  <a:cubicBezTo>
                    <a:pt x="200034" y="175260"/>
                    <a:pt x="182889" y="165735"/>
                    <a:pt x="231784" y="129540"/>
                  </a:cubicBezTo>
                  <a:cubicBezTo>
                    <a:pt x="152409" y="103505"/>
                    <a:pt x="167014" y="113030"/>
                    <a:pt x="151774" y="3556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8" name="Google Shape;154;p3">
              <a:extLst>
                <a:ext uri="{FF2B5EF4-FFF2-40B4-BE49-F238E27FC236}">
                  <a16:creationId xmlns:a16="http://schemas.microsoft.com/office/drawing/2014/main" id="{273E409A-ECD6-470B-8EF7-98B6344C2682}"/>
                </a:ext>
              </a:extLst>
            </p:cNvPr>
            <p:cNvSpPr/>
            <p:nvPr/>
          </p:nvSpPr>
          <p:spPr>
            <a:xfrm rot="9304419">
              <a:off x="3726725" y="4079275"/>
              <a:ext cx="219185" cy="471718"/>
            </a:xfrm>
            <a:custGeom>
              <a:avLst/>
              <a:gdLst/>
              <a:ahLst/>
              <a:cxnLst/>
              <a:rect l="l" t="t" r="r" b="b"/>
              <a:pathLst>
                <a:path w="254831" h="548433" extrusionOk="0">
                  <a:moveTo>
                    <a:pt x="1225" y="243944"/>
                  </a:moveTo>
                  <a:cubicBezTo>
                    <a:pt x="-2584" y="153774"/>
                    <a:pt x="42500" y="76304"/>
                    <a:pt x="97110" y="7724"/>
                  </a:cubicBezTo>
                  <a:cubicBezTo>
                    <a:pt x="171406" y="-39901"/>
                    <a:pt x="226016" y="146154"/>
                    <a:pt x="245700" y="198859"/>
                  </a:cubicBezTo>
                  <a:cubicBezTo>
                    <a:pt x="276816" y="301729"/>
                    <a:pt x="217125" y="404599"/>
                    <a:pt x="233000" y="508104"/>
                  </a:cubicBezTo>
                  <a:cubicBezTo>
                    <a:pt x="238716" y="550014"/>
                    <a:pt x="205696" y="569064"/>
                    <a:pt x="201250" y="516359"/>
                  </a:cubicBezTo>
                  <a:cubicBezTo>
                    <a:pt x="164421" y="394439"/>
                    <a:pt x="-16554" y="432539"/>
                    <a:pt x="1225" y="243944"/>
                  </a:cubicBezTo>
                  <a:close/>
                  <a:moveTo>
                    <a:pt x="114891" y="236959"/>
                  </a:moveTo>
                  <a:cubicBezTo>
                    <a:pt x="103460" y="228704"/>
                    <a:pt x="21546" y="208384"/>
                    <a:pt x="57741" y="193144"/>
                  </a:cubicBezTo>
                  <a:cubicBezTo>
                    <a:pt x="78060" y="196954"/>
                    <a:pt x="88856" y="214734"/>
                    <a:pt x="111081" y="216639"/>
                  </a:cubicBezTo>
                  <a:cubicBezTo>
                    <a:pt x="108541" y="178539"/>
                    <a:pt x="97110" y="143614"/>
                    <a:pt x="105366" y="106784"/>
                  </a:cubicBezTo>
                  <a:cubicBezTo>
                    <a:pt x="111081" y="107419"/>
                    <a:pt x="116160" y="108054"/>
                    <a:pt x="120606" y="108054"/>
                  </a:cubicBezTo>
                  <a:cubicBezTo>
                    <a:pt x="123781" y="120754"/>
                    <a:pt x="126321" y="131549"/>
                    <a:pt x="129496" y="144249"/>
                  </a:cubicBezTo>
                  <a:cubicBezTo>
                    <a:pt x="182200" y="111229"/>
                    <a:pt x="146641" y="163934"/>
                    <a:pt x="130766" y="183619"/>
                  </a:cubicBezTo>
                  <a:cubicBezTo>
                    <a:pt x="135210" y="210924"/>
                    <a:pt x="135846" y="238229"/>
                    <a:pt x="149181" y="265534"/>
                  </a:cubicBezTo>
                  <a:cubicBezTo>
                    <a:pt x="163785" y="256009"/>
                    <a:pt x="167596" y="243309"/>
                    <a:pt x="186646" y="248389"/>
                  </a:cubicBezTo>
                  <a:cubicBezTo>
                    <a:pt x="175216" y="271249"/>
                    <a:pt x="149181" y="286489"/>
                    <a:pt x="154896" y="311254"/>
                  </a:cubicBezTo>
                  <a:cubicBezTo>
                    <a:pt x="171406" y="348719"/>
                    <a:pt x="172675" y="392534"/>
                    <a:pt x="204425" y="422379"/>
                  </a:cubicBezTo>
                  <a:cubicBezTo>
                    <a:pt x="252050" y="285219"/>
                    <a:pt x="233635" y="137264"/>
                    <a:pt x="136481" y="27409"/>
                  </a:cubicBezTo>
                  <a:cubicBezTo>
                    <a:pt x="86950" y="-1166"/>
                    <a:pt x="19006" y="177269"/>
                    <a:pt x="24721" y="219814"/>
                  </a:cubicBezTo>
                  <a:cubicBezTo>
                    <a:pt x="8846" y="328399"/>
                    <a:pt x="72346" y="405869"/>
                    <a:pt x="175216" y="431269"/>
                  </a:cubicBezTo>
                  <a:cubicBezTo>
                    <a:pt x="170135" y="362689"/>
                    <a:pt x="112350" y="366499"/>
                    <a:pt x="80600" y="323954"/>
                  </a:cubicBezTo>
                  <a:cubicBezTo>
                    <a:pt x="106635" y="317604"/>
                    <a:pt x="118700" y="347449"/>
                    <a:pt x="140925" y="338559"/>
                  </a:cubicBezTo>
                  <a:cubicBezTo>
                    <a:pt x="128225" y="305539"/>
                    <a:pt x="128860" y="270614"/>
                    <a:pt x="114891" y="236959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9" name="Google Shape;155;p3">
              <a:extLst>
                <a:ext uri="{FF2B5EF4-FFF2-40B4-BE49-F238E27FC236}">
                  <a16:creationId xmlns:a16="http://schemas.microsoft.com/office/drawing/2014/main" id="{E9F45DAE-D07F-4A54-A8CA-371949E134EF}"/>
                </a:ext>
              </a:extLst>
            </p:cNvPr>
            <p:cNvSpPr/>
            <p:nvPr/>
          </p:nvSpPr>
          <p:spPr>
            <a:xfrm>
              <a:off x="3033704" y="205770"/>
              <a:ext cx="238646" cy="243555"/>
            </a:xfrm>
            <a:custGeom>
              <a:avLst/>
              <a:gdLst/>
              <a:ahLst/>
              <a:cxnLst/>
              <a:rect l="l" t="t" r="r" b="b"/>
              <a:pathLst>
                <a:path w="277495" h="283204" extrusionOk="0">
                  <a:moveTo>
                    <a:pt x="208280" y="49133"/>
                  </a:moveTo>
                  <a:cubicBezTo>
                    <a:pt x="137795" y="91043"/>
                    <a:pt x="68580" y="136763"/>
                    <a:pt x="0" y="179943"/>
                  </a:cubicBezTo>
                  <a:cubicBezTo>
                    <a:pt x="8890" y="202168"/>
                    <a:pt x="26670" y="266938"/>
                    <a:pt x="57150" y="247888"/>
                  </a:cubicBezTo>
                  <a:cubicBezTo>
                    <a:pt x="130175" y="204708"/>
                    <a:pt x="208280" y="168513"/>
                    <a:pt x="277495" y="120888"/>
                  </a:cubicBezTo>
                  <a:cubicBezTo>
                    <a:pt x="258445" y="97393"/>
                    <a:pt x="247650" y="28178"/>
                    <a:pt x="208280" y="49133"/>
                  </a:cubicBezTo>
                  <a:close/>
                  <a:moveTo>
                    <a:pt x="46355" y="226933"/>
                  </a:moveTo>
                  <a:cubicBezTo>
                    <a:pt x="33655" y="218043"/>
                    <a:pt x="29210" y="206613"/>
                    <a:pt x="25400" y="192643"/>
                  </a:cubicBezTo>
                  <a:cubicBezTo>
                    <a:pt x="88265" y="150733"/>
                    <a:pt x="149225" y="105648"/>
                    <a:pt x="218440" y="71358"/>
                  </a:cubicBezTo>
                  <a:cubicBezTo>
                    <a:pt x="236220" y="75803"/>
                    <a:pt x="240030" y="91678"/>
                    <a:pt x="247015" y="107553"/>
                  </a:cubicBezTo>
                  <a:cubicBezTo>
                    <a:pt x="186055" y="158353"/>
                    <a:pt x="114300" y="189468"/>
                    <a:pt x="46355" y="226933"/>
                  </a:cubicBezTo>
                  <a:close/>
                  <a:moveTo>
                    <a:pt x="181610" y="200898"/>
                  </a:moveTo>
                  <a:cubicBezTo>
                    <a:pt x="130810" y="200898"/>
                    <a:pt x="120650" y="289798"/>
                    <a:pt x="181610" y="282813"/>
                  </a:cubicBezTo>
                  <a:cubicBezTo>
                    <a:pt x="240665" y="284083"/>
                    <a:pt x="243840" y="201533"/>
                    <a:pt x="181610" y="200898"/>
                  </a:cubicBezTo>
                  <a:close/>
                  <a:moveTo>
                    <a:pt x="163830" y="259318"/>
                  </a:moveTo>
                  <a:cubicBezTo>
                    <a:pt x="159385" y="227568"/>
                    <a:pt x="184785" y="232013"/>
                    <a:pt x="205105" y="234553"/>
                  </a:cubicBezTo>
                  <a:cubicBezTo>
                    <a:pt x="208280" y="258683"/>
                    <a:pt x="182245" y="268843"/>
                    <a:pt x="163830" y="259318"/>
                  </a:cubicBezTo>
                  <a:close/>
                  <a:moveTo>
                    <a:pt x="123190" y="32623"/>
                  </a:moveTo>
                  <a:cubicBezTo>
                    <a:pt x="104140" y="-16272"/>
                    <a:pt x="28575" y="-9922"/>
                    <a:pt x="29210" y="49768"/>
                  </a:cubicBezTo>
                  <a:cubicBezTo>
                    <a:pt x="38735" y="111998"/>
                    <a:pt x="126365" y="90408"/>
                    <a:pt x="123190" y="32623"/>
                  </a:cubicBezTo>
                  <a:close/>
                  <a:moveTo>
                    <a:pt x="81280" y="20558"/>
                  </a:moveTo>
                  <a:cubicBezTo>
                    <a:pt x="127635" y="19923"/>
                    <a:pt x="81915" y="87868"/>
                    <a:pt x="55880" y="63103"/>
                  </a:cubicBezTo>
                  <a:cubicBezTo>
                    <a:pt x="37465" y="47228"/>
                    <a:pt x="61595" y="16748"/>
                    <a:pt x="81280" y="2055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0" name="Google Shape;156;p3">
              <a:extLst>
                <a:ext uri="{FF2B5EF4-FFF2-40B4-BE49-F238E27FC236}">
                  <a16:creationId xmlns:a16="http://schemas.microsoft.com/office/drawing/2014/main" id="{658AC260-88AF-48F4-A331-C8C9FB4AF599}"/>
                </a:ext>
              </a:extLst>
            </p:cNvPr>
            <p:cNvSpPr/>
            <p:nvPr/>
          </p:nvSpPr>
          <p:spPr>
            <a:xfrm>
              <a:off x="8737650" y="439219"/>
              <a:ext cx="257856" cy="284838"/>
            </a:xfrm>
            <a:custGeom>
              <a:avLst/>
              <a:gdLst/>
              <a:ahLst/>
              <a:cxnLst/>
              <a:rect l="l" t="t" r="r" b="b"/>
              <a:pathLst>
                <a:path w="299833" h="331207" extrusionOk="0">
                  <a:moveTo>
                    <a:pt x="209405" y="209687"/>
                  </a:moveTo>
                  <a:cubicBezTo>
                    <a:pt x="197340" y="292237"/>
                    <a:pt x="224645" y="334782"/>
                    <a:pt x="116695" y="330972"/>
                  </a:cubicBezTo>
                  <a:cubicBezTo>
                    <a:pt x="76690" y="318272"/>
                    <a:pt x="105900" y="251597"/>
                    <a:pt x="82405" y="221752"/>
                  </a:cubicBezTo>
                  <a:cubicBezTo>
                    <a:pt x="-9670" y="236992"/>
                    <a:pt x="-780" y="222387"/>
                    <a:pt x="1125" y="136662"/>
                  </a:cubicBezTo>
                  <a:cubicBezTo>
                    <a:pt x="15730" y="118882"/>
                    <a:pt x="46210" y="123327"/>
                    <a:pt x="67800" y="118247"/>
                  </a:cubicBezTo>
                  <a:cubicBezTo>
                    <a:pt x="113520" y="107452"/>
                    <a:pt x="65895" y="38872"/>
                    <a:pt x="89390" y="5852"/>
                  </a:cubicBezTo>
                  <a:cubicBezTo>
                    <a:pt x="202420" y="-15103"/>
                    <a:pt x="175750" y="20457"/>
                    <a:pt x="194165" y="108722"/>
                  </a:cubicBezTo>
                  <a:cubicBezTo>
                    <a:pt x="225280" y="118247"/>
                    <a:pt x="286240" y="96022"/>
                    <a:pt x="293225" y="135392"/>
                  </a:cubicBezTo>
                  <a:cubicBezTo>
                    <a:pt x="318625" y="214767"/>
                    <a:pt x="266555" y="199527"/>
                    <a:pt x="209405" y="209687"/>
                  </a:cubicBezTo>
                  <a:close/>
                  <a:moveTo>
                    <a:pt x="27795" y="202067"/>
                  </a:moveTo>
                  <a:cubicBezTo>
                    <a:pt x="155430" y="169682"/>
                    <a:pt x="92565" y="223657"/>
                    <a:pt x="125585" y="302397"/>
                  </a:cubicBezTo>
                  <a:cubicBezTo>
                    <a:pt x="140190" y="304302"/>
                    <a:pt x="156065" y="306842"/>
                    <a:pt x="171305" y="301127"/>
                  </a:cubicBezTo>
                  <a:cubicBezTo>
                    <a:pt x="195435" y="266202"/>
                    <a:pt x="166860" y="221752"/>
                    <a:pt x="189720" y="188097"/>
                  </a:cubicBezTo>
                  <a:cubicBezTo>
                    <a:pt x="215755" y="184287"/>
                    <a:pt x="243695" y="179842"/>
                    <a:pt x="271635" y="175397"/>
                  </a:cubicBezTo>
                  <a:cubicBezTo>
                    <a:pt x="276715" y="160792"/>
                    <a:pt x="276715" y="149362"/>
                    <a:pt x="267825" y="137932"/>
                  </a:cubicBezTo>
                  <a:cubicBezTo>
                    <a:pt x="176385" y="125867"/>
                    <a:pt x="163050" y="146187"/>
                    <a:pt x="160510" y="40142"/>
                  </a:cubicBezTo>
                  <a:cubicBezTo>
                    <a:pt x="158605" y="17917"/>
                    <a:pt x="136380" y="21092"/>
                    <a:pt x="120505" y="26172"/>
                  </a:cubicBezTo>
                  <a:cubicBezTo>
                    <a:pt x="85580" y="45857"/>
                    <a:pt x="120505" y="101737"/>
                    <a:pt x="108440" y="134757"/>
                  </a:cubicBezTo>
                  <a:cubicBezTo>
                    <a:pt x="77325" y="141742"/>
                    <a:pt x="53195" y="136662"/>
                    <a:pt x="23350" y="153172"/>
                  </a:cubicBezTo>
                  <a:cubicBezTo>
                    <a:pt x="23350" y="172857"/>
                    <a:pt x="23350" y="182382"/>
                    <a:pt x="27795" y="20206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1" name="Google Shape;157;p3">
              <a:extLst>
                <a:ext uri="{FF2B5EF4-FFF2-40B4-BE49-F238E27FC236}">
                  <a16:creationId xmlns:a16="http://schemas.microsoft.com/office/drawing/2014/main" id="{FD01B15F-3134-4B86-81F7-196D34FD1337}"/>
                </a:ext>
              </a:extLst>
            </p:cNvPr>
            <p:cNvSpPr/>
            <p:nvPr/>
          </p:nvSpPr>
          <p:spPr>
            <a:xfrm>
              <a:off x="1334256" y="207258"/>
              <a:ext cx="223503" cy="240600"/>
            </a:xfrm>
            <a:custGeom>
              <a:avLst/>
              <a:gdLst/>
              <a:ahLst/>
              <a:cxnLst/>
              <a:rect l="l" t="t" r="r" b="b"/>
              <a:pathLst>
                <a:path w="259887" h="279767" extrusionOk="0">
                  <a:moveTo>
                    <a:pt x="226736" y="166830"/>
                  </a:moveTo>
                  <a:cubicBezTo>
                    <a:pt x="228641" y="137620"/>
                    <a:pt x="231180" y="110950"/>
                    <a:pt x="233086" y="83010"/>
                  </a:cubicBezTo>
                  <a:cubicBezTo>
                    <a:pt x="187366" y="68405"/>
                    <a:pt x="153711" y="96345"/>
                    <a:pt x="111166" y="110315"/>
                  </a:cubicBezTo>
                  <a:cubicBezTo>
                    <a:pt x="97195" y="152860"/>
                    <a:pt x="133391" y="210010"/>
                    <a:pt x="90211" y="242395"/>
                  </a:cubicBezTo>
                  <a:cubicBezTo>
                    <a:pt x="-25359" y="349710"/>
                    <a:pt x="-34250" y="191595"/>
                    <a:pt x="88941" y="193500"/>
                  </a:cubicBezTo>
                  <a:cubicBezTo>
                    <a:pt x="97195" y="143970"/>
                    <a:pt x="63541" y="67135"/>
                    <a:pt x="101005" y="31575"/>
                  </a:cubicBezTo>
                  <a:cubicBezTo>
                    <a:pt x="208320" y="6175"/>
                    <a:pt x="274995" y="-51610"/>
                    <a:pt x="252770" y="105870"/>
                  </a:cubicBezTo>
                  <a:cubicBezTo>
                    <a:pt x="241975" y="140160"/>
                    <a:pt x="264200" y="170005"/>
                    <a:pt x="259120" y="201120"/>
                  </a:cubicBezTo>
                  <a:cubicBezTo>
                    <a:pt x="198161" y="328120"/>
                    <a:pt x="109261" y="242395"/>
                    <a:pt x="226736" y="166830"/>
                  </a:cubicBezTo>
                  <a:close/>
                  <a:moveTo>
                    <a:pt x="115611" y="79835"/>
                  </a:moveTo>
                  <a:cubicBezTo>
                    <a:pt x="146091" y="80470"/>
                    <a:pt x="172125" y="56975"/>
                    <a:pt x="203875" y="58245"/>
                  </a:cubicBezTo>
                  <a:cubicBezTo>
                    <a:pt x="229275" y="60150"/>
                    <a:pt x="238800" y="46180"/>
                    <a:pt x="229911" y="22050"/>
                  </a:cubicBezTo>
                  <a:cubicBezTo>
                    <a:pt x="198161" y="38560"/>
                    <a:pt x="97195" y="29035"/>
                    <a:pt x="115611" y="7983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2" name="Google Shape;158;p3">
              <a:extLst>
                <a:ext uri="{FF2B5EF4-FFF2-40B4-BE49-F238E27FC236}">
                  <a16:creationId xmlns:a16="http://schemas.microsoft.com/office/drawing/2014/main" id="{ECE62D4D-DAD1-4BD5-95D7-E4F2C4AB4E20}"/>
                </a:ext>
              </a:extLst>
            </p:cNvPr>
            <p:cNvSpPr/>
            <p:nvPr/>
          </p:nvSpPr>
          <p:spPr>
            <a:xfrm>
              <a:off x="7053257" y="3763614"/>
              <a:ext cx="204383" cy="278916"/>
            </a:xfrm>
            <a:custGeom>
              <a:avLst/>
              <a:gdLst/>
              <a:ahLst/>
              <a:cxnLst/>
              <a:rect l="l" t="t" r="r" b="b"/>
              <a:pathLst>
                <a:path w="237655" h="324321" extrusionOk="0">
                  <a:moveTo>
                    <a:pt x="103670" y="224422"/>
                  </a:moveTo>
                  <a:cubicBezTo>
                    <a:pt x="118910" y="164097"/>
                    <a:pt x="80810" y="37097"/>
                    <a:pt x="129070" y="1537"/>
                  </a:cubicBezTo>
                  <a:cubicBezTo>
                    <a:pt x="197650" y="-13703"/>
                    <a:pt x="200190" y="88532"/>
                    <a:pt x="237655" y="124092"/>
                  </a:cubicBezTo>
                  <a:cubicBezTo>
                    <a:pt x="219875" y="178702"/>
                    <a:pt x="165900" y="59957"/>
                    <a:pt x="132245" y="71387"/>
                  </a:cubicBezTo>
                  <a:cubicBezTo>
                    <a:pt x="115735" y="135522"/>
                    <a:pt x="151930" y="215532"/>
                    <a:pt x="110655" y="271412"/>
                  </a:cubicBezTo>
                  <a:cubicBezTo>
                    <a:pt x="-25235" y="413017"/>
                    <a:pt x="-45555" y="225692"/>
                    <a:pt x="103670" y="224422"/>
                  </a:cubicBezTo>
                  <a:close/>
                  <a:moveTo>
                    <a:pt x="176060" y="65672"/>
                  </a:moveTo>
                  <a:cubicBezTo>
                    <a:pt x="170980" y="47892"/>
                    <a:pt x="167170" y="29477"/>
                    <a:pt x="146850" y="25032"/>
                  </a:cubicBezTo>
                  <a:cubicBezTo>
                    <a:pt x="136690" y="33922"/>
                    <a:pt x="136690" y="33922"/>
                    <a:pt x="134785" y="44082"/>
                  </a:cubicBezTo>
                  <a:cubicBezTo>
                    <a:pt x="148755" y="51067"/>
                    <a:pt x="162090" y="58687"/>
                    <a:pt x="176060" y="6567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3" name="Google Shape;159;p3">
              <a:extLst>
                <a:ext uri="{FF2B5EF4-FFF2-40B4-BE49-F238E27FC236}">
                  <a16:creationId xmlns:a16="http://schemas.microsoft.com/office/drawing/2014/main" id="{E1411E4E-DD68-441C-BA24-04EC531F7CB4}"/>
                </a:ext>
              </a:extLst>
            </p:cNvPr>
            <p:cNvSpPr/>
            <p:nvPr/>
          </p:nvSpPr>
          <p:spPr>
            <a:xfrm>
              <a:off x="711508" y="3001159"/>
              <a:ext cx="154433" cy="272786"/>
            </a:xfrm>
            <a:custGeom>
              <a:avLst/>
              <a:gdLst/>
              <a:ahLst/>
              <a:cxnLst/>
              <a:rect l="l" t="t" r="r" b="b"/>
              <a:pathLst>
                <a:path w="179573" h="317193" extrusionOk="0">
                  <a:moveTo>
                    <a:pt x="48300" y="7056"/>
                  </a:moveTo>
                  <a:cubicBezTo>
                    <a:pt x="85130" y="8961"/>
                    <a:pt x="155616" y="-21519"/>
                    <a:pt x="159425" y="31186"/>
                  </a:cubicBezTo>
                  <a:cubicBezTo>
                    <a:pt x="167680" y="121356"/>
                    <a:pt x="186096" y="212796"/>
                    <a:pt x="177205" y="302966"/>
                  </a:cubicBezTo>
                  <a:cubicBezTo>
                    <a:pt x="142280" y="316301"/>
                    <a:pt x="114975" y="320111"/>
                    <a:pt x="85766" y="315031"/>
                  </a:cubicBezTo>
                  <a:cubicBezTo>
                    <a:pt x="69255" y="264231"/>
                    <a:pt x="90211" y="208351"/>
                    <a:pt x="78780" y="154376"/>
                  </a:cubicBezTo>
                  <a:cubicBezTo>
                    <a:pt x="-62189" y="192476"/>
                    <a:pt x="24171" y="74366"/>
                    <a:pt x="48300" y="7056"/>
                  </a:cubicBezTo>
                  <a:close/>
                  <a:moveTo>
                    <a:pt x="109261" y="290901"/>
                  </a:moveTo>
                  <a:cubicBezTo>
                    <a:pt x="134025" y="291536"/>
                    <a:pt x="134025" y="291536"/>
                    <a:pt x="154346" y="278836"/>
                  </a:cubicBezTo>
                  <a:cubicBezTo>
                    <a:pt x="153075" y="219781"/>
                    <a:pt x="167680" y="54046"/>
                    <a:pt x="118786" y="24201"/>
                  </a:cubicBezTo>
                  <a:cubicBezTo>
                    <a:pt x="53380" y="10231"/>
                    <a:pt x="40046" y="82621"/>
                    <a:pt x="20996" y="128976"/>
                  </a:cubicBezTo>
                  <a:cubicBezTo>
                    <a:pt x="48936" y="149931"/>
                    <a:pt x="55921" y="133421"/>
                    <a:pt x="69891" y="115641"/>
                  </a:cubicBezTo>
                  <a:cubicBezTo>
                    <a:pt x="135296" y="72461"/>
                    <a:pt x="83861" y="261691"/>
                    <a:pt x="109261" y="29090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4" name="Google Shape;160;p3">
              <a:extLst>
                <a:ext uri="{FF2B5EF4-FFF2-40B4-BE49-F238E27FC236}">
                  <a16:creationId xmlns:a16="http://schemas.microsoft.com/office/drawing/2014/main" id="{4FAAA02B-145E-42EF-9989-D3B3298B2D2D}"/>
                </a:ext>
              </a:extLst>
            </p:cNvPr>
            <p:cNvSpPr/>
            <p:nvPr/>
          </p:nvSpPr>
          <p:spPr>
            <a:xfrm>
              <a:off x="8576875" y="2558027"/>
              <a:ext cx="223822" cy="307981"/>
            </a:xfrm>
            <a:custGeom>
              <a:avLst/>
              <a:gdLst/>
              <a:ahLst/>
              <a:cxnLst/>
              <a:rect l="l" t="t" r="r" b="b"/>
              <a:pathLst>
                <a:path w="283319" h="389850" extrusionOk="0">
                  <a:moveTo>
                    <a:pt x="215764" y="169337"/>
                  </a:moveTo>
                  <a:cubicBezTo>
                    <a:pt x="302124" y="27097"/>
                    <a:pt x="90669" y="-68153"/>
                    <a:pt x="11294" y="60752"/>
                  </a:cubicBezTo>
                  <a:cubicBezTo>
                    <a:pt x="-7756" y="89962"/>
                    <a:pt x="-3946" y="100757"/>
                    <a:pt x="32249" y="114092"/>
                  </a:cubicBezTo>
                  <a:cubicBezTo>
                    <a:pt x="71619" y="115997"/>
                    <a:pt x="97019" y="51862"/>
                    <a:pt x="145279" y="76627"/>
                  </a:cubicBezTo>
                  <a:cubicBezTo>
                    <a:pt x="215764" y="123617"/>
                    <a:pt x="108449" y="154732"/>
                    <a:pt x="109719" y="185212"/>
                  </a:cubicBezTo>
                  <a:cubicBezTo>
                    <a:pt x="111624" y="209342"/>
                    <a:pt x="220844" y="209977"/>
                    <a:pt x="165599" y="293162"/>
                  </a:cubicBezTo>
                  <a:cubicBezTo>
                    <a:pt x="115434" y="342057"/>
                    <a:pt x="90669" y="265222"/>
                    <a:pt x="53204" y="286812"/>
                  </a:cubicBezTo>
                  <a:cubicBezTo>
                    <a:pt x="41774" y="293797"/>
                    <a:pt x="19549" y="293162"/>
                    <a:pt x="19549" y="310942"/>
                  </a:cubicBezTo>
                  <a:cubicBezTo>
                    <a:pt x="44949" y="470962"/>
                    <a:pt x="437379" y="369362"/>
                    <a:pt x="215764" y="169337"/>
                  </a:cubicBezTo>
                  <a:close/>
                  <a:moveTo>
                    <a:pt x="255769" y="311577"/>
                  </a:moveTo>
                  <a:cubicBezTo>
                    <a:pt x="230369" y="375712"/>
                    <a:pt x="58919" y="393492"/>
                    <a:pt x="43679" y="321102"/>
                  </a:cubicBezTo>
                  <a:cubicBezTo>
                    <a:pt x="53204" y="313482"/>
                    <a:pt x="60189" y="310942"/>
                    <a:pt x="70984" y="308402"/>
                  </a:cubicBezTo>
                  <a:cubicBezTo>
                    <a:pt x="145914" y="381427"/>
                    <a:pt x="251959" y="274112"/>
                    <a:pt x="178299" y="199817"/>
                  </a:cubicBezTo>
                  <a:cubicBezTo>
                    <a:pt x="157344" y="184577"/>
                    <a:pt x="144644" y="190927"/>
                    <a:pt x="171314" y="159812"/>
                  </a:cubicBezTo>
                  <a:cubicBezTo>
                    <a:pt x="239259" y="61387"/>
                    <a:pt x="99559" y="5507"/>
                    <a:pt x="35424" y="93772"/>
                  </a:cubicBezTo>
                  <a:cubicBezTo>
                    <a:pt x="-5851" y="29002"/>
                    <a:pt x="261484" y="-44023"/>
                    <a:pt x="204334" y="148382"/>
                  </a:cubicBezTo>
                  <a:cubicBezTo>
                    <a:pt x="201159" y="161082"/>
                    <a:pt x="201159" y="165527"/>
                    <a:pt x="188459" y="178227"/>
                  </a:cubicBezTo>
                  <a:cubicBezTo>
                    <a:pt x="227829" y="190292"/>
                    <a:pt x="275454" y="281097"/>
                    <a:pt x="255769" y="31157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5" name="Google Shape;161;p3">
              <a:extLst>
                <a:ext uri="{FF2B5EF4-FFF2-40B4-BE49-F238E27FC236}">
                  <a16:creationId xmlns:a16="http://schemas.microsoft.com/office/drawing/2014/main" id="{A1BC7C48-F5BC-429D-A0C2-2F698A1C754A}"/>
                </a:ext>
              </a:extLst>
            </p:cNvPr>
            <p:cNvSpPr/>
            <p:nvPr/>
          </p:nvSpPr>
          <p:spPr>
            <a:xfrm>
              <a:off x="140852" y="836409"/>
              <a:ext cx="224053" cy="290283"/>
            </a:xfrm>
            <a:custGeom>
              <a:avLst/>
              <a:gdLst/>
              <a:ahLst/>
              <a:cxnLst/>
              <a:rect l="l" t="t" r="r" b="b"/>
              <a:pathLst>
                <a:path w="260527" h="337538" extrusionOk="0">
                  <a:moveTo>
                    <a:pt x="70965" y="150214"/>
                  </a:moveTo>
                  <a:cubicBezTo>
                    <a:pt x="-31905" y="199744"/>
                    <a:pt x="-8410" y="53058"/>
                    <a:pt x="50010" y="19403"/>
                  </a:cubicBezTo>
                  <a:cubicBezTo>
                    <a:pt x="99540" y="-21237"/>
                    <a:pt x="175740" y="6703"/>
                    <a:pt x="204315" y="59408"/>
                  </a:cubicBezTo>
                  <a:cubicBezTo>
                    <a:pt x="234160" y="115923"/>
                    <a:pt x="183360" y="176248"/>
                    <a:pt x="162405" y="228953"/>
                  </a:cubicBezTo>
                  <a:cubicBezTo>
                    <a:pt x="222730" y="254353"/>
                    <a:pt x="280515" y="204189"/>
                    <a:pt x="253845" y="309598"/>
                  </a:cubicBezTo>
                  <a:cubicBezTo>
                    <a:pt x="202410" y="340078"/>
                    <a:pt x="118590" y="320394"/>
                    <a:pt x="56360" y="337539"/>
                  </a:cubicBezTo>
                  <a:cubicBezTo>
                    <a:pt x="-5235" y="325473"/>
                    <a:pt x="102715" y="185139"/>
                    <a:pt x="110970" y="145133"/>
                  </a:cubicBezTo>
                  <a:cubicBezTo>
                    <a:pt x="160500" y="75919"/>
                    <a:pt x="55725" y="82269"/>
                    <a:pt x="70965" y="150214"/>
                  </a:cubicBezTo>
                  <a:close/>
                  <a:moveTo>
                    <a:pt x="123670" y="254353"/>
                  </a:moveTo>
                  <a:cubicBezTo>
                    <a:pt x="140180" y="194664"/>
                    <a:pt x="211935" y="137514"/>
                    <a:pt x="182725" y="75283"/>
                  </a:cubicBezTo>
                  <a:cubicBezTo>
                    <a:pt x="171930" y="39088"/>
                    <a:pt x="127480" y="13053"/>
                    <a:pt x="92555" y="25119"/>
                  </a:cubicBezTo>
                  <a:cubicBezTo>
                    <a:pt x="36040" y="25119"/>
                    <a:pt x="-10315" y="170533"/>
                    <a:pt x="46200" y="130528"/>
                  </a:cubicBezTo>
                  <a:cubicBezTo>
                    <a:pt x="49375" y="47978"/>
                    <a:pt x="174470" y="60678"/>
                    <a:pt x="140180" y="141958"/>
                  </a:cubicBezTo>
                  <a:cubicBezTo>
                    <a:pt x="119225" y="196569"/>
                    <a:pt x="72870" y="253083"/>
                    <a:pt x="69060" y="309598"/>
                  </a:cubicBezTo>
                  <a:cubicBezTo>
                    <a:pt x="109065" y="316583"/>
                    <a:pt x="193520" y="307694"/>
                    <a:pt x="232890" y="291183"/>
                  </a:cubicBezTo>
                  <a:cubicBezTo>
                    <a:pt x="234795" y="282928"/>
                    <a:pt x="236700" y="274039"/>
                    <a:pt x="238605" y="264514"/>
                  </a:cubicBezTo>
                  <a:cubicBezTo>
                    <a:pt x="197330" y="251178"/>
                    <a:pt x="166215" y="267689"/>
                    <a:pt x="123670" y="25435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56" name="Google Shape;162;p3">
              <a:extLst>
                <a:ext uri="{FF2B5EF4-FFF2-40B4-BE49-F238E27FC236}">
                  <a16:creationId xmlns:a16="http://schemas.microsoft.com/office/drawing/2014/main" id="{061BBCF4-A94F-464F-9254-80F333F37689}"/>
                </a:ext>
              </a:extLst>
            </p:cNvPr>
            <p:cNvGrpSpPr/>
            <p:nvPr/>
          </p:nvGrpSpPr>
          <p:grpSpPr>
            <a:xfrm>
              <a:off x="6457245" y="4530131"/>
              <a:ext cx="216066" cy="276377"/>
              <a:chOff x="6422295" y="3351500"/>
              <a:chExt cx="252856" cy="323399"/>
            </a:xfrm>
          </p:grpSpPr>
          <p:sp>
            <p:nvSpPr>
              <p:cNvPr id="67" name="Google Shape;163;p3">
                <a:extLst>
                  <a:ext uri="{FF2B5EF4-FFF2-40B4-BE49-F238E27FC236}">
                    <a16:creationId xmlns:a16="http://schemas.microsoft.com/office/drawing/2014/main" id="{A5D8B871-971A-497E-88EA-BD3C7E11BB9B}"/>
                  </a:ext>
                </a:extLst>
              </p:cNvPr>
              <p:cNvSpPr/>
              <p:nvPr/>
            </p:nvSpPr>
            <p:spPr>
              <a:xfrm>
                <a:off x="6422295" y="3351500"/>
                <a:ext cx="252856" cy="323399"/>
              </a:xfrm>
              <a:custGeom>
                <a:avLst/>
                <a:gdLst/>
                <a:ahLst/>
                <a:cxnLst/>
                <a:rect l="l" t="t" r="r" b="b"/>
                <a:pathLst>
                  <a:path w="294019" h="376045" extrusionOk="0">
                    <a:moveTo>
                      <a:pt x="172720" y="274801"/>
                    </a:moveTo>
                    <a:cubicBezTo>
                      <a:pt x="154940" y="268451"/>
                      <a:pt x="140970" y="274801"/>
                      <a:pt x="126365" y="278611"/>
                    </a:cubicBezTo>
                    <a:cubicBezTo>
                      <a:pt x="109855" y="304011"/>
                      <a:pt x="109220" y="334491"/>
                      <a:pt x="99695" y="364336"/>
                    </a:cubicBezTo>
                    <a:cubicBezTo>
                      <a:pt x="71755" y="359256"/>
                      <a:pt x="0" y="392911"/>
                      <a:pt x="0" y="352906"/>
                    </a:cubicBezTo>
                    <a:cubicBezTo>
                      <a:pt x="38100" y="239241"/>
                      <a:pt x="70485" y="123671"/>
                      <a:pt x="102235" y="8101"/>
                    </a:cubicBezTo>
                    <a:cubicBezTo>
                      <a:pt x="248920" y="-26189"/>
                      <a:pt x="236855" y="52551"/>
                      <a:pt x="264160" y="165581"/>
                    </a:cubicBezTo>
                    <a:cubicBezTo>
                      <a:pt x="262255" y="201776"/>
                      <a:pt x="322580" y="359256"/>
                      <a:pt x="276860" y="358621"/>
                    </a:cubicBezTo>
                    <a:cubicBezTo>
                      <a:pt x="153670" y="357986"/>
                      <a:pt x="184150" y="433551"/>
                      <a:pt x="172720" y="274801"/>
                    </a:cubicBezTo>
                    <a:close/>
                    <a:moveTo>
                      <a:pt x="266700" y="331316"/>
                    </a:moveTo>
                    <a:cubicBezTo>
                      <a:pt x="262255" y="229081"/>
                      <a:pt x="236220" y="119861"/>
                      <a:pt x="201295" y="23341"/>
                    </a:cubicBezTo>
                    <a:cubicBezTo>
                      <a:pt x="175895" y="22071"/>
                      <a:pt x="129540" y="8736"/>
                      <a:pt x="120015" y="41121"/>
                    </a:cubicBezTo>
                    <a:cubicBezTo>
                      <a:pt x="86995" y="139546"/>
                      <a:pt x="53975" y="239876"/>
                      <a:pt x="33655" y="341476"/>
                    </a:cubicBezTo>
                    <a:cubicBezTo>
                      <a:pt x="90805" y="367511"/>
                      <a:pt x="90805" y="291946"/>
                      <a:pt x="106680" y="256386"/>
                    </a:cubicBezTo>
                    <a:cubicBezTo>
                      <a:pt x="290195" y="214476"/>
                      <a:pt x="113665" y="389736"/>
                      <a:pt x="266700" y="33131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68" name="Google Shape;164;p3">
                <a:extLst>
                  <a:ext uri="{FF2B5EF4-FFF2-40B4-BE49-F238E27FC236}">
                    <a16:creationId xmlns:a16="http://schemas.microsoft.com/office/drawing/2014/main" id="{EF015BEC-6C1B-40AC-A84D-118AD8944F9F}"/>
                  </a:ext>
                </a:extLst>
              </p:cNvPr>
              <p:cNvSpPr/>
              <p:nvPr/>
            </p:nvSpPr>
            <p:spPr>
              <a:xfrm>
                <a:off x="6523827" y="3405472"/>
                <a:ext cx="67661" cy="140626"/>
              </a:xfrm>
              <a:custGeom>
                <a:avLst/>
                <a:gdLst/>
                <a:ahLst/>
                <a:cxnLst/>
                <a:rect l="l" t="t" r="r" b="b"/>
                <a:pathLst>
                  <a:path w="78676" h="163519" extrusionOk="0">
                    <a:moveTo>
                      <a:pt x="47759" y="0"/>
                    </a:moveTo>
                    <a:cubicBezTo>
                      <a:pt x="77604" y="36830"/>
                      <a:pt x="59824" y="93345"/>
                      <a:pt x="76969" y="137160"/>
                    </a:cubicBezTo>
                    <a:cubicBezTo>
                      <a:pt x="82049" y="150495"/>
                      <a:pt x="75699" y="170180"/>
                      <a:pt x="59189" y="161290"/>
                    </a:cubicBezTo>
                    <a:cubicBezTo>
                      <a:pt x="38869" y="149860"/>
                      <a:pt x="-8756" y="165735"/>
                      <a:pt x="1404" y="127635"/>
                    </a:cubicBezTo>
                    <a:cubicBezTo>
                      <a:pt x="15374" y="83820"/>
                      <a:pt x="14104" y="35560"/>
                      <a:pt x="47759" y="0"/>
                    </a:cubicBezTo>
                    <a:close/>
                    <a:moveTo>
                      <a:pt x="25534" y="130810"/>
                    </a:moveTo>
                    <a:cubicBezTo>
                      <a:pt x="68714" y="151130"/>
                      <a:pt x="47124" y="101600"/>
                      <a:pt x="44584" y="77470"/>
                    </a:cubicBezTo>
                    <a:cubicBezTo>
                      <a:pt x="31249" y="97155"/>
                      <a:pt x="26804" y="113665"/>
                      <a:pt x="25534" y="13081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57" name="Google Shape;165;p3">
              <a:extLst>
                <a:ext uri="{FF2B5EF4-FFF2-40B4-BE49-F238E27FC236}">
                  <a16:creationId xmlns:a16="http://schemas.microsoft.com/office/drawing/2014/main" id="{A74C9D07-C230-4862-BDAB-5DE3DD971641}"/>
                </a:ext>
              </a:extLst>
            </p:cNvPr>
            <p:cNvSpPr/>
            <p:nvPr/>
          </p:nvSpPr>
          <p:spPr>
            <a:xfrm>
              <a:off x="2318449" y="613815"/>
              <a:ext cx="332332" cy="336908"/>
            </a:xfrm>
            <a:custGeom>
              <a:avLst/>
              <a:gdLst/>
              <a:ahLst/>
              <a:cxnLst/>
              <a:rect l="l" t="t" r="r" b="b"/>
              <a:pathLst>
                <a:path w="386433" h="391754" extrusionOk="0">
                  <a:moveTo>
                    <a:pt x="22225" y="106004"/>
                  </a:moveTo>
                  <a:cubicBezTo>
                    <a:pt x="40640" y="82509"/>
                    <a:pt x="84455" y="92670"/>
                    <a:pt x="109855" y="76795"/>
                  </a:cubicBezTo>
                  <a:cubicBezTo>
                    <a:pt x="113030" y="58379"/>
                    <a:pt x="107315" y="43139"/>
                    <a:pt x="98425" y="27264"/>
                  </a:cubicBezTo>
                  <a:cubicBezTo>
                    <a:pt x="122555" y="8850"/>
                    <a:pt x="153035" y="-7661"/>
                    <a:pt x="182880" y="3770"/>
                  </a:cubicBezTo>
                  <a:cubicBezTo>
                    <a:pt x="186690" y="19645"/>
                    <a:pt x="190500" y="36789"/>
                    <a:pt x="194945" y="55839"/>
                  </a:cubicBezTo>
                  <a:cubicBezTo>
                    <a:pt x="226695" y="60284"/>
                    <a:pt x="256540" y="42504"/>
                    <a:pt x="287020" y="52664"/>
                  </a:cubicBezTo>
                  <a:cubicBezTo>
                    <a:pt x="300355" y="119339"/>
                    <a:pt x="327660" y="186014"/>
                    <a:pt x="373380" y="237450"/>
                  </a:cubicBezTo>
                  <a:cubicBezTo>
                    <a:pt x="386080" y="250150"/>
                    <a:pt x="388620" y="262850"/>
                    <a:pt x="384810" y="280629"/>
                  </a:cubicBezTo>
                  <a:cubicBezTo>
                    <a:pt x="356870" y="380325"/>
                    <a:pt x="198755" y="356195"/>
                    <a:pt x="115570" y="391754"/>
                  </a:cubicBezTo>
                  <a:cubicBezTo>
                    <a:pt x="31115" y="324445"/>
                    <a:pt x="4445" y="213320"/>
                    <a:pt x="0" y="108545"/>
                  </a:cubicBezTo>
                  <a:cubicBezTo>
                    <a:pt x="8890" y="107275"/>
                    <a:pt x="15875" y="106004"/>
                    <a:pt x="22860" y="105370"/>
                  </a:cubicBezTo>
                  <a:cubicBezTo>
                    <a:pt x="16510" y="199984"/>
                    <a:pt x="46990" y="300314"/>
                    <a:pt x="115570" y="368259"/>
                  </a:cubicBezTo>
                  <a:cubicBezTo>
                    <a:pt x="184150" y="354925"/>
                    <a:pt x="258445" y="348575"/>
                    <a:pt x="323215" y="320634"/>
                  </a:cubicBezTo>
                  <a:cubicBezTo>
                    <a:pt x="316865" y="290789"/>
                    <a:pt x="302895" y="271104"/>
                    <a:pt x="309245" y="243164"/>
                  </a:cubicBezTo>
                  <a:cubicBezTo>
                    <a:pt x="322580" y="243164"/>
                    <a:pt x="333375" y="243164"/>
                    <a:pt x="347980" y="243164"/>
                  </a:cubicBezTo>
                  <a:cubicBezTo>
                    <a:pt x="325755" y="189825"/>
                    <a:pt x="288290" y="147279"/>
                    <a:pt x="278765" y="88225"/>
                  </a:cubicBezTo>
                  <a:cubicBezTo>
                    <a:pt x="273685" y="48220"/>
                    <a:pt x="226695" y="69809"/>
                    <a:pt x="203835" y="81875"/>
                  </a:cubicBezTo>
                  <a:cubicBezTo>
                    <a:pt x="206375" y="93304"/>
                    <a:pt x="208280" y="102829"/>
                    <a:pt x="210185" y="112354"/>
                  </a:cubicBezTo>
                  <a:cubicBezTo>
                    <a:pt x="182245" y="123784"/>
                    <a:pt x="158115" y="145375"/>
                    <a:pt x="128270" y="132675"/>
                  </a:cubicBezTo>
                  <a:cubicBezTo>
                    <a:pt x="121285" y="63459"/>
                    <a:pt x="57150" y="126325"/>
                    <a:pt x="22225" y="106004"/>
                  </a:cubicBezTo>
                  <a:close/>
                  <a:moveTo>
                    <a:pt x="165100" y="21550"/>
                  </a:moveTo>
                  <a:cubicBezTo>
                    <a:pt x="107315" y="11389"/>
                    <a:pt x="133350" y="88225"/>
                    <a:pt x="145415" y="118070"/>
                  </a:cubicBezTo>
                  <a:cubicBezTo>
                    <a:pt x="163195" y="119975"/>
                    <a:pt x="173355" y="109814"/>
                    <a:pt x="185420" y="100289"/>
                  </a:cubicBezTo>
                  <a:cubicBezTo>
                    <a:pt x="179070" y="72984"/>
                    <a:pt x="172720" y="46314"/>
                    <a:pt x="165100" y="21550"/>
                  </a:cubicBezTo>
                  <a:close/>
                  <a:moveTo>
                    <a:pt x="327660" y="266025"/>
                  </a:moveTo>
                  <a:cubicBezTo>
                    <a:pt x="328930" y="337145"/>
                    <a:pt x="368300" y="313014"/>
                    <a:pt x="357505" y="266025"/>
                  </a:cubicBezTo>
                  <a:cubicBezTo>
                    <a:pt x="349885" y="266025"/>
                    <a:pt x="340360" y="266025"/>
                    <a:pt x="327660" y="26602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8" name="Google Shape;166;p3">
              <a:extLst>
                <a:ext uri="{FF2B5EF4-FFF2-40B4-BE49-F238E27FC236}">
                  <a16:creationId xmlns:a16="http://schemas.microsoft.com/office/drawing/2014/main" id="{CFF947DF-86EC-4D06-8402-0D28FAA07E2E}"/>
                </a:ext>
              </a:extLst>
            </p:cNvPr>
            <p:cNvSpPr/>
            <p:nvPr/>
          </p:nvSpPr>
          <p:spPr>
            <a:xfrm>
              <a:off x="6021196" y="137179"/>
              <a:ext cx="265484" cy="205157"/>
            </a:xfrm>
            <a:custGeom>
              <a:avLst/>
              <a:gdLst/>
              <a:ahLst/>
              <a:cxnLst/>
              <a:rect l="l" t="t" r="r" b="b"/>
              <a:pathLst>
                <a:path w="308702" h="238555" extrusionOk="0">
                  <a:moveTo>
                    <a:pt x="275682" y="130540"/>
                  </a:moveTo>
                  <a:cubicBezTo>
                    <a:pt x="186782" y="134985"/>
                    <a:pt x="95977" y="143875"/>
                    <a:pt x="7712" y="150225"/>
                  </a:cubicBezTo>
                  <a:cubicBezTo>
                    <a:pt x="-8798" y="168640"/>
                    <a:pt x="1997" y="241030"/>
                    <a:pt x="32477" y="238490"/>
                  </a:cubicBezTo>
                  <a:cubicBezTo>
                    <a:pt x="126457" y="218805"/>
                    <a:pt x="214087" y="238490"/>
                    <a:pt x="308702" y="211820"/>
                  </a:cubicBezTo>
                  <a:cubicBezTo>
                    <a:pt x="278857" y="185150"/>
                    <a:pt x="322672" y="132445"/>
                    <a:pt x="275682" y="130540"/>
                  </a:cubicBezTo>
                  <a:close/>
                  <a:moveTo>
                    <a:pt x="271872" y="187690"/>
                  </a:moveTo>
                  <a:cubicBezTo>
                    <a:pt x="200752" y="219440"/>
                    <a:pt x="111217" y="202930"/>
                    <a:pt x="33112" y="211185"/>
                  </a:cubicBezTo>
                  <a:cubicBezTo>
                    <a:pt x="25492" y="195310"/>
                    <a:pt x="24857" y="195310"/>
                    <a:pt x="29302" y="175625"/>
                  </a:cubicBezTo>
                  <a:cubicBezTo>
                    <a:pt x="108677" y="166100"/>
                    <a:pt x="196307" y="146415"/>
                    <a:pt x="274412" y="159750"/>
                  </a:cubicBezTo>
                  <a:cubicBezTo>
                    <a:pt x="273777" y="169275"/>
                    <a:pt x="272507" y="179435"/>
                    <a:pt x="271872" y="187690"/>
                  </a:cubicBezTo>
                  <a:close/>
                  <a:moveTo>
                    <a:pt x="3902" y="80375"/>
                  </a:moveTo>
                  <a:cubicBezTo>
                    <a:pt x="10252" y="126095"/>
                    <a:pt x="181067" y="83550"/>
                    <a:pt x="218532" y="87995"/>
                  </a:cubicBezTo>
                  <a:cubicBezTo>
                    <a:pt x="295367" y="95615"/>
                    <a:pt x="307432" y="97520"/>
                    <a:pt x="293462" y="19415"/>
                  </a:cubicBezTo>
                  <a:cubicBezTo>
                    <a:pt x="285842" y="-17415"/>
                    <a:pt x="73117" y="11160"/>
                    <a:pt x="28032" y="2270"/>
                  </a:cubicBezTo>
                  <a:cubicBezTo>
                    <a:pt x="-10068" y="1635"/>
                    <a:pt x="6442" y="55610"/>
                    <a:pt x="3902" y="80375"/>
                  </a:cubicBezTo>
                  <a:close/>
                  <a:moveTo>
                    <a:pt x="40097" y="25130"/>
                  </a:moveTo>
                  <a:cubicBezTo>
                    <a:pt x="78197" y="25765"/>
                    <a:pt x="115027" y="14970"/>
                    <a:pt x="153762" y="23225"/>
                  </a:cubicBezTo>
                  <a:cubicBezTo>
                    <a:pt x="189957" y="39735"/>
                    <a:pt x="274412" y="-6620"/>
                    <a:pt x="276317" y="52435"/>
                  </a:cubicBezTo>
                  <a:cubicBezTo>
                    <a:pt x="287747" y="79105"/>
                    <a:pt x="54067" y="73390"/>
                    <a:pt x="26762" y="72120"/>
                  </a:cubicBezTo>
                  <a:cubicBezTo>
                    <a:pt x="27397" y="54975"/>
                    <a:pt x="15332" y="26400"/>
                    <a:pt x="40097" y="2513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59" name="Google Shape;167;p3">
              <a:extLst>
                <a:ext uri="{FF2B5EF4-FFF2-40B4-BE49-F238E27FC236}">
                  <a16:creationId xmlns:a16="http://schemas.microsoft.com/office/drawing/2014/main" id="{296C5B09-63AC-4349-A8AD-5FC47298B7BF}"/>
                </a:ext>
              </a:extLst>
            </p:cNvPr>
            <p:cNvGrpSpPr/>
            <p:nvPr/>
          </p:nvGrpSpPr>
          <p:grpSpPr>
            <a:xfrm>
              <a:off x="1184427" y="4630083"/>
              <a:ext cx="229693" cy="293080"/>
              <a:chOff x="6793660" y="3322411"/>
              <a:chExt cx="268804" cy="342944"/>
            </a:xfrm>
          </p:grpSpPr>
          <p:sp>
            <p:nvSpPr>
              <p:cNvPr id="64" name="Google Shape;168;p3">
                <a:extLst>
                  <a:ext uri="{FF2B5EF4-FFF2-40B4-BE49-F238E27FC236}">
                    <a16:creationId xmlns:a16="http://schemas.microsoft.com/office/drawing/2014/main" id="{D43D496B-4A9F-4C55-9824-8149A5C3513C}"/>
                  </a:ext>
                </a:extLst>
              </p:cNvPr>
              <p:cNvSpPr/>
              <p:nvPr/>
            </p:nvSpPr>
            <p:spPr>
              <a:xfrm>
                <a:off x="6793660" y="3322411"/>
                <a:ext cx="268804" cy="342944"/>
              </a:xfrm>
              <a:custGeom>
                <a:avLst/>
                <a:gdLst/>
                <a:ahLst/>
                <a:cxnLst/>
                <a:rect l="l" t="t" r="r" b="b"/>
                <a:pathLst>
                  <a:path w="312563" h="398772" extrusionOk="0">
                    <a:moveTo>
                      <a:pt x="216826" y="153028"/>
                    </a:moveTo>
                    <a:cubicBezTo>
                      <a:pt x="221271" y="163188"/>
                      <a:pt x="230796" y="165093"/>
                      <a:pt x="238416" y="166997"/>
                    </a:cubicBezTo>
                    <a:cubicBezTo>
                      <a:pt x="302551" y="185413"/>
                      <a:pt x="337476" y="278758"/>
                      <a:pt x="291756" y="323843"/>
                    </a:cubicBezTo>
                    <a:cubicBezTo>
                      <a:pt x="232701" y="397503"/>
                      <a:pt x="134911" y="398772"/>
                      <a:pt x="48551" y="398772"/>
                    </a:cubicBezTo>
                    <a:cubicBezTo>
                      <a:pt x="926" y="373372"/>
                      <a:pt x="31406" y="246372"/>
                      <a:pt x="16166" y="193668"/>
                    </a:cubicBezTo>
                    <a:cubicBezTo>
                      <a:pt x="21881" y="142868"/>
                      <a:pt x="-23839" y="59047"/>
                      <a:pt x="17436" y="23488"/>
                    </a:cubicBezTo>
                    <a:cubicBezTo>
                      <a:pt x="114591" y="-33028"/>
                      <a:pt x="340016" y="13328"/>
                      <a:pt x="216826" y="153028"/>
                    </a:cubicBezTo>
                    <a:close/>
                    <a:moveTo>
                      <a:pt x="54901" y="378453"/>
                    </a:moveTo>
                    <a:cubicBezTo>
                      <a:pt x="170471" y="401313"/>
                      <a:pt x="394626" y="293997"/>
                      <a:pt x="234606" y="185413"/>
                    </a:cubicBezTo>
                    <a:cubicBezTo>
                      <a:pt x="203491" y="168903"/>
                      <a:pt x="153326" y="198747"/>
                      <a:pt x="133006" y="175253"/>
                    </a:cubicBezTo>
                    <a:cubicBezTo>
                      <a:pt x="144436" y="149218"/>
                      <a:pt x="190791" y="149218"/>
                      <a:pt x="209206" y="125088"/>
                    </a:cubicBezTo>
                    <a:cubicBezTo>
                      <a:pt x="287946" y="16503"/>
                      <a:pt x="107606" y="-642"/>
                      <a:pt x="40296" y="38093"/>
                    </a:cubicBezTo>
                    <a:cubicBezTo>
                      <a:pt x="2831" y="52697"/>
                      <a:pt x="33311" y="106672"/>
                      <a:pt x="30136" y="137153"/>
                    </a:cubicBezTo>
                    <a:cubicBezTo>
                      <a:pt x="44741" y="218433"/>
                      <a:pt x="40931" y="297808"/>
                      <a:pt x="54901" y="37845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65" name="Google Shape;169;p3">
                <a:extLst>
                  <a:ext uri="{FF2B5EF4-FFF2-40B4-BE49-F238E27FC236}">
                    <a16:creationId xmlns:a16="http://schemas.microsoft.com/office/drawing/2014/main" id="{66796A3A-7456-4310-BB79-D5EFA11CDF29}"/>
                  </a:ext>
                </a:extLst>
              </p:cNvPr>
              <p:cNvSpPr/>
              <p:nvPr/>
            </p:nvSpPr>
            <p:spPr>
              <a:xfrm>
                <a:off x="6856211" y="3513113"/>
                <a:ext cx="129046" cy="89953"/>
              </a:xfrm>
              <a:custGeom>
                <a:avLst/>
                <a:gdLst/>
                <a:ahLst/>
                <a:cxnLst/>
                <a:rect l="l" t="t" r="r" b="b"/>
                <a:pathLst>
                  <a:path w="150053" h="104597" extrusionOk="0">
                    <a:moveTo>
                      <a:pt x="0" y="23515"/>
                    </a:moveTo>
                    <a:cubicBezTo>
                      <a:pt x="96520" y="-43160"/>
                      <a:pt x="239395" y="48280"/>
                      <a:pt x="74930" y="95905"/>
                    </a:cubicBezTo>
                    <a:cubicBezTo>
                      <a:pt x="-23495" y="118765"/>
                      <a:pt x="19685" y="97175"/>
                      <a:pt x="0" y="23515"/>
                    </a:cubicBezTo>
                    <a:close/>
                    <a:moveTo>
                      <a:pt x="92075" y="16530"/>
                    </a:moveTo>
                    <a:cubicBezTo>
                      <a:pt x="57150" y="22880"/>
                      <a:pt x="17780" y="24150"/>
                      <a:pt x="31750" y="69235"/>
                    </a:cubicBezTo>
                    <a:cubicBezTo>
                      <a:pt x="53340" y="109875"/>
                      <a:pt x="184150" y="29230"/>
                      <a:pt x="92075" y="1653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66" name="Google Shape;170;p3">
                <a:extLst>
                  <a:ext uri="{FF2B5EF4-FFF2-40B4-BE49-F238E27FC236}">
                    <a16:creationId xmlns:a16="http://schemas.microsoft.com/office/drawing/2014/main" id="{5AE20EA3-139D-4E96-87EA-6ABD338A141A}"/>
                  </a:ext>
                </a:extLst>
              </p:cNvPr>
              <p:cNvSpPr/>
              <p:nvPr/>
            </p:nvSpPr>
            <p:spPr>
              <a:xfrm>
                <a:off x="6843642" y="3359143"/>
                <a:ext cx="112645" cy="75760"/>
              </a:xfrm>
              <a:custGeom>
                <a:avLst/>
                <a:gdLst/>
                <a:ahLst/>
                <a:cxnLst/>
                <a:rect l="l" t="t" r="r" b="b"/>
                <a:pathLst>
                  <a:path w="130983" h="88093" extrusionOk="0">
                    <a:moveTo>
                      <a:pt x="0" y="22716"/>
                    </a:moveTo>
                    <a:cubicBezTo>
                      <a:pt x="33020" y="8111"/>
                      <a:pt x="162560" y="-29989"/>
                      <a:pt x="123825" y="44941"/>
                    </a:cubicBezTo>
                    <a:cubicBezTo>
                      <a:pt x="67945" y="81136"/>
                      <a:pt x="0" y="130031"/>
                      <a:pt x="0" y="22716"/>
                    </a:cubicBezTo>
                    <a:close/>
                    <a:moveTo>
                      <a:pt x="34289" y="67166"/>
                    </a:moveTo>
                    <a:cubicBezTo>
                      <a:pt x="60325" y="58911"/>
                      <a:pt x="96520" y="46846"/>
                      <a:pt x="102235" y="20176"/>
                    </a:cubicBezTo>
                    <a:cubicBezTo>
                      <a:pt x="74295" y="17636"/>
                      <a:pt x="50164" y="25256"/>
                      <a:pt x="27305" y="37321"/>
                    </a:cubicBezTo>
                    <a:cubicBezTo>
                      <a:pt x="24130" y="49386"/>
                      <a:pt x="24764" y="57641"/>
                      <a:pt x="34289" y="6716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60" name="Google Shape;171;p3">
              <a:extLst>
                <a:ext uri="{FF2B5EF4-FFF2-40B4-BE49-F238E27FC236}">
                  <a16:creationId xmlns:a16="http://schemas.microsoft.com/office/drawing/2014/main" id="{64EE9073-F1CC-4483-89C9-142F060D1563}"/>
                </a:ext>
              </a:extLst>
            </p:cNvPr>
            <p:cNvSpPr/>
            <p:nvPr/>
          </p:nvSpPr>
          <p:spPr>
            <a:xfrm>
              <a:off x="4843337" y="836403"/>
              <a:ext cx="377232" cy="204888"/>
            </a:xfrm>
            <a:custGeom>
              <a:avLst/>
              <a:gdLst/>
              <a:ahLst/>
              <a:cxnLst/>
              <a:rect l="l" t="t" r="r" b="b"/>
              <a:pathLst>
                <a:path w="550703" h="299106" extrusionOk="0">
                  <a:moveTo>
                    <a:pt x="315400" y="163550"/>
                  </a:moveTo>
                  <a:cubicBezTo>
                    <a:pt x="376995" y="159105"/>
                    <a:pt x="479865" y="221335"/>
                    <a:pt x="505265" y="137515"/>
                  </a:cubicBezTo>
                  <a:cubicBezTo>
                    <a:pt x="521140" y="29565"/>
                    <a:pt x="410015" y="17500"/>
                    <a:pt x="347150" y="85445"/>
                  </a:cubicBezTo>
                  <a:cubicBezTo>
                    <a:pt x="271585" y="162915"/>
                    <a:pt x="215070" y="322300"/>
                    <a:pt x="82355" y="296265"/>
                  </a:cubicBezTo>
                  <a:cubicBezTo>
                    <a:pt x="-122750" y="216255"/>
                    <a:pt x="103945" y="13055"/>
                    <a:pt x="235390" y="104495"/>
                  </a:cubicBezTo>
                  <a:cubicBezTo>
                    <a:pt x="255075" y="120370"/>
                    <a:pt x="243645" y="141960"/>
                    <a:pt x="220150" y="127990"/>
                  </a:cubicBezTo>
                  <a:cubicBezTo>
                    <a:pt x="107120" y="72745"/>
                    <a:pt x="-35755" y="251180"/>
                    <a:pt x="118550" y="248640"/>
                  </a:cubicBezTo>
                  <a:cubicBezTo>
                    <a:pt x="248725" y="211810"/>
                    <a:pt x="274760" y="49885"/>
                    <a:pt x="402395" y="9245"/>
                  </a:cubicBezTo>
                  <a:cubicBezTo>
                    <a:pt x="433510" y="1625"/>
                    <a:pt x="474785" y="-10440"/>
                    <a:pt x="498280" y="17500"/>
                  </a:cubicBezTo>
                  <a:cubicBezTo>
                    <a:pt x="519235" y="48615"/>
                    <a:pt x="559240" y="75920"/>
                    <a:pt x="549080" y="117830"/>
                  </a:cubicBezTo>
                  <a:cubicBezTo>
                    <a:pt x="541460" y="223240"/>
                    <a:pt x="350325" y="257530"/>
                    <a:pt x="315400" y="163550"/>
                  </a:cubicBezTo>
                  <a:close/>
                  <a:moveTo>
                    <a:pt x="128710" y="265785"/>
                  </a:moveTo>
                  <a:cubicBezTo>
                    <a:pt x="119820" y="279120"/>
                    <a:pt x="105215" y="267055"/>
                    <a:pt x="94420" y="274040"/>
                  </a:cubicBezTo>
                  <a:cubicBezTo>
                    <a:pt x="113470" y="281660"/>
                    <a:pt x="117280" y="256260"/>
                    <a:pt x="133790" y="268960"/>
                  </a:cubicBezTo>
                  <a:cubicBezTo>
                    <a:pt x="135060" y="268960"/>
                    <a:pt x="136330" y="267690"/>
                    <a:pt x="137600" y="267055"/>
                  </a:cubicBezTo>
                  <a:cubicBezTo>
                    <a:pt x="134425" y="266420"/>
                    <a:pt x="131885" y="266420"/>
                    <a:pt x="128710" y="265785"/>
                  </a:cubicBezTo>
                  <a:close/>
                  <a:moveTo>
                    <a:pt x="39175" y="164820"/>
                  </a:moveTo>
                  <a:cubicBezTo>
                    <a:pt x="11870" y="209270"/>
                    <a:pt x="25205" y="257530"/>
                    <a:pt x="65210" y="265150"/>
                  </a:cubicBezTo>
                  <a:cubicBezTo>
                    <a:pt x="34730" y="237210"/>
                    <a:pt x="20125" y="205460"/>
                    <a:pt x="39175" y="16482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61" name="Google Shape;172;p3">
              <a:extLst>
                <a:ext uri="{FF2B5EF4-FFF2-40B4-BE49-F238E27FC236}">
                  <a16:creationId xmlns:a16="http://schemas.microsoft.com/office/drawing/2014/main" id="{CB7DB896-33B3-41DC-BB01-F2D7CB78EADD}"/>
                </a:ext>
              </a:extLst>
            </p:cNvPr>
            <p:cNvSpPr/>
            <p:nvPr/>
          </p:nvSpPr>
          <p:spPr>
            <a:xfrm rot="-2218186">
              <a:off x="-38492" y="151543"/>
              <a:ext cx="236276" cy="230041"/>
            </a:xfrm>
            <a:custGeom>
              <a:avLst/>
              <a:gdLst/>
              <a:ahLst/>
              <a:cxnLst/>
              <a:rect l="l" t="t" r="r" b="b"/>
              <a:pathLst>
                <a:path w="274579" h="267334" extrusionOk="0">
                  <a:moveTo>
                    <a:pt x="222259" y="167640"/>
                  </a:moveTo>
                  <a:cubicBezTo>
                    <a:pt x="200669" y="206375"/>
                    <a:pt x="227974" y="238760"/>
                    <a:pt x="193049" y="267335"/>
                  </a:cubicBezTo>
                  <a:cubicBezTo>
                    <a:pt x="166379" y="251460"/>
                    <a:pt x="158124" y="217805"/>
                    <a:pt x="132724" y="198755"/>
                  </a:cubicBezTo>
                  <a:cubicBezTo>
                    <a:pt x="50809" y="235585"/>
                    <a:pt x="-626" y="271780"/>
                    <a:pt x="51444" y="151130"/>
                  </a:cubicBezTo>
                  <a:cubicBezTo>
                    <a:pt x="27949" y="105410"/>
                    <a:pt x="-53966" y="71120"/>
                    <a:pt x="55889" y="73660"/>
                  </a:cubicBezTo>
                  <a:cubicBezTo>
                    <a:pt x="107959" y="83820"/>
                    <a:pt x="113674" y="19685"/>
                    <a:pt x="156854" y="0"/>
                  </a:cubicBezTo>
                  <a:cubicBezTo>
                    <a:pt x="186064" y="11430"/>
                    <a:pt x="174634" y="57785"/>
                    <a:pt x="184794" y="83185"/>
                  </a:cubicBezTo>
                  <a:cubicBezTo>
                    <a:pt x="215274" y="124460"/>
                    <a:pt x="346084" y="109220"/>
                    <a:pt x="222259" y="167640"/>
                  </a:cubicBezTo>
                  <a:close/>
                  <a:moveTo>
                    <a:pt x="151774" y="35560"/>
                  </a:moveTo>
                  <a:cubicBezTo>
                    <a:pt x="100339" y="85725"/>
                    <a:pt x="120659" y="93980"/>
                    <a:pt x="39379" y="97790"/>
                  </a:cubicBezTo>
                  <a:cubicBezTo>
                    <a:pt x="53349" y="115570"/>
                    <a:pt x="65414" y="131445"/>
                    <a:pt x="76844" y="146685"/>
                  </a:cubicBezTo>
                  <a:cubicBezTo>
                    <a:pt x="74304" y="165735"/>
                    <a:pt x="60969" y="180340"/>
                    <a:pt x="63509" y="201295"/>
                  </a:cubicBezTo>
                  <a:cubicBezTo>
                    <a:pt x="123199" y="180975"/>
                    <a:pt x="142884" y="154940"/>
                    <a:pt x="178444" y="226695"/>
                  </a:cubicBezTo>
                  <a:cubicBezTo>
                    <a:pt x="181619" y="231140"/>
                    <a:pt x="184794" y="234950"/>
                    <a:pt x="191779" y="231140"/>
                  </a:cubicBezTo>
                  <a:cubicBezTo>
                    <a:pt x="200034" y="175260"/>
                    <a:pt x="182889" y="165735"/>
                    <a:pt x="231784" y="129540"/>
                  </a:cubicBezTo>
                  <a:cubicBezTo>
                    <a:pt x="152409" y="103505"/>
                    <a:pt x="167014" y="113030"/>
                    <a:pt x="151774" y="3556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62" name="Google Shape;173;p3">
              <a:extLst>
                <a:ext uri="{FF2B5EF4-FFF2-40B4-BE49-F238E27FC236}">
                  <a16:creationId xmlns:a16="http://schemas.microsoft.com/office/drawing/2014/main" id="{F428F3A0-7407-4A41-8EC0-E729B29E0AB0}"/>
                </a:ext>
              </a:extLst>
            </p:cNvPr>
            <p:cNvSpPr/>
            <p:nvPr/>
          </p:nvSpPr>
          <p:spPr>
            <a:xfrm rot="1464154">
              <a:off x="4569091" y="-94554"/>
              <a:ext cx="235935" cy="229710"/>
            </a:xfrm>
            <a:custGeom>
              <a:avLst/>
              <a:gdLst/>
              <a:ahLst/>
              <a:cxnLst/>
              <a:rect l="l" t="t" r="r" b="b"/>
              <a:pathLst>
                <a:path w="274579" h="267334" extrusionOk="0">
                  <a:moveTo>
                    <a:pt x="222259" y="167640"/>
                  </a:moveTo>
                  <a:cubicBezTo>
                    <a:pt x="200669" y="206375"/>
                    <a:pt x="227974" y="238760"/>
                    <a:pt x="193049" y="267335"/>
                  </a:cubicBezTo>
                  <a:cubicBezTo>
                    <a:pt x="166379" y="251460"/>
                    <a:pt x="158124" y="217805"/>
                    <a:pt x="132724" y="198755"/>
                  </a:cubicBezTo>
                  <a:cubicBezTo>
                    <a:pt x="50809" y="235585"/>
                    <a:pt x="-626" y="271780"/>
                    <a:pt x="51444" y="151130"/>
                  </a:cubicBezTo>
                  <a:cubicBezTo>
                    <a:pt x="27949" y="105410"/>
                    <a:pt x="-53966" y="71120"/>
                    <a:pt x="55889" y="73660"/>
                  </a:cubicBezTo>
                  <a:cubicBezTo>
                    <a:pt x="107959" y="83820"/>
                    <a:pt x="113674" y="19685"/>
                    <a:pt x="156854" y="0"/>
                  </a:cubicBezTo>
                  <a:cubicBezTo>
                    <a:pt x="186064" y="11430"/>
                    <a:pt x="174634" y="57785"/>
                    <a:pt x="184794" y="83185"/>
                  </a:cubicBezTo>
                  <a:cubicBezTo>
                    <a:pt x="215274" y="124460"/>
                    <a:pt x="346084" y="109220"/>
                    <a:pt x="222259" y="167640"/>
                  </a:cubicBezTo>
                  <a:close/>
                  <a:moveTo>
                    <a:pt x="151774" y="35560"/>
                  </a:moveTo>
                  <a:cubicBezTo>
                    <a:pt x="100339" y="85725"/>
                    <a:pt x="120659" y="93980"/>
                    <a:pt x="39379" y="97790"/>
                  </a:cubicBezTo>
                  <a:cubicBezTo>
                    <a:pt x="53349" y="115570"/>
                    <a:pt x="65414" y="131445"/>
                    <a:pt x="76844" y="146685"/>
                  </a:cubicBezTo>
                  <a:cubicBezTo>
                    <a:pt x="74304" y="165735"/>
                    <a:pt x="60969" y="180340"/>
                    <a:pt x="63509" y="201295"/>
                  </a:cubicBezTo>
                  <a:cubicBezTo>
                    <a:pt x="123199" y="180975"/>
                    <a:pt x="142884" y="154940"/>
                    <a:pt x="178444" y="226695"/>
                  </a:cubicBezTo>
                  <a:cubicBezTo>
                    <a:pt x="181619" y="231140"/>
                    <a:pt x="184794" y="234950"/>
                    <a:pt x="191779" y="231140"/>
                  </a:cubicBezTo>
                  <a:cubicBezTo>
                    <a:pt x="200034" y="175260"/>
                    <a:pt x="182889" y="165735"/>
                    <a:pt x="231784" y="129540"/>
                  </a:cubicBezTo>
                  <a:cubicBezTo>
                    <a:pt x="152409" y="103505"/>
                    <a:pt x="167014" y="113030"/>
                    <a:pt x="151774" y="3556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63" name="Google Shape;174;p3">
              <a:extLst>
                <a:ext uri="{FF2B5EF4-FFF2-40B4-BE49-F238E27FC236}">
                  <a16:creationId xmlns:a16="http://schemas.microsoft.com/office/drawing/2014/main" id="{4F767371-F835-49CF-A9BA-C3C144C2E73A}"/>
                </a:ext>
              </a:extLst>
            </p:cNvPr>
            <p:cNvSpPr/>
            <p:nvPr/>
          </p:nvSpPr>
          <p:spPr>
            <a:xfrm rot="-2221343">
              <a:off x="1866371" y="3538528"/>
              <a:ext cx="206347" cy="200902"/>
            </a:xfrm>
            <a:custGeom>
              <a:avLst/>
              <a:gdLst/>
              <a:ahLst/>
              <a:cxnLst/>
              <a:rect l="l" t="t" r="r" b="b"/>
              <a:pathLst>
                <a:path w="274579" h="267334" extrusionOk="0">
                  <a:moveTo>
                    <a:pt x="222259" y="167640"/>
                  </a:moveTo>
                  <a:cubicBezTo>
                    <a:pt x="200669" y="206375"/>
                    <a:pt x="227974" y="238760"/>
                    <a:pt x="193049" y="267335"/>
                  </a:cubicBezTo>
                  <a:cubicBezTo>
                    <a:pt x="166379" y="251460"/>
                    <a:pt x="158124" y="217805"/>
                    <a:pt x="132724" y="198755"/>
                  </a:cubicBezTo>
                  <a:cubicBezTo>
                    <a:pt x="50809" y="235585"/>
                    <a:pt x="-626" y="271780"/>
                    <a:pt x="51444" y="151130"/>
                  </a:cubicBezTo>
                  <a:cubicBezTo>
                    <a:pt x="27949" y="105410"/>
                    <a:pt x="-53966" y="71120"/>
                    <a:pt x="55889" y="73660"/>
                  </a:cubicBezTo>
                  <a:cubicBezTo>
                    <a:pt x="107959" y="83820"/>
                    <a:pt x="113674" y="19685"/>
                    <a:pt x="156854" y="0"/>
                  </a:cubicBezTo>
                  <a:cubicBezTo>
                    <a:pt x="186064" y="11430"/>
                    <a:pt x="174634" y="57785"/>
                    <a:pt x="184794" y="83185"/>
                  </a:cubicBezTo>
                  <a:cubicBezTo>
                    <a:pt x="215274" y="124460"/>
                    <a:pt x="346084" y="109220"/>
                    <a:pt x="222259" y="167640"/>
                  </a:cubicBezTo>
                  <a:close/>
                  <a:moveTo>
                    <a:pt x="151774" y="35560"/>
                  </a:moveTo>
                  <a:cubicBezTo>
                    <a:pt x="100339" y="85725"/>
                    <a:pt x="120659" y="93980"/>
                    <a:pt x="39379" y="97790"/>
                  </a:cubicBezTo>
                  <a:cubicBezTo>
                    <a:pt x="53349" y="115570"/>
                    <a:pt x="65414" y="131445"/>
                    <a:pt x="76844" y="146685"/>
                  </a:cubicBezTo>
                  <a:cubicBezTo>
                    <a:pt x="74304" y="165735"/>
                    <a:pt x="60969" y="180340"/>
                    <a:pt x="63509" y="201295"/>
                  </a:cubicBezTo>
                  <a:cubicBezTo>
                    <a:pt x="123199" y="180975"/>
                    <a:pt x="142884" y="154940"/>
                    <a:pt x="178444" y="226695"/>
                  </a:cubicBezTo>
                  <a:cubicBezTo>
                    <a:pt x="181619" y="231140"/>
                    <a:pt x="184794" y="234950"/>
                    <a:pt x="191779" y="231140"/>
                  </a:cubicBezTo>
                  <a:cubicBezTo>
                    <a:pt x="200034" y="175260"/>
                    <a:pt x="182889" y="165735"/>
                    <a:pt x="231784" y="129540"/>
                  </a:cubicBezTo>
                  <a:cubicBezTo>
                    <a:pt x="152409" y="103505"/>
                    <a:pt x="167014" y="113030"/>
                    <a:pt x="151774" y="3556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081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B)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Object 73" hidden="1">
            <a:extLst>
              <a:ext uri="{FF2B5EF4-FFF2-40B4-BE49-F238E27FC236}">
                <a16:creationId xmlns:a16="http://schemas.microsoft.com/office/drawing/2014/main" id="{84782DE8-9767-4702-8C7F-EAE3A0FA6E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3699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4" name="Object 73" hidden="1">
                        <a:extLst>
                          <a:ext uri="{FF2B5EF4-FFF2-40B4-BE49-F238E27FC236}">
                            <a16:creationId xmlns:a16="http://schemas.microsoft.com/office/drawing/2014/main" id="{84782DE8-9767-4702-8C7F-EAE3A0FA6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B4DA3B0F-03CD-4108-8860-2372781294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4675" y="-77484"/>
            <a:ext cx="12501349" cy="71624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609725" y="1122363"/>
            <a:ext cx="9010650" cy="1984631"/>
          </a:xfrm>
        </p:spPr>
        <p:txBody>
          <a:bodyPr vert="horz" anchor="ctr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3B8EA68-780D-408D-A1B0-D4E553F60DC6}"/>
              </a:ext>
            </a:extLst>
          </p:cNvPr>
          <p:cNvSpPr/>
          <p:nvPr userDrawn="1"/>
        </p:nvSpPr>
        <p:spPr>
          <a:xfrm>
            <a:off x="5991225" y="6496050"/>
            <a:ext cx="295275" cy="219075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</p:spTree>
    <p:extLst>
      <p:ext uri="{BB962C8B-B14F-4D97-AF65-F5344CB8AC3E}">
        <p14:creationId xmlns:p14="http://schemas.microsoft.com/office/powerpoint/2010/main" val="4004401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09031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grpSp>
        <p:nvGrpSpPr>
          <p:cNvPr id="9" name="Google Shape;22;p2">
            <a:extLst>
              <a:ext uri="{FF2B5EF4-FFF2-40B4-BE49-F238E27FC236}">
                <a16:creationId xmlns:a16="http://schemas.microsoft.com/office/drawing/2014/main" id="{CF860034-7B08-4F3D-B762-9A31C79575E9}"/>
              </a:ext>
            </a:extLst>
          </p:cNvPr>
          <p:cNvGrpSpPr/>
          <p:nvPr userDrawn="1"/>
        </p:nvGrpSpPr>
        <p:grpSpPr>
          <a:xfrm>
            <a:off x="81519" y="-84327"/>
            <a:ext cx="12028962" cy="7026653"/>
            <a:chOff x="-85500" y="-168653"/>
            <a:chExt cx="9290344" cy="5426904"/>
          </a:xfrm>
        </p:grpSpPr>
        <p:grpSp>
          <p:nvGrpSpPr>
            <p:cNvPr id="14" name="Google Shape;23;p2">
              <a:extLst>
                <a:ext uri="{FF2B5EF4-FFF2-40B4-BE49-F238E27FC236}">
                  <a16:creationId xmlns:a16="http://schemas.microsoft.com/office/drawing/2014/main" id="{374DAF26-CC1A-4B23-B786-9BEE004A4999}"/>
                </a:ext>
              </a:extLst>
            </p:cNvPr>
            <p:cNvGrpSpPr/>
            <p:nvPr/>
          </p:nvGrpSpPr>
          <p:grpSpPr>
            <a:xfrm>
              <a:off x="3870624" y="271731"/>
              <a:ext cx="531017" cy="704779"/>
              <a:chOff x="3870624" y="271731"/>
              <a:chExt cx="531017" cy="704779"/>
            </a:xfrm>
          </p:grpSpPr>
          <p:sp>
            <p:nvSpPr>
              <p:cNvPr id="100" name="Google Shape;24;p2">
                <a:extLst>
                  <a:ext uri="{FF2B5EF4-FFF2-40B4-BE49-F238E27FC236}">
                    <a16:creationId xmlns:a16="http://schemas.microsoft.com/office/drawing/2014/main" id="{5CAA66CA-0C74-4E12-A951-E58F094E3B5A}"/>
                  </a:ext>
                </a:extLst>
              </p:cNvPr>
              <p:cNvSpPr/>
              <p:nvPr/>
            </p:nvSpPr>
            <p:spPr>
              <a:xfrm>
                <a:off x="3870624" y="311200"/>
                <a:ext cx="425807" cy="385849"/>
              </a:xfrm>
              <a:custGeom>
                <a:avLst/>
                <a:gdLst/>
                <a:ahLst/>
                <a:cxnLst/>
                <a:rect l="l" t="t" r="r" b="b"/>
                <a:pathLst>
                  <a:path w="35017" h="31731" extrusionOk="0">
                    <a:moveTo>
                      <a:pt x="16911" y="1"/>
                    </a:moveTo>
                    <a:lnTo>
                      <a:pt x="15596" y="61"/>
                    </a:lnTo>
                    <a:lnTo>
                      <a:pt x="14282" y="240"/>
                    </a:lnTo>
                    <a:lnTo>
                      <a:pt x="13027" y="479"/>
                    </a:lnTo>
                    <a:lnTo>
                      <a:pt x="11772" y="837"/>
                    </a:lnTo>
                    <a:lnTo>
                      <a:pt x="10517" y="1256"/>
                    </a:lnTo>
                    <a:lnTo>
                      <a:pt x="9442" y="1734"/>
                    </a:lnTo>
                    <a:lnTo>
                      <a:pt x="8366" y="2331"/>
                    </a:lnTo>
                    <a:lnTo>
                      <a:pt x="7350" y="2989"/>
                    </a:lnTo>
                    <a:lnTo>
                      <a:pt x="6454" y="3706"/>
                    </a:lnTo>
                    <a:lnTo>
                      <a:pt x="5558" y="4542"/>
                    </a:lnTo>
                    <a:lnTo>
                      <a:pt x="4721" y="5379"/>
                    </a:lnTo>
                    <a:lnTo>
                      <a:pt x="3944" y="6275"/>
                    </a:lnTo>
                    <a:lnTo>
                      <a:pt x="3227" y="7231"/>
                    </a:lnTo>
                    <a:lnTo>
                      <a:pt x="2570" y="8247"/>
                    </a:lnTo>
                    <a:lnTo>
                      <a:pt x="2032" y="9323"/>
                    </a:lnTo>
                    <a:lnTo>
                      <a:pt x="1494" y="10398"/>
                    </a:lnTo>
                    <a:lnTo>
                      <a:pt x="1076" y="11534"/>
                    </a:lnTo>
                    <a:lnTo>
                      <a:pt x="717" y="12669"/>
                    </a:lnTo>
                    <a:lnTo>
                      <a:pt x="419" y="13804"/>
                    </a:lnTo>
                    <a:lnTo>
                      <a:pt x="180" y="14999"/>
                    </a:lnTo>
                    <a:lnTo>
                      <a:pt x="60" y="16194"/>
                    </a:lnTo>
                    <a:lnTo>
                      <a:pt x="0" y="17569"/>
                    </a:lnTo>
                    <a:lnTo>
                      <a:pt x="60" y="18824"/>
                    </a:lnTo>
                    <a:lnTo>
                      <a:pt x="180" y="20079"/>
                    </a:lnTo>
                    <a:lnTo>
                      <a:pt x="478" y="21274"/>
                    </a:lnTo>
                    <a:lnTo>
                      <a:pt x="837" y="22349"/>
                    </a:lnTo>
                    <a:lnTo>
                      <a:pt x="1315" y="23425"/>
                    </a:lnTo>
                    <a:lnTo>
                      <a:pt x="1853" y="24441"/>
                    </a:lnTo>
                    <a:lnTo>
                      <a:pt x="2510" y="25457"/>
                    </a:lnTo>
                    <a:lnTo>
                      <a:pt x="3287" y="26353"/>
                    </a:lnTo>
                    <a:lnTo>
                      <a:pt x="4064" y="27189"/>
                    </a:lnTo>
                    <a:lnTo>
                      <a:pt x="4960" y="27966"/>
                    </a:lnTo>
                    <a:lnTo>
                      <a:pt x="5976" y="28683"/>
                    </a:lnTo>
                    <a:lnTo>
                      <a:pt x="6992" y="29281"/>
                    </a:lnTo>
                    <a:lnTo>
                      <a:pt x="8127" y="29878"/>
                    </a:lnTo>
                    <a:lnTo>
                      <a:pt x="9322" y="30356"/>
                    </a:lnTo>
                    <a:lnTo>
                      <a:pt x="10517" y="30834"/>
                    </a:lnTo>
                    <a:lnTo>
                      <a:pt x="11892" y="31193"/>
                    </a:lnTo>
                    <a:lnTo>
                      <a:pt x="13206" y="31492"/>
                    </a:lnTo>
                    <a:lnTo>
                      <a:pt x="14581" y="31671"/>
                    </a:lnTo>
                    <a:lnTo>
                      <a:pt x="16015" y="31731"/>
                    </a:lnTo>
                    <a:lnTo>
                      <a:pt x="17389" y="31671"/>
                    </a:lnTo>
                    <a:lnTo>
                      <a:pt x="18763" y="31552"/>
                    </a:lnTo>
                    <a:lnTo>
                      <a:pt x="20138" y="31313"/>
                    </a:lnTo>
                    <a:lnTo>
                      <a:pt x="21452" y="30954"/>
                    </a:lnTo>
                    <a:lnTo>
                      <a:pt x="22110" y="30715"/>
                    </a:lnTo>
                    <a:lnTo>
                      <a:pt x="22767" y="30476"/>
                    </a:lnTo>
                    <a:lnTo>
                      <a:pt x="24022" y="29878"/>
                    </a:lnTo>
                    <a:lnTo>
                      <a:pt x="25217" y="29161"/>
                    </a:lnTo>
                    <a:lnTo>
                      <a:pt x="26293" y="28385"/>
                    </a:lnTo>
                    <a:lnTo>
                      <a:pt x="27428" y="27548"/>
                    </a:lnTo>
                    <a:lnTo>
                      <a:pt x="28444" y="26652"/>
                    </a:lnTo>
                    <a:lnTo>
                      <a:pt x="30476" y="24739"/>
                    </a:lnTo>
                    <a:lnTo>
                      <a:pt x="31013" y="24261"/>
                    </a:lnTo>
                    <a:lnTo>
                      <a:pt x="31551" y="23664"/>
                    </a:lnTo>
                    <a:lnTo>
                      <a:pt x="32029" y="23126"/>
                    </a:lnTo>
                    <a:lnTo>
                      <a:pt x="32447" y="22529"/>
                    </a:lnTo>
                    <a:lnTo>
                      <a:pt x="32866" y="21931"/>
                    </a:lnTo>
                    <a:lnTo>
                      <a:pt x="33224" y="21333"/>
                    </a:lnTo>
                    <a:lnTo>
                      <a:pt x="33523" y="20676"/>
                    </a:lnTo>
                    <a:lnTo>
                      <a:pt x="33822" y="20019"/>
                    </a:lnTo>
                    <a:lnTo>
                      <a:pt x="34360" y="18704"/>
                    </a:lnTo>
                    <a:lnTo>
                      <a:pt x="34718" y="17390"/>
                    </a:lnTo>
                    <a:lnTo>
                      <a:pt x="34957" y="16015"/>
                    </a:lnTo>
                    <a:lnTo>
                      <a:pt x="35017" y="14641"/>
                    </a:lnTo>
                    <a:lnTo>
                      <a:pt x="35017" y="13924"/>
                    </a:lnTo>
                    <a:lnTo>
                      <a:pt x="34957" y="13266"/>
                    </a:lnTo>
                    <a:lnTo>
                      <a:pt x="34838" y="12549"/>
                    </a:lnTo>
                    <a:lnTo>
                      <a:pt x="34718" y="11892"/>
                    </a:lnTo>
                    <a:lnTo>
                      <a:pt x="34599" y="11235"/>
                    </a:lnTo>
                    <a:lnTo>
                      <a:pt x="34360" y="10577"/>
                    </a:lnTo>
                    <a:lnTo>
                      <a:pt x="34121" y="9920"/>
                    </a:lnTo>
                    <a:lnTo>
                      <a:pt x="33882" y="9263"/>
                    </a:lnTo>
                    <a:lnTo>
                      <a:pt x="33583" y="8606"/>
                    </a:lnTo>
                    <a:lnTo>
                      <a:pt x="33224" y="8008"/>
                    </a:lnTo>
                    <a:lnTo>
                      <a:pt x="32806" y="7410"/>
                    </a:lnTo>
                    <a:lnTo>
                      <a:pt x="32388" y="6813"/>
                    </a:lnTo>
                    <a:lnTo>
                      <a:pt x="31910" y="6275"/>
                    </a:lnTo>
                    <a:lnTo>
                      <a:pt x="31432" y="5737"/>
                    </a:lnTo>
                    <a:lnTo>
                      <a:pt x="30894" y="5200"/>
                    </a:lnTo>
                    <a:lnTo>
                      <a:pt x="30296" y="4721"/>
                    </a:lnTo>
                    <a:lnTo>
                      <a:pt x="29280" y="3945"/>
                    </a:lnTo>
                    <a:lnTo>
                      <a:pt x="28205" y="3228"/>
                    </a:lnTo>
                    <a:lnTo>
                      <a:pt x="27069" y="2570"/>
                    </a:lnTo>
                    <a:lnTo>
                      <a:pt x="25874" y="1973"/>
                    </a:lnTo>
                    <a:lnTo>
                      <a:pt x="24679" y="1435"/>
                    </a:lnTo>
                    <a:lnTo>
                      <a:pt x="23424" y="1017"/>
                    </a:lnTo>
                    <a:lnTo>
                      <a:pt x="22170" y="658"/>
                    </a:lnTo>
                    <a:lnTo>
                      <a:pt x="20855" y="359"/>
                    </a:lnTo>
                    <a:lnTo>
                      <a:pt x="19540" y="180"/>
                    </a:lnTo>
                    <a:lnTo>
                      <a:pt x="18226" y="61"/>
                    </a:lnTo>
                    <a:lnTo>
                      <a:pt x="16911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" name="Google Shape;25;p2">
                <a:extLst>
                  <a:ext uri="{FF2B5EF4-FFF2-40B4-BE49-F238E27FC236}">
                    <a16:creationId xmlns:a16="http://schemas.microsoft.com/office/drawing/2014/main" id="{4F9740FA-1D78-4B0B-8ED1-34B3D3955579}"/>
                  </a:ext>
                </a:extLst>
              </p:cNvPr>
              <p:cNvSpPr/>
              <p:nvPr/>
            </p:nvSpPr>
            <p:spPr>
              <a:xfrm>
                <a:off x="3901992" y="271731"/>
                <a:ext cx="499650" cy="704779"/>
              </a:xfrm>
              <a:custGeom>
                <a:avLst/>
                <a:gdLst/>
                <a:ahLst/>
                <a:cxnLst/>
                <a:rect l="l" t="t" r="r" b="b"/>
                <a:pathLst>
                  <a:path w="580988" h="819510" extrusionOk="0">
                    <a:moveTo>
                      <a:pt x="261759" y="635000"/>
                    </a:moveTo>
                    <a:cubicBezTo>
                      <a:pt x="260489" y="670560"/>
                      <a:pt x="259854" y="707390"/>
                      <a:pt x="258584" y="743585"/>
                    </a:cubicBezTo>
                    <a:cubicBezTo>
                      <a:pt x="292874" y="774065"/>
                      <a:pt x="337324" y="753745"/>
                      <a:pt x="370344" y="778510"/>
                    </a:cubicBezTo>
                    <a:cubicBezTo>
                      <a:pt x="388124" y="796290"/>
                      <a:pt x="360184" y="805815"/>
                      <a:pt x="345579" y="806450"/>
                    </a:cubicBezTo>
                    <a:cubicBezTo>
                      <a:pt x="281444" y="810895"/>
                      <a:pt x="120154" y="844550"/>
                      <a:pt x="84594" y="782320"/>
                    </a:cubicBezTo>
                    <a:cubicBezTo>
                      <a:pt x="104914" y="743585"/>
                      <a:pt x="160159" y="739140"/>
                      <a:pt x="200164" y="733425"/>
                    </a:cubicBezTo>
                    <a:cubicBezTo>
                      <a:pt x="208419" y="702310"/>
                      <a:pt x="212229" y="670560"/>
                      <a:pt x="214769" y="636905"/>
                    </a:cubicBezTo>
                    <a:cubicBezTo>
                      <a:pt x="180479" y="630555"/>
                      <a:pt x="21729" y="575945"/>
                      <a:pt x="35064" y="537210"/>
                    </a:cubicBezTo>
                    <a:cubicBezTo>
                      <a:pt x="45859" y="514985"/>
                      <a:pt x="66179" y="514985"/>
                      <a:pt x="85864" y="524510"/>
                    </a:cubicBezTo>
                    <a:cubicBezTo>
                      <a:pt x="101739" y="527685"/>
                      <a:pt x="102374" y="527685"/>
                      <a:pt x="110629" y="506730"/>
                    </a:cubicBezTo>
                    <a:cubicBezTo>
                      <a:pt x="-130036" y="377825"/>
                      <a:pt x="62369" y="18415"/>
                      <a:pt x="303034" y="81280"/>
                    </a:cubicBezTo>
                    <a:cubicBezTo>
                      <a:pt x="336054" y="60325"/>
                      <a:pt x="301764" y="19050"/>
                      <a:pt x="337959" y="0"/>
                    </a:cubicBezTo>
                    <a:cubicBezTo>
                      <a:pt x="712609" y="106045"/>
                      <a:pt x="628154" y="591820"/>
                      <a:pt x="261759" y="635000"/>
                    </a:cubicBezTo>
                    <a:close/>
                    <a:moveTo>
                      <a:pt x="499884" y="133350"/>
                    </a:moveTo>
                    <a:cubicBezTo>
                      <a:pt x="496709" y="130810"/>
                      <a:pt x="494169" y="128905"/>
                      <a:pt x="490994" y="126365"/>
                    </a:cubicBezTo>
                    <a:cubicBezTo>
                      <a:pt x="486549" y="104775"/>
                      <a:pt x="434479" y="60960"/>
                      <a:pt x="410349" y="62865"/>
                    </a:cubicBezTo>
                    <a:cubicBezTo>
                      <a:pt x="432574" y="86360"/>
                      <a:pt x="460514" y="116205"/>
                      <a:pt x="490994" y="125730"/>
                    </a:cubicBezTo>
                    <a:cubicBezTo>
                      <a:pt x="496074" y="130810"/>
                      <a:pt x="508774" y="133350"/>
                      <a:pt x="503694" y="142240"/>
                    </a:cubicBezTo>
                    <a:cubicBezTo>
                      <a:pt x="556399" y="230505"/>
                      <a:pt x="555764" y="327025"/>
                      <a:pt x="531634" y="424815"/>
                    </a:cubicBezTo>
                    <a:cubicBezTo>
                      <a:pt x="461784" y="501650"/>
                      <a:pt x="409079" y="557530"/>
                      <a:pt x="303669" y="596265"/>
                    </a:cubicBezTo>
                    <a:cubicBezTo>
                      <a:pt x="379869" y="597535"/>
                      <a:pt x="484644" y="531495"/>
                      <a:pt x="502424" y="456565"/>
                    </a:cubicBezTo>
                    <a:cubicBezTo>
                      <a:pt x="528459" y="450850"/>
                      <a:pt x="532904" y="424180"/>
                      <a:pt x="534174" y="401955"/>
                    </a:cubicBezTo>
                    <a:cubicBezTo>
                      <a:pt x="576719" y="365760"/>
                      <a:pt x="577354" y="186055"/>
                      <a:pt x="515759" y="169545"/>
                    </a:cubicBezTo>
                    <a:cubicBezTo>
                      <a:pt x="510679" y="167005"/>
                      <a:pt x="506234" y="163830"/>
                      <a:pt x="508774" y="156845"/>
                    </a:cubicBezTo>
                    <a:cubicBezTo>
                      <a:pt x="506234" y="149225"/>
                      <a:pt x="503694" y="140970"/>
                      <a:pt x="499884" y="133350"/>
                    </a:cubicBezTo>
                    <a:close/>
                    <a:moveTo>
                      <a:pt x="436384" y="353060"/>
                    </a:moveTo>
                    <a:cubicBezTo>
                      <a:pt x="407174" y="354330"/>
                      <a:pt x="381774" y="360680"/>
                      <a:pt x="357009" y="374650"/>
                    </a:cubicBezTo>
                    <a:cubicBezTo>
                      <a:pt x="315099" y="355600"/>
                      <a:pt x="231914" y="308610"/>
                      <a:pt x="218579" y="382905"/>
                    </a:cubicBezTo>
                    <a:cubicBezTo>
                      <a:pt x="273824" y="443230"/>
                      <a:pt x="255409" y="433070"/>
                      <a:pt x="251599" y="511175"/>
                    </a:cubicBezTo>
                    <a:cubicBezTo>
                      <a:pt x="299224" y="529590"/>
                      <a:pt x="336689" y="398145"/>
                      <a:pt x="367169" y="370205"/>
                    </a:cubicBezTo>
                    <a:cubicBezTo>
                      <a:pt x="385584" y="381635"/>
                      <a:pt x="386854" y="407035"/>
                      <a:pt x="405269" y="418465"/>
                    </a:cubicBezTo>
                    <a:cubicBezTo>
                      <a:pt x="433844" y="408305"/>
                      <a:pt x="393204" y="377190"/>
                      <a:pt x="412254" y="367030"/>
                    </a:cubicBezTo>
                    <a:cubicBezTo>
                      <a:pt x="416699" y="370840"/>
                      <a:pt x="421144" y="375285"/>
                      <a:pt x="424954" y="379095"/>
                    </a:cubicBezTo>
                    <a:cubicBezTo>
                      <a:pt x="441464" y="362585"/>
                      <a:pt x="432574" y="347345"/>
                      <a:pt x="445909" y="325755"/>
                    </a:cubicBezTo>
                    <a:cubicBezTo>
                      <a:pt x="430034" y="335280"/>
                      <a:pt x="435114" y="344805"/>
                      <a:pt x="436384" y="353060"/>
                    </a:cubicBezTo>
                    <a:close/>
                    <a:moveTo>
                      <a:pt x="230009" y="513715"/>
                    </a:moveTo>
                    <a:cubicBezTo>
                      <a:pt x="255409" y="407035"/>
                      <a:pt x="231279" y="448310"/>
                      <a:pt x="205244" y="394335"/>
                    </a:cubicBezTo>
                    <a:cubicBezTo>
                      <a:pt x="189369" y="314325"/>
                      <a:pt x="283349" y="313055"/>
                      <a:pt x="332879" y="344805"/>
                    </a:cubicBezTo>
                    <a:cubicBezTo>
                      <a:pt x="358914" y="363855"/>
                      <a:pt x="376694" y="337820"/>
                      <a:pt x="403364" y="332105"/>
                    </a:cubicBezTo>
                    <a:cubicBezTo>
                      <a:pt x="402094" y="320675"/>
                      <a:pt x="411619" y="307975"/>
                      <a:pt x="402094" y="296545"/>
                    </a:cubicBezTo>
                    <a:cubicBezTo>
                      <a:pt x="353199" y="279400"/>
                      <a:pt x="317004" y="340360"/>
                      <a:pt x="268109" y="302260"/>
                    </a:cubicBezTo>
                    <a:cubicBezTo>
                      <a:pt x="269379" y="285115"/>
                      <a:pt x="264934" y="267335"/>
                      <a:pt x="270649" y="250190"/>
                    </a:cubicBezTo>
                    <a:cubicBezTo>
                      <a:pt x="300494" y="255270"/>
                      <a:pt x="300494" y="255270"/>
                      <a:pt x="325894" y="247650"/>
                    </a:cubicBezTo>
                    <a:cubicBezTo>
                      <a:pt x="323989" y="200025"/>
                      <a:pt x="376694" y="215265"/>
                      <a:pt x="358279" y="186055"/>
                    </a:cubicBezTo>
                    <a:cubicBezTo>
                      <a:pt x="304939" y="220345"/>
                      <a:pt x="315099" y="162560"/>
                      <a:pt x="344944" y="137795"/>
                    </a:cubicBezTo>
                    <a:cubicBezTo>
                      <a:pt x="302399" y="85725"/>
                      <a:pt x="217944" y="74930"/>
                      <a:pt x="165239" y="116205"/>
                    </a:cubicBezTo>
                    <a:cubicBezTo>
                      <a:pt x="174129" y="136525"/>
                      <a:pt x="202704" y="120650"/>
                      <a:pt x="210324" y="145415"/>
                    </a:cubicBezTo>
                    <a:cubicBezTo>
                      <a:pt x="183019" y="164465"/>
                      <a:pt x="149364" y="167640"/>
                      <a:pt x="120154" y="178435"/>
                    </a:cubicBezTo>
                    <a:cubicBezTo>
                      <a:pt x="119519" y="249555"/>
                      <a:pt x="77609" y="200660"/>
                      <a:pt x="53479" y="242570"/>
                    </a:cubicBezTo>
                    <a:cubicBezTo>
                      <a:pt x="52844" y="280670"/>
                      <a:pt x="111899" y="318770"/>
                      <a:pt x="89674" y="349885"/>
                    </a:cubicBezTo>
                    <a:cubicBezTo>
                      <a:pt x="61734" y="365760"/>
                      <a:pt x="50939" y="386080"/>
                      <a:pt x="61734" y="417830"/>
                    </a:cubicBezTo>
                    <a:cubicBezTo>
                      <a:pt x="66814" y="497840"/>
                      <a:pt x="167779" y="506730"/>
                      <a:pt x="230009" y="513715"/>
                    </a:cubicBezTo>
                    <a:close/>
                    <a:moveTo>
                      <a:pt x="146824" y="548005"/>
                    </a:moveTo>
                    <a:cubicBezTo>
                      <a:pt x="246519" y="612140"/>
                      <a:pt x="365264" y="559435"/>
                      <a:pt x="444639" y="488315"/>
                    </a:cubicBezTo>
                    <a:cubicBezTo>
                      <a:pt x="592594" y="370205"/>
                      <a:pt x="534809" y="123190"/>
                      <a:pt x="361454" y="66040"/>
                    </a:cubicBezTo>
                    <a:cubicBezTo>
                      <a:pt x="356374" y="76200"/>
                      <a:pt x="351929" y="86995"/>
                      <a:pt x="347484" y="97155"/>
                    </a:cubicBezTo>
                    <a:cubicBezTo>
                      <a:pt x="399554" y="145415"/>
                      <a:pt x="445274" y="203835"/>
                      <a:pt x="470039" y="269875"/>
                    </a:cubicBezTo>
                    <a:cubicBezTo>
                      <a:pt x="482739" y="398145"/>
                      <a:pt x="370979" y="535940"/>
                      <a:pt x="239534" y="533400"/>
                    </a:cubicBezTo>
                    <a:cubicBezTo>
                      <a:pt x="208419" y="534670"/>
                      <a:pt x="155714" y="500380"/>
                      <a:pt x="146824" y="548005"/>
                    </a:cubicBezTo>
                    <a:close/>
                    <a:moveTo>
                      <a:pt x="349389" y="258445"/>
                    </a:moveTo>
                    <a:cubicBezTo>
                      <a:pt x="328434" y="275590"/>
                      <a:pt x="303034" y="261620"/>
                      <a:pt x="280174" y="271145"/>
                    </a:cubicBezTo>
                    <a:cubicBezTo>
                      <a:pt x="280809" y="276225"/>
                      <a:pt x="280809" y="282575"/>
                      <a:pt x="281444" y="287655"/>
                    </a:cubicBezTo>
                    <a:cubicBezTo>
                      <a:pt x="318909" y="297815"/>
                      <a:pt x="320814" y="297815"/>
                      <a:pt x="345579" y="276225"/>
                    </a:cubicBezTo>
                    <a:cubicBezTo>
                      <a:pt x="369709" y="259080"/>
                      <a:pt x="380504" y="287655"/>
                      <a:pt x="414159" y="257175"/>
                    </a:cubicBezTo>
                    <a:cubicBezTo>
                      <a:pt x="501154" y="334010"/>
                      <a:pt x="394474" y="136525"/>
                      <a:pt x="369709" y="156845"/>
                    </a:cubicBezTo>
                    <a:cubicBezTo>
                      <a:pt x="384314" y="175895"/>
                      <a:pt x="384314" y="196850"/>
                      <a:pt x="379234" y="217805"/>
                    </a:cubicBezTo>
                    <a:cubicBezTo>
                      <a:pt x="368439" y="223520"/>
                      <a:pt x="359549" y="227965"/>
                      <a:pt x="349389" y="233045"/>
                    </a:cubicBezTo>
                    <a:cubicBezTo>
                      <a:pt x="349389" y="241935"/>
                      <a:pt x="349389" y="250190"/>
                      <a:pt x="349389" y="258445"/>
                    </a:cubicBezTo>
                    <a:close/>
                    <a:moveTo>
                      <a:pt x="311289" y="781685"/>
                    </a:moveTo>
                    <a:cubicBezTo>
                      <a:pt x="221754" y="765175"/>
                      <a:pt x="239534" y="797560"/>
                      <a:pt x="234454" y="698500"/>
                    </a:cubicBezTo>
                    <a:cubicBezTo>
                      <a:pt x="219214" y="720090"/>
                      <a:pt x="230644" y="746125"/>
                      <a:pt x="213499" y="765175"/>
                    </a:cubicBezTo>
                    <a:cubicBezTo>
                      <a:pt x="205244" y="761365"/>
                      <a:pt x="196989" y="756920"/>
                      <a:pt x="189369" y="753745"/>
                    </a:cubicBezTo>
                    <a:cubicBezTo>
                      <a:pt x="132854" y="764540"/>
                      <a:pt x="122694" y="769620"/>
                      <a:pt x="115709" y="788035"/>
                    </a:cubicBezTo>
                    <a:cubicBezTo>
                      <a:pt x="178574" y="794385"/>
                      <a:pt x="254774" y="810895"/>
                      <a:pt x="311289" y="781685"/>
                    </a:cubicBezTo>
                    <a:close/>
                    <a:moveTo>
                      <a:pt x="34429" y="252095"/>
                    </a:moveTo>
                    <a:cubicBezTo>
                      <a:pt x="6489" y="302895"/>
                      <a:pt x="9664" y="356870"/>
                      <a:pt x="39509" y="404495"/>
                    </a:cubicBezTo>
                    <a:cubicBezTo>
                      <a:pt x="31889" y="368935"/>
                      <a:pt x="53479" y="352425"/>
                      <a:pt x="78879" y="331470"/>
                    </a:cubicBezTo>
                    <a:cubicBezTo>
                      <a:pt x="64909" y="305435"/>
                      <a:pt x="50939" y="281305"/>
                      <a:pt x="34429" y="252095"/>
                    </a:cubicBezTo>
                    <a:close/>
                    <a:moveTo>
                      <a:pt x="259854" y="602615"/>
                    </a:moveTo>
                    <a:cubicBezTo>
                      <a:pt x="205879" y="591185"/>
                      <a:pt x="151269" y="582930"/>
                      <a:pt x="104279" y="551815"/>
                    </a:cubicBezTo>
                    <a:cubicBezTo>
                      <a:pt x="93484" y="545465"/>
                      <a:pt x="82689" y="538480"/>
                      <a:pt x="66179" y="544195"/>
                    </a:cubicBezTo>
                    <a:cubicBezTo>
                      <a:pt x="116979" y="590550"/>
                      <a:pt x="191909" y="628650"/>
                      <a:pt x="259854" y="602615"/>
                    </a:cubicBezTo>
                    <a:close/>
                    <a:moveTo>
                      <a:pt x="372249" y="408940"/>
                    </a:moveTo>
                    <a:cubicBezTo>
                      <a:pt x="360184" y="434975"/>
                      <a:pt x="317639" y="460375"/>
                      <a:pt x="330974" y="486410"/>
                    </a:cubicBezTo>
                    <a:cubicBezTo>
                      <a:pt x="354469" y="474345"/>
                      <a:pt x="376059" y="459105"/>
                      <a:pt x="390029" y="434975"/>
                    </a:cubicBezTo>
                    <a:cubicBezTo>
                      <a:pt x="387489" y="422910"/>
                      <a:pt x="383044" y="414020"/>
                      <a:pt x="372249" y="408940"/>
                    </a:cubicBezTo>
                    <a:close/>
                    <a:moveTo>
                      <a:pt x="172859" y="144145"/>
                    </a:moveTo>
                    <a:cubicBezTo>
                      <a:pt x="151904" y="118745"/>
                      <a:pt x="120154" y="129540"/>
                      <a:pt x="109994" y="155575"/>
                    </a:cubicBezTo>
                    <a:cubicBezTo>
                      <a:pt x="132854" y="161925"/>
                      <a:pt x="150634" y="152400"/>
                      <a:pt x="172859" y="144145"/>
                    </a:cubicBezTo>
                    <a:close/>
                    <a:moveTo>
                      <a:pt x="92214" y="161290"/>
                    </a:moveTo>
                    <a:cubicBezTo>
                      <a:pt x="76339" y="176530"/>
                      <a:pt x="62369" y="186690"/>
                      <a:pt x="59829" y="206375"/>
                    </a:cubicBezTo>
                    <a:cubicBezTo>
                      <a:pt x="106184" y="216535"/>
                      <a:pt x="99834" y="196215"/>
                      <a:pt x="92214" y="161290"/>
                    </a:cubicBezTo>
                    <a:close/>
                    <a:moveTo>
                      <a:pt x="342404" y="28575"/>
                    </a:moveTo>
                    <a:cubicBezTo>
                      <a:pt x="351294" y="37465"/>
                      <a:pt x="362089" y="39370"/>
                      <a:pt x="374154" y="41910"/>
                    </a:cubicBezTo>
                    <a:cubicBezTo>
                      <a:pt x="362089" y="22860"/>
                      <a:pt x="362089" y="22860"/>
                      <a:pt x="342404" y="28575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grpSp>
          <p:nvGrpSpPr>
            <p:cNvPr id="17" name="Google Shape;26;p2">
              <a:extLst>
                <a:ext uri="{FF2B5EF4-FFF2-40B4-BE49-F238E27FC236}">
                  <a16:creationId xmlns:a16="http://schemas.microsoft.com/office/drawing/2014/main" id="{880F6B94-3351-4359-AA78-95E4BA51ABB9}"/>
                </a:ext>
              </a:extLst>
            </p:cNvPr>
            <p:cNvGrpSpPr/>
            <p:nvPr/>
          </p:nvGrpSpPr>
          <p:grpSpPr>
            <a:xfrm>
              <a:off x="-85500" y="4299338"/>
              <a:ext cx="612915" cy="585559"/>
              <a:chOff x="8158724" y="4646275"/>
              <a:chExt cx="612915" cy="585559"/>
            </a:xfrm>
          </p:grpSpPr>
          <p:sp>
            <p:nvSpPr>
              <p:cNvPr id="98" name="Google Shape;27;p2">
                <a:extLst>
                  <a:ext uri="{FF2B5EF4-FFF2-40B4-BE49-F238E27FC236}">
                    <a16:creationId xmlns:a16="http://schemas.microsoft.com/office/drawing/2014/main" id="{079699AB-E13E-4643-A888-2FB682F50DDC}"/>
                  </a:ext>
                </a:extLst>
              </p:cNvPr>
              <p:cNvSpPr/>
              <p:nvPr/>
            </p:nvSpPr>
            <p:spPr>
              <a:xfrm>
                <a:off x="8158724" y="4646275"/>
                <a:ext cx="511423" cy="463431"/>
              </a:xfrm>
              <a:custGeom>
                <a:avLst/>
                <a:gdLst/>
                <a:ahLst/>
                <a:cxnLst/>
                <a:rect l="l" t="t" r="r" b="b"/>
                <a:pathLst>
                  <a:path w="35017" h="31731" extrusionOk="0">
                    <a:moveTo>
                      <a:pt x="16911" y="1"/>
                    </a:moveTo>
                    <a:lnTo>
                      <a:pt x="15596" y="61"/>
                    </a:lnTo>
                    <a:lnTo>
                      <a:pt x="14282" y="240"/>
                    </a:lnTo>
                    <a:lnTo>
                      <a:pt x="13027" y="479"/>
                    </a:lnTo>
                    <a:lnTo>
                      <a:pt x="11772" y="837"/>
                    </a:lnTo>
                    <a:lnTo>
                      <a:pt x="10517" y="1256"/>
                    </a:lnTo>
                    <a:lnTo>
                      <a:pt x="9442" y="1734"/>
                    </a:lnTo>
                    <a:lnTo>
                      <a:pt x="8366" y="2331"/>
                    </a:lnTo>
                    <a:lnTo>
                      <a:pt x="7350" y="2989"/>
                    </a:lnTo>
                    <a:lnTo>
                      <a:pt x="6454" y="3706"/>
                    </a:lnTo>
                    <a:lnTo>
                      <a:pt x="5558" y="4542"/>
                    </a:lnTo>
                    <a:lnTo>
                      <a:pt x="4721" y="5379"/>
                    </a:lnTo>
                    <a:lnTo>
                      <a:pt x="3944" y="6275"/>
                    </a:lnTo>
                    <a:lnTo>
                      <a:pt x="3227" y="7231"/>
                    </a:lnTo>
                    <a:lnTo>
                      <a:pt x="2570" y="8247"/>
                    </a:lnTo>
                    <a:lnTo>
                      <a:pt x="2032" y="9323"/>
                    </a:lnTo>
                    <a:lnTo>
                      <a:pt x="1494" y="10398"/>
                    </a:lnTo>
                    <a:lnTo>
                      <a:pt x="1076" y="11534"/>
                    </a:lnTo>
                    <a:lnTo>
                      <a:pt x="717" y="12669"/>
                    </a:lnTo>
                    <a:lnTo>
                      <a:pt x="419" y="13804"/>
                    </a:lnTo>
                    <a:lnTo>
                      <a:pt x="180" y="14999"/>
                    </a:lnTo>
                    <a:lnTo>
                      <a:pt x="60" y="16194"/>
                    </a:lnTo>
                    <a:lnTo>
                      <a:pt x="0" y="17569"/>
                    </a:lnTo>
                    <a:lnTo>
                      <a:pt x="60" y="18824"/>
                    </a:lnTo>
                    <a:lnTo>
                      <a:pt x="180" y="20079"/>
                    </a:lnTo>
                    <a:lnTo>
                      <a:pt x="478" y="21274"/>
                    </a:lnTo>
                    <a:lnTo>
                      <a:pt x="837" y="22349"/>
                    </a:lnTo>
                    <a:lnTo>
                      <a:pt x="1315" y="23425"/>
                    </a:lnTo>
                    <a:lnTo>
                      <a:pt x="1853" y="24441"/>
                    </a:lnTo>
                    <a:lnTo>
                      <a:pt x="2510" y="25457"/>
                    </a:lnTo>
                    <a:lnTo>
                      <a:pt x="3287" y="26353"/>
                    </a:lnTo>
                    <a:lnTo>
                      <a:pt x="4064" y="27189"/>
                    </a:lnTo>
                    <a:lnTo>
                      <a:pt x="4960" y="27966"/>
                    </a:lnTo>
                    <a:lnTo>
                      <a:pt x="5976" y="28683"/>
                    </a:lnTo>
                    <a:lnTo>
                      <a:pt x="6992" y="29281"/>
                    </a:lnTo>
                    <a:lnTo>
                      <a:pt x="8127" y="29878"/>
                    </a:lnTo>
                    <a:lnTo>
                      <a:pt x="9322" y="30356"/>
                    </a:lnTo>
                    <a:lnTo>
                      <a:pt x="10517" y="30834"/>
                    </a:lnTo>
                    <a:lnTo>
                      <a:pt x="11892" y="31193"/>
                    </a:lnTo>
                    <a:lnTo>
                      <a:pt x="13206" y="31492"/>
                    </a:lnTo>
                    <a:lnTo>
                      <a:pt x="14581" y="31671"/>
                    </a:lnTo>
                    <a:lnTo>
                      <a:pt x="16015" y="31731"/>
                    </a:lnTo>
                    <a:lnTo>
                      <a:pt x="17389" y="31671"/>
                    </a:lnTo>
                    <a:lnTo>
                      <a:pt x="18763" y="31552"/>
                    </a:lnTo>
                    <a:lnTo>
                      <a:pt x="20138" y="31313"/>
                    </a:lnTo>
                    <a:lnTo>
                      <a:pt x="21452" y="30954"/>
                    </a:lnTo>
                    <a:lnTo>
                      <a:pt x="22110" y="30715"/>
                    </a:lnTo>
                    <a:lnTo>
                      <a:pt x="22767" y="30476"/>
                    </a:lnTo>
                    <a:lnTo>
                      <a:pt x="24022" y="29878"/>
                    </a:lnTo>
                    <a:lnTo>
                      <a:pt x="25217" y="29161"/>
                    </a:lnTo>
                    <a:lnTo>
                      <a:pt x="26293" y="28385"/>
                    </a:lnTo>
                    <a:lnTo>
                      <a:pt x="27428" y="27548"/>
                    </a:lnTo>
                    <a:lnTo>
                      <a:pt x="28444" y="26652"/>
                    </a:lnTo>
                    <a:lnTo>
                      <a:pt x="30476" y="24739"/>
                    </a:lnTo>
                    <a:lnTo>
                      <a:pt x="31013" y="24261"/>
                    </a:lnTo>
                    <a:lnTo>
                      <a:pt x="31551" y="23664"/>
                    </a:lnTo>
                    <a:lnTo>
                      <a:pt x="32029" y="23126"/>
                    </a:lnTo>
                    <a:lnTo>
                      <a:pt x="32447" y="22529"/>
                    </a:lnTo>
                    <a:lnTo>
                      <a:pt x="32866" y="21931"/>
                    </a:lnTo>
                    <a:lnTo>
                      <a:pt x="33224" y="21333"/>
                    </a:lnTo>
                    <a:lnTo>
                      <a:pt x="33523" y="20676"/>
                    </a:lnTo>
                    <a:lnTo>
                      <a:pt x="33822" y="20019"/>
                    </a:lnTo>
                    <a:lnTo>
                      <a:pt x="34360" y="18704"/>
                    </a:lnTo>
                    <a:lnTo>
                      <a:pt x="34718" y="17390"/>
                    </a:lnTo>
                    <a:lnTo>
                      <a:pt x="34957" y="16015"/>
                    </a:lnTo>
                    <a:lnTo>
                      <a:pt x="35017" y="14641"/>
                    </a:lnTo>
                    <a:lnTo>
                      <a:pt x="35017" y="13924"/>
                    </a:lnTo>
                    <a:lnTo>
                      <a:pt x="34957" y="13266"/>
                    </a:lnTo>
                    <a:lnTo>
                      <a:pt x="34838" y="12549"/>
                    </a:lnTo>
                    <a:lnTo>
                      <a:pt x="34718" y="11892"/>
                    </a:lnTo>
                    <a:lnTo>
                      <a:pt x="34599" y="11235"/>
                    </a:lnTo>
                    <a:lnTo>
                      <a:pt x="34360" y="10577"/>
                    </a:lnTo>
                    <a:lnTo>
                      <a:pt x="34121" y="9920"/>
                    </a:lnTo>
                    <a:lnTo>
                      <a:pt x="33882" y="9263"/>
                    </a:lnTo>
                    <a:lnTo>
                      <a:pt x="33583" y="8606"/>
                    </a:lnTo>
                    <a:lnTo>
                      <a:pt x="33224" y="8008"/>
                    </a:lnTo>
                    <a:lnTo>
                      <a:pt x="32806" y="7410"/>
                    </a:lnTo>
                    <a:lnTo>
                      <a:pt x="32388" y="6813"/>
                    </a:lnTo>
                    <a:lnTo>
                      <a:pt x="31910" y="6275"/>
                    </a:lnTo>
                    <a:lnTo>
                      <a:pt x="31432" y="5737"/>
                    </a:lnTo>
                    <a:lnTo>
                      <a:pt x="30894" y="5200"/>
                    </a:lnTo>
                    <a:lnTo>
                      <a:pt x="30296" y="4721"/>
                    </a:lnTo>
                    <a:lnTo>
                      <a:pt x="29280" y="3945"/>
                    </a:lnTo>
                    <a:lnTo>
                      <a:pt x="28205" y="3228"/>
                    </a:lnTo>
                    <a:lnTo>
                      <a:pt x="27069" y="2570"/>
                    </a:lnTo>
                    <a:lnTo>
                      <a:pt x="25874" y="1973"/>
                    </a:lnTo>
                    <a:lnTo>
                      <a:pt x="24679" y="1435"/>
                    </a:lnTo>
                    <a:lnTo>
                      <a:pt x="23424" y="1017"/>
                    </a:lnTo>
                    <a:lnTo>
                      <a:pt x="22170" y="658"/>
                    </a:lnTo>
                    <a:lnTo>
                      <a:pt x="20855" y="359"/>
                    </a:lnTo>
                    <a:lnTo>
                      <a:pt x="19540" y="180"/>
                    </a:lnTo>
                    <a:lnTo>
                      <a:pt x="18226" y="61"/>
                    </a:lnTo>
                    <a:lnTo>
                      <a:pt x="16911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" name="Google Shape;28;p2">
                <a:extLst>
                  <a:ext uri="{FF2B5EF4-FFF2-40B4-BE49-F238E27FC236}">
                    <a16:creationId xmlns:a16="http://schemas.microsoft.com/office/drawing/2014/main" id="{2E521742-9B6F-4627-8EC5-60F64ACFAF44}"/>
                  </a:ext>
                </a:extLst>
              </p:cNvPr>
              <p:cNvSpPr/>
              <p:nvPr/>
            </p:nvSpPr>
            <p:spPr>
              <a:xfrm>
                <a:off x="8170373" y="4682299"/>
                <a:ext cx="601266" cy="549535"/>
              </a:xfrm>
              <a:custGeom>
                <a:avLst/>
                <a:gdLst/>
                <a:ahLst/>
                <a:cxnLst/>
                <a:rect l="l" t="t" r="r" b="b"/>
                <a:pathLst>
                  <a:path w="699146" h="638994" extrusionOk="0">
                    <a:moveTo>
                      <a:pt x="334626" y="637812"/>
                    </a:moveTo>
                    <a:cubicBezTo>
                      <a:pt x="189211" y="651782"/>
                      <a:pt x="48876" y="540022"/>
                      <a:pt x="13317" y="404132"/>
                    </a:cubicBezTo>
                    <a:cubicBezTo>
                      <a:pt x="-46374" y="233317"/>
                      <a:pt x="105392" y="76472"/>
                      <a:pt x="253981" y="15512"/>
                    </a:cubicBezTo>
                    <a:cubicBezTo>
                      <a:pt x="395586" y="-39733"/>
                      <a:pt x="599422" y="61232"/>
                      <a:pt x="675622" y="181882"/>
                    </a:cubicBezTo>
                    <a:cubicBezTo>
                      <a:pt x="770236" y="397782"/>
                      <a:pt x="563861" y="655592"/>
                      <a:pt x="334626" y="637812"/>
                    </a:cubicBezTo>
                    <a:close/>
                    <a:moveTo>
                      <a:pt x="613392" y="131082"/>
                    </a:moveTo>
                    <a:lnTo>
                      <a:pt x="611486" y="131082"/>
                    </a:lnTo>
                    <a:lnTo>
                      <a:pt x="613392" y="131082"/>
                    </a:lnTo>
                    <a:cubicBezTo>
                      <a:pt x="570211" y="82187"/>
                      <a:pt x="497822" y="81552"/>
                      <a:pt x="458451" y="32657"/>
                    </a:cubicBezTo>
                    <a:cubicBezTo>
                      <a:pt x="373361" y="9162"/>
                      <a:pt x="331451" y="164102"/>
                      <a:pt x="314306" y="226967"/>
                    </a:cubicBezTo>
                    <a:cubicBezTo>
                      <a:pt x="346056" y="228872"/>
                      <a:pt x="373997" y="225697"/>
                      <a:pt x="403206" y="239667"/>
                    </a:cubicBezTo>
                    <a:cubicBezTo>
                      <a:pt x="474961" y="249192"/>
                      <a:pt x="436226" y="145052"/>
                      <a:pt x="613392" y="131082"/>
                    </a:cubicBezTo>
                    <a:close/>
                    <a:moveTo>
                      <a:pt x="497822" y="580662"/>
                    </a:moveTo>
                    <a:cubicBezTo>
                      <a:pt x="403206" y="503192"/>
                      <a:pt x="376536" y="373017"/>
                      <a:pt x="411461" y="262527"/>
                    </a:cubicBezTo>
                    <a:cubicBezTo>
                      <a:pt x="356217" y="241572"/>
                      <a:pt x="351136" y="240937"/>
                      <a:pt x="305417" y="250462"/>
                    </a:cubicBezTo>
                    <a:cubicBezTo>
                      <a:pt x="280017" y="369207"/>
                      <a:pt x="273667" y="510812"/>
                      <a:pt x="327006" y="621937"/>
                    </a:cubicBezTo>
                    <a:cubicBezTo>
                      <a:pt x="389236" y="628922"/>
                      <a:pt x="468611" y="609872"/>
                      <a:pt x="497822" y="580662"/>
                    </a:cubicBezTo>
                    <a:close/>
                    <a:moveTo>
                      <a:pt x="224136" y="244747"/>
                    </a:moveTo>
                    <a:cubicBezTo>
                      <a:pt x="207626" y="345077"/>
                      <a:pt x="129522" y="414927"/>
                      <a:pt x="60306" y="475887"/>
                    </a:cubicBezTo>
                    <a:cubicBezTo>
                      <a:pt x="118726" y="541927"/>
                      <a:pt x="194926" y="632732"/>
                      <a:pt x="292717" y="618762"/>
                    </a:cubicBezTo>
                    <a:cubicBezTo>
                      <a:pt x="262872" y="495572"/>
                      <a:pt x="258426" y="366667"/>
                      <a:pt x="280017" y="240937"/>
                    </a:cubicBezTo>
                    <a:cubicBezTo>
                      <a:pt x="259697" y="230142"/>
                      <a:pt x="242551" y="238397"/>
                      <a:pt x="224136" y="244747"/>
                    </a:cubicBezTo>
                    <a:close/>
                    <a:moveTo>
                      <a:pt x="634347" y="444137"/>
                    </a:moveTo>
                    <a:cubicBezTo>
                      <a:pt x="599422" y="357142"/>
                      <a:pt x="534017" y="297452"/>
                      <a:pt x="445117" y="264432"/>
                    </a:cubicBezTo>
                    <a:cubicBezTo>
                      <a:pt x="379711" y="353332"/>
                      <a:pt x="426067" y="494937"/>
                      <a:pt x="506076" y="560342"/>
                    </a:cubicBezTo>
                    <a:cubicBezTo>
                      <a:pt x="565767" y="583202"/>
                      <a:pt x="602597" y="482237"/>
                      <a:pt x="634347" y="444137"/>
                    </a:cubicBezTo>
                    <a:close/>
                    <a:moveTo>
                      <a:pt x="647681" y="409847"/>
                    </a:moveTo>
                    <a:cubicBezTo>
                      <a:pt x="694672" y="340632"/>
                      <a:pt x="688956" y="242207"/>
                      <a:pt x="647681" y="173627"/>
                    </a:cubicBezTo>
                    <a:cubicBezTo>
                      <a:pt x="591167" y="110762"/>
                      <a:pt x="481947" y="178072"/>
                      <a:pt x="458451" y="242842"/>
                    </a:cubicBezTo>
                    <a:cubicBezTo>
                      <a:pt x="527667" y="293642"/>
                      <a:pt x="607677" y="325392"/>
                      <a:pt x="647681" y="409847"/>
                    </a:cubicBezTo>
                    <a:close/>
                    <a:moveTo>
                      <a:pt x="290176" y="219982"/>
                    </a:moveTo>
                    <a:cubicBezTo>
                      <a:pt x="307956" y="145052"/>
                      <a:pt x="356851" y="82187"/>
                      <a:pt x="383522" y="14877"/>
                    </a:cubicBezTo>
                    <a:cubicBezTo>
                      <a:pt x="335261" y="-4808"/>
                      <a:pt x="213976" y="38372"/>
                      <a:pt x="172701" y="84092"/>
                    </a:cubicBezTo>
                    <a:cubicBezTo>
                      <a:pt x="215881" y="116477"/>
                      <a:pt x="213976" y="171087"/>
                      <a:pt x="222231" y="219982"/>
                    </a:cubicBezTo>
                    <a:cubicBezTo>
                      <a:pt x="244456" y="219982"/>
                      <a:pt x="265411" y="219982"/>
                      <a:pt x="290176" y="219982"/>
                    </a:cubicBezTo>
                    <a:close/>
                    <a:moveTo>
                      <a:pt x="194292" y="240302"/>
                    </a:moveTo>
                    <a:cubicBezTo>
                      <a:pt x="140317" y="229507"/>
                      <a:pt x="82531" y="254907"/>
                      <a:pt x="34906" y="279037"/>
                    </a:cubicBezTo>
                    <a:cubicBezTo>
                      <a:pt x="-1924" y="324122"/>
                      <a:pt x="29192" y="402227"/>
                      <a:pt x="50781" y="449217"/>
                    </a:cubicBezTo>
                    <a:cubicBezTo>
                      <a:pt x="120631" y="414927"/>
                      <a:pt x="199372" y="320947"/>
                      <a:pt x="194292" y="240302"/>
                    </a:cubicBezTo>
                    <a:close/>
                    <a:moveTo>
                      <a:pt x="147936" y="100602"/>
                    </a:moveTo>
                    <a:cubicBezTo>
                      <a:pt x="98406" y="135527"/>
                      <a:pt x="46972" y="193947"/>
                      <a:pt x="38081" y="253637"/>
                    </a:cubicBezTo>
                    <a:cubicBezTo>
                      <a:pt x="88881" y="228237"/>
                      <a:pt x="141586" y="224427"/>
                      <a:pt x="193656" y="217442"/>
                    </a:cubicBezTo>
                    <a:cubicBezTo>
                      <a:pt x="200642" y="176167"/>
                      <a:pt x="195561" y="112032"/>
                      <a:pt x="147936" y="100602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18" name="Google Shape;29;p2">
              <a:extLst>
                <a:ext uri="{FF2B5EF4-FFF2-40B4-BE49-F238E27FC236}">
                  <a16:creationId xmlns:a16="http://schemas.microsoft.com/office/drawing/2014/main" id="{9560D005-42F1-4338-B0A7-019A505317B4}"/>
                </a:ext>
              </a:extLst>
            </p:cNvPr>
            <p:cNvSpPr/>
            <p:nvPr/>
          </p:nvSpPr>
          <p:spPr>
            <a:xfrm rot="2001982">
              <a:off x="136143" y="2216866"/>
              <a:ext cx="321474" cy="709766"/>
            </a:xfrm>
            <a:custGeom>
              <a:avLst/>
              <a:gdLst/>
              <a:ahLst/>
              <a:cxnLst/>
              <a:rect l="l" t="t" r="r" b="b"/>
              <a:pathLst>
                <a:path w="374196" h="826169" extrusionOk="0">
                  <a:moveTo>
                    <a:pt x="319578" y="542496"/>
                  </a:moveTo>
                  <a:cubicBezTo>
                    <a:pt x="337993" y="538051"/>
                    <a:pt x="360853" y="525986"/>
                    <a:pt x="365933" y="549481"/>
                  </a:cubicBezTo>
                  <a:cubicBezTo>
                    <a:pt x="372283" y="584406"/>
                    <a:pt x="389428" y="625046"/>
                    <a:pt x="341803" y="634571"/>
                  </a:cubicBezTo>
                  <a:cubicBezTo>
                    <a:pt x="344978" y="696801"/>
                    <a:pt x="374823" y="756491"/>
                    <a:pt x="362758" y="819356"/>
                  </a:cubicBezTo>
                  <a:cubicBezTo>
                    <a:pt x="256078" y="683466"/>
                    <a:pt x="252268" y="452961"/>
                    <a:pt x="169718" y="289131"/>
                  </a:cubicBezTo>
                  <a:cubicBezTo>
                    <a:pt x="120823" y="395176"/>
                    <a:pt x="-22052" y="1176861"/>
                    <a:pt x="34463" y="639016"/>
                  </a:cubicBezTo>
                  <a:cubicBezTo>
                    <a:pt x="31288" y="635206"/>
                    <a:pt x="30018" y="632666"/>
                    <a:pt x="28113" y="632666"/>
                  </a:cubicBezTo>
                  <a:cubicBezTo>
                    <a:pt x="-23957" y="623141"/>
                    <a:pt x="12873" y="572341"/>
                    <a:pt x="9698" y="536146"/>
                  </a:cubicBezTo>
                  <a:cubicBezTo>
                    <a:pt x="20493" y="531066"/>
                    <a:pt x="35098" y="532336"/>
                    <a:pt x="47163" y="534241"/>
                  </a:cubicBezTo>
                  <a:cubicBezTo>
                    <a:pt x="79548" y="416131"/>
                    <a:pt x="89708" y="287226"/>
                    <a:pt x="105583" y="164036"/>
                  </a:cubicBezTo>
                  <a:cubicBezTo>
                    <a:pt x="103043" y="132286"/>
                    <a:pt x="128443" y="141811"/>
                    <a:pt x="150033" y="136731"/>
                  </a:cubicBezTo>
                  <a:cubicBezTo>
                    <a:pt x="148128" y="119586"/>
                    <a:pt x="111933" y="3381"/>
                    <a:pt x="143683" y="4016"/>
                  </a:cubicBezTo>
                  <a:cubicBezTo>
                    <a:pt x="226868" y="-22019"/>
                    <a:pt x="207183" y="85296"/>
                    <a:pt x="187498" y="131651"/>
                  </a:cubicBezTo>
                  <a:cubicBezTo>
                    <a:pt x="214168" y="144351"/>
                    <a:pt x="240838" y="139906"/>
                    <a:pt x="242743" y="179911"/>
                  </a:cubicBezTo>
                  <a:cubicBezTo>
                    <a:pt x="263063" y="301196"/>
                    <a:pt x="290368" y="422481"/>
                    <a:pt x="319578" y="542496"/>
                  </a:cubicBezTo>
                  <a:close/>
                  <a:moveTo>
                    <a:pt x="311323" y="649811"/>
                  </a:moveTo>
                  <a:cubicBezTo>
                    <a:pt x="294178" y="503126"/>
                    <a:pt x="253538" y="351996"/>
                    <a:pt x="217978" y="207851"/>
                  </a:cubicBezTo>
                  <a:cubicBezTo>
                    <a:pt x="200833" y="217376"/>
                    <a:pt x="197658" y="242776"/>
                    <a:pt x="186228" y="258651"/>
                  </a:cubicBezTo>
                  <a:cubicBezTo>
                    <a:pt x="236393" y="387556"/>
                    <a:pt x="258618" y="523446"/>
                    <a:pt x="311323" y="649811"/>
                  </a:cubicBezTo>
                  <a:close/>
                  <a:moveTo>
                    <a:pt x="77643" y="517731"/>
                  </a:moveTo>
                  <a:cubicBezTo>
                    <a:pt x="112568" y="444071"/>
                    <a:pt x="112568" y="363426"/>
                    <a:pt x="141778" y="288496"/>
                  </a:cubicBezTo>
                  <a:cubicBezTo>
                    <a:pt x="153208" y="259921"/>
                    <a:pt x="143048" y="230711"/>
                    <a:pt x="123998" y="208486"/>
                  </a:cubicBezTo>
                  <a:cubicBezTo>
                    <a:pt x="100503" y="312626"/>
                    <a:pt x="94788" y="412956"/>
                    <a:pt x="77643" y="517731"/>
                  </a:cubicBezTo>
                  <a:close/>
                  <a:moveTo>
                    <a:pt x="166543" y="240871"/>
                  </a:moveTo>
                  <a:cubicBezTo>
                    <a:pt x="183053" y="211026"/>
                    <a:pt x="205913" y="190706"/>
                    <a:pt x="204008" y="160861"/>
                  </a:cubicBezTo>
                  <a:cubicBezTo>
                    <a:pt x="175433" y="152606"/>
                    <a:pt x="167813" y="152606"/>
                    <a:pt x="141778" y="164671"/>
                  </a:cubicBezTo>
                  <a:cubicBezTo>
                    <a:pt x="145588" y="188801"/>
                    <a:pt x="154478" y="211661"/>
                    <a:pt x="166543" y="240871"/>
                  </a:cubicBezTo>
                  <a:close/>
                  <a:moveTo>
                    <a:pt x="171623" y="104346"/>
                  </a:moveTo>
                  <a:cubicBezTo>
                    <a:pt x="183053" y="73231"/>
                    <a:pt x="181783" y="45291"/>
                    <a:pt x="167813" y="21796"/>
                  </a:cubicBezTo>
                  <a:cubicBezTo>
                    <a:pt x="152573" y="37036"/>
                    <a:pt x="148128" y="94821"/>
                    <a:pt x="171623" y="10434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19" name="Google Shape;30;p2">
              <a:extLst>
                <a:ext uri="{FF2B5EF4-FFF2-40B4-BE49-F238E27FC236}">
                  <a16:creationId xmlns:a16="http://schemas.microsoft.com/office/drawing/2014/main" id="{E5CD0861-C851-415E-9618-0358C8F35B16}"/>
                </a:ext>
              </a:extLst>
            </p:cNvPr>
            <p:cNvGrpSpPr/>
            <p:nvPr/>
          </p:nvGrpSpPr>
          <p:grpSpPr>
            <a:xfrm>
              <a:off x="968652" y="3696885"/>
              <a:ext cx="565312" cy="602473"/>
              <a:chOff x="813652" y="3801560"/>
              <a:chExt cx="565312" cy="602473"/>
            </a:xfrm>
          </p:grpSpPr>
          <p:sp>
            <p:nvSpPr>
              <p:cNvPr id="96" name="Google Shape;31;p2">
                <a:extLst>
                  <a:ext uri="{FF2B5EF4-FFF2-40B4-BE49-F238E27FC236}">
                    <a16:creationId xmlns:a16="http://schemas.microsoft.com/office/drawing/2014/main" id="{0E52EBA3-E209-4845-A921-54D168D9F53B}"/>
                  </a:ext>
                </a:extLst>
              </p:cNvPr>
              <p:cNvSpPr/>
              <p:nvPr/>
            </p:nvSpPr>
            <p:spPr>
              <a:xfrm rot="6264782">
                <a:off x="849950" y="3919090"/>
                <a:ext cx="380679" cy="370162"/>
              </a:xfrm>
              <a:custGeom>
                <a:avLst/>
                <a:gdLst/>
                <a:ahLst/>
                <a:cxnLst/>
                <a:rect l="l" t="t" r="r" b="b"/>
                <a:pathLst>
                  <a:path w="15179" h="14760" extrusionOk="0">
                    <a:moveTo>
                      <a:pt x="9741" y="0"/>
                    </a:moveTo>
                    <a:lnTo>
                      <a:pt x="8306" y="60"/>
                    </a:lnTo>
                    <a:lnTo>
                      <a:pt x="7649" y="179"/>
                    </a:lnTo>
                    <a:lnTo>
                      <a:pt x="7052" y="299"/>
                    </a:lnTo>
                    <a:lnTo>
                      <a:pt x="6514" y="478"/>
                    </a:lnTo>
                    <a:lnTo>
                      <a:pt x="5916" y="777"/>
                    </a:lnTo>
                    <a:lnTo>
                      <a:pt x="5319" y="1135"/>
                    </a:lnTo>
                    <a:lnTo>
                      <a:pt x="4721" y="1613"/>
                    </a:lnTo>
                    <a:lnTo>
                      <a:pt x="3765" y="2510"/>
                    </a:lnTo>
                    <a:lnTo>
                      <a:pt x="2809" y="3585"/>
                    </a:lnTo>
                    <a:lnTo>
                      <a:pt x="1913" y="4840"/>
                    </a:lnTo>
                    <a:lnTo>
                      <a:pt x="1494" y="5557"/>
                    </a:lnTo>
                    <a:lnTo>
                      <a:pt x="1076" y="6215"/>
                    </a:lnTo>
                    <a:lnTo>
                      <a:pt x="777" y="6932"/>
                    </a:lnTo>
                    <a:lnTo>
                      <a:pt x="478" y="7649"/>
                    </a:lnTo>
                    <a:lnTo>
                      <a:pt x="239" y="8366"/>
                    </a:lnTo>
                    <a:lnTo>
                      <a:pt x="60" y="9023"/>
                    </a:lnTo>
                    <a:lnTo>
                      <a:pt x="0" y="9740"/>
                    </a:lnTo>
                    <a:lnTo>
                      <a:pt x="0" y="10457"/>
                    </a:lnTo>
                    <a:lnTo>
                      <a:pt x="120" y="11115"/>
                    </a:lnTo>
                    <a:lnTo>
                      <a:pt x="299" y="11772"/>
                    </a:lnTo>
                    <a:lnTo>
                      <a:pt x="419" y="12071"/>
                    </a:lnTo>
                    <a:lnTo>
                      <a:pt x="598" y="12429"/>
                    </a:lnTo>
                    <a:lnTo>
                      <a:pt x="1076" y="12907"/>
                    </a:lnTo>
                    <a:lnTo>
                      <a:pt x="1554" y="13385"/>
                    </a:lnTo>
                    <a:lnTo>
                      <a:pt x="2152" y="13684"/>
                    </a:lnTo>
                    <a:lnTo>
                      <a:pt x="2749" y="13983"/>
                    </a:lnTo>
                    <a:lnTo>
                      <a:pt x="3406" y="14222"/>
                    </a:lnTo>
                    <a:lnTo>
                      <a:pt x="4721" y="14640"/>
                    </a:lnTo>
                    <a:lnTo>
                      <a:pt x="5378" y="14760"/>
                    </a:lnTo>
                    <a:lnTo>
                      <a:pt x="6036" y="14760"/>
                    </a:lnTo>
                    <a:lnTo>
                      <a:pt x="6753" y="14700"/>
                    </a:lnTo>
                    <a:lnTo>
                      <a:pt x="7410" y="14521"/>
                    </a:lnTo>
                    <a:lnTo>
                      <a:pt x="8067" y="14222"/>
                    </a:lnTo>
                    <a:lnTo>
                      <a:pt x="8665" y="13923"/>
                    </a:lnTo>
                    <a:lnTo>
                      <a:pt x="9262" y="13505"/>
                    </a:lnTo>
                    <a:lnTo>
                      <a:pt x="9741" y="13086"/>
                    </a:lnTo>
                    <a:lnTo>
                      <a:pt x="10756" y="12130"/>
                    </a:lnTo>
                    <a:lnTo>
                      <a:pt x="11832" y="10935"/>
                    </a:lnTo>
                    <a:lnTo>
                      <a:pt x="12908" y="9561"/>
                    </a:lnTo>
                    <a:lnTo>
                      <a:pt x="13445" y="8844"/>
                    </a:lnTo>
                    <a:lnTo>
                      <a:pt x="13923" y="8067"/>
                    </a:lnTo>
                    <a:lnTo>
                      <a:pt x="14342" y="7290"/>
                    </a:lnTo>
                    <a:lnTo>
                      <a:pt x="14700" y="6513"/>
                    </a:lnTo>
                    <a:lnTo>
                      <a:pt x="14939" y="5737"/>
                    </a:lnTo>
                    <a:lnTo>
                      <a:pt x="15118" y="4960"/>
                    </a:lnTo>
                    <a:lnTo>
                      <a:pt x="15178" y="4183"/>
                    </a:lnTo>
                    <a:lnTo>
                      <a:pt x="15178" y="3466"/>
                    </a:lnTo>
                    <a:lnTo>
                      <a:pt x="15059" y="3107"/>
                    </a:lnTo>
                    <a:lnTo>
                      <a:pt x="14999" y="2749"/>
                    </a:lnTo>
                    <a:lnTo>
                      <a:pt x="14820" y="2390"/>
                    </a:lnTo>
                    <a:lnTo>
                      <a:pt x="14640" y="2092"/>
                    </a:lnTo>
                    <a:lnTo>
                      <a:pt x="14222" y="1494"/>
                    </a:lnTo>
                    <a:lnTo>
                      <a:pt x="13684" y="1076"/>
                    </a:lnTo>
                    <a:lnTo>
                      <a:pt x="13147" y="657"/>
                    </a:lnTo>
                    <a:lnTo>
                      <a:pt x="12489" y="418"/>
                    </a:lnTo>
                    <a:lnTo>
                      <a:pt x="11832" y="179"/>
                    </a:lnTo>
                    <a:lnTo>
                      <a:pt x="11115" y="60"/>
                    </a:lnTo>
                    <a:lnTo>
                      <a:pt x="10458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" name="Google Shape;32;p2">
                <a:extLst>
                  <a:ext uri="{FF2B5EF4-FFF2-40B4-BE49-F238E27FC236}">
                    <a16:creationId xmlns:a16="http://schemas.microsoft.com/office/drawing/2014/main" id="{83C02F3D-0741-41F5-9477-B7E0E381D908}"/>
                  </a:ext>
                </a:extLst>
              </p:cNvPr>
              <p:cNvSpPr/>
              <p:nvPr/>
            </p:nvSpPr>
            <p:spPr>
              <a:xfrm rot="-1974315">
                <a:off x="996275" y="3825647"/>
                <a:ext cx="252371" cy="554298"/>
              </a:xfrm>
              <a:custGeom>
                <a:avLst/>
                <a:gdLst/>
                <a:ahLst/>
                <a:cxnLst/>
                <a:rect l="l" t="t" r="r" b="b"/>
                <a:pathLst>
                  <a:path w="293264" h="644114" extrusionOk="0">
                    <a:moveTo>
                      <a:pt x="192317" y="238399"/>
                    </a:moveTo>
                    <a:cubicBezTo>
                      <a:pt x="164377" y="222524"/>
                      <a:pt x="132627" y="214904"/>
                      <a:pt x="98972" y="219349"/>
                    </a:cubicBezTo>
                    <a:cubicBezTo>
                      <a:pt x="129452" y="294914"/>
                      <a:pt x="237402" y="315234"/>
                      <a:pt x="251372" y="404769"/>
                    </a:cubicBezTo>
                    <a:cubicBezTo>
                      <a:pt x="252642" y="460649"/>
                      <a:pt x="311697" y="543834"/>
                      <a:pt x="261532" y="586379"/>
                    </a:cubicBezTo>
                    <a:cubicBezTo>
                      <a:pt x="224067" y="575584"/>
                      <a:pt x="258357" y="527959"/>
                      <a:pt x="234227" y="507004"/>
                    </a:cubicBezTo>
                    <a:cubicBezTo>
                      <a:pt x="194222" y="529864"/>
                      <a:pt x="63412" y="557804"/>
                      <a:pt x="62142" y="603524"/>
                    </a:cubicBezTo>
                    <a:cubicBezTo>
                      <a:pt x="62777" y="619399"/>
                      <a:pt x="64682" y="648609"/>
                      <a:pt x="41187" y="643529"/>
                    </a:cubicBezTo>
                    <a:cubicBezTo>
                      <a:pt x="-4533" y="623209"/>
                      <a:pt x="16422" y="457474"/>
                      <a:pt x="36107" y="414929"/>
                    </a:cubicBezTo>
                    <a:cubicBezTo>
                      <a:pt x="50077" y="373654"/>
                      <a:pt x="121832" y="296819"/>
                      <a:pt x="102782" y="394609"/>
                    </a:cubicBezTo>
                    <a:cubicBezTo>
                      <a:pt x="127547" y="386989"/>
                      <a:pt x="143422" y="371749"/>
                      <a:pt x="161202" y="357779"/>
                    </a:cubicBezTo>
                    <a:cubicBezTo>
                      <a:pt x="144692" y="329204"/>
                      <a:pt x="111037" y="319044"/>
                      <a:pt x="85637" y="299994"/>
                    </a:cubicBezTo>
                    <a:cubicBezTo>
                      <a:pt x="547" y="235859"/>
                      <a:pt x="-10248" y="106954"/>
                      <a:pt x="6897" y="8529"/>
                    </a:cubicBezTo>
                    <a:cubicBezTo>
                      <a:pt x="22772" y="-996"/>
                      <a:pt x="36742" y="-1631"/>
                      <a:pt x="53887" y="2179"/>
                    </a:cubicBezTo>
                    <a:cubicBezTo>
                      <a:pt x="55792" y="13609"/>
                      <a:pt x="57062" y="23769"/>
                      <a:pt x="58332" y="35834"/>
                    </a:cubicBezTo>
                    <a:cubicBezTo>
                      <a:pt x="118022" y="49169"/>
                      <a:pt x="178347" y="68219"/>
                      <a:pt x="239307" y="69489"/>
                    </a:cubicBezTo>
                    <a:cubicBezTo>
                      <a:pt x="248197" y="52344"/>
                      <a:pt x="239942" y="35199"/>
                      <a:pt x="241847" y="16784"/>
                    </a:cubicBezTo>
                    <a:cubicBezTo>
                      <a:pt x="338367" y="-44176"/>
                      <a:pt x="278042" y="223159"/>
                      <a:pt x="230417" y="240939"/>
                    </a:cubicBezTo>
                    <a:cubicBezTo>
                      <a:pt x="215812" y="249829"/>
                      <a:pt x="209462" y="267609"/>
                      <a:pt x="193587" y="273959"/>
                    </a:cubicBezTo>
                    <a:cubicBezTo>
                      <a:pt x="163107" y="281579"/>
                      <a:pt x="175807" y="250464"/>
                      <a:pt x="192317" y="238399"/>
                    </a:cubicBezTo>
                    <a:close/>
                    <a:moveTo>
                      <a:pt x="59602" y="64409"/>
                    </a:moveTo>
                    <a:cubicBezTo>
                      <a:pt x="51347" y="143149"/>
                      <a:pt x="151677" y="122829"/>
                      <a:pt x="202477" y="142514"/>
                    </a:cubicBezTo>
                    <a:cubicBezTo>
                      <a:pt x="236767" y="152039"/>
                      <a:pt x="234862" y="150769"/>
                      <a:pt x="241212" y="114574"/>
                    </a:cubicBezTo>
                    <a:cubicBezTo>
                      <a:pt x="245657" y="81554"/>
                      <a:pt x="196127" y="91079"/>
                      <a:pt x="175172" y="82189"/>
                    </a:cubicBezTo>
                    <a:cubicBezTo>
                      <a:pt x="136437" y="77744"/>
                      <a:pt x="98337" y="58059"/>
                      <a:pt x="59602" y="64409"/>
                    </a:cubicBezTo>
                    <a:close/>
                    <a:moveTo>
                      <a:pt x="217082" y="436519"/>
                    </a:moveTo>
                    <a:cubicBezTo>
                      <a:pt x="169457" y="446044"/>
                      <a:pt x="128182" y="479064"/>
                      <a:pt x="83097" y="497479"/>
                    </a:cubicBezTo>
                    <a:cubicBezTo>
                      <a:pt x="58967" y="507004"/>
                      <a:pt x="61507" y="531134"/>
                      <a:pt x="65317" y="553359"/>
                    </a:cubicBezTo>
                    <a:cubicBezTo>
                      <a:pt x="122467" y="537484"/>
                      <a:pt x="180887" y="512719"/>
                      <a:pt x="229782" y="479699"/>
                    </a:cubicBezTo>
                    <a:cubicBezTo>
                      <a:pt x="232322" y="462554"/>
                      <a:pt x="225972" y="448584"/>
                      <a:pt x="217082" y="436519"/>
                    </a:cubicBezTo>
                    <a:close/>
                    <a:moveTo>
                      <a:pt x="78017" y="185694"/>
                    </a:moveTo>
                    <a:cubicBezTo>
                      <a:pt x="120562" y="199029"/>
                      <a:pt x="173267" y="219349"/>
                      <a:pt x="214542" y="207919"/>
                    </a:cubicBezTo>
                    <a:cubicBezTo>
                      <a:pt x="232957" y="186964"/>
                      <a:pt x="227877" y="167914"/>
                      <a:pt x="201207" y="160929"/>
                    </a:cubicBezTo>
                    <a:cubicBezTo>
                      <a:pt x="158027" y="153944"/>
                      <a:pt x="114847" y="138069"/>
                      <a:pt x="71032" y="136164"/>
                    </a:cubicBezTo>
                    <a:cubicBezTo>
                      <a:pt x="69127" y="160929"/>
                      <a:pt x="69127" y="160929"/>
                      <a:pt x="78017" y="185694"/>
                    </a:cubicBezTo>
                    <a:close/>
                    <a:moveTo>
                      <a:pt x="72302" y="477159"/>
                    </a:moveTo>
                    <a:cubicBezTo>
                      <a:pt x="123102" y="460649"/>
                      <a:pt x="162472" y="436519"/>
                      <a:pt x="205652" y="414294"/>
                    </a:cubicBezTo>
                    <a:cubicBezTo>
                      <a:pt x="202477" y="377464"/>
                      <a:pt x="173902" y="366034"/>
                      <a:pt x="148502" y="391434"/>
                    </a:cubicBezTo>
                    <a:cubicBezTo>
                      <a:pt x="113577" y="415564"/>
                      <a:pt x="72937" y="425089"/>
                      <a:pt x="72302" y="477159"/>
                    </a:cubicBezTo>
                    <a:close/>
                    <a:moveTo>
                      <a:pt x="105322" y="284119"/>
                    </a:moveTo>
                    <a:cubicBezTo>
                      <a:pt x="105957" y="282849"/>
                      <a:pt x="107227" y="282214"/>
                      <a:pt x="107862" y="280944"/>
                    </a:cubicBezTo>
                    <a:cubicBezTo>
                      <a:pt x="40552" y="217444"/>
                      <a:pt x="52617" y="132989"/>
                      <a:pt x="27852" y="52979"/>
                    </a:cubicBezTo>
                    <a:cubicBezTo>
                      <a:pt x="18962" y="131719"/>
                      <a:pt x="35472" y="237129"/>
                      <a:pt x="105322" y="284119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20" name="Google Shape;33;p2">
              <a:extLst>
                <a:ext uri="{FF2B5EF4-FFF2-40B4-BE49-F238E27FC236}">
                  <a16:creationId xmlns:a16="http://schemas.microsoft.com/office/drawing/2014/main" id="{F1985F7F-0CD7-4E5B-B177-05BFF6116C13}"/>
                </a:ext>
              </a:extLst>
            </p:cNvPr>
            <p:cNvSpPr/>
            <p:nvPr/>
          </p:nvSpPr>
          <p:spPr>
            <a:xfrm>
              <a:off x="4101001" y="4649180"/>
              <a:ext cx="376856" cy="254902"/>
            </a:xfrm>
            <a:custGeom>
              <a:avLst/>
              <a:gdLst/>
              <a:ahLst/>
              <a:cxnLst/>
              <a:rect l="l" t="t" r="r" b="b"/>
              <a:pathLst>
                <a:path w="575352" h="389164" extrusionOk="0">
                  <a:moveTo>
                    <a:pt x="575352" y="173355"/>
                  </a:moveTo>
                  <a:cubicBezTo>
                    <a:pt x="489627" y="224155"/>
                    <a:pt x="287063" y="336550"/>
                    <a:pt x="285793" y="356235"/>
                  </a:cubicBezTo>
                  <a:cubicBezTo>
                    <a:pt x="285158" y="365760"/>
                    <a:pt x="273093" y="372745"/>
                    <a:pt x="263568" y="368935"/>
                  </a:cubicBezTo>
                  <a:cubicBezTo>
                    <a:pt x="189273" y="366395"/>
                    <a:pt x="106088" y="378460"/>
                    <a:pt x="31793" y="385445"/>
                  </a:cubicBezTo>
                  <a:cubicBezTo>
                    <a:pt x="9568" y="398145"/>
                    <a:pt x="-9482" y="375920"/>
                    <a:pt x="5123" y="354965"/>
                  </a:cubicBezTo>
                  <a:cubicBezTo>
                    <a:pt x="34333" y="295275"/>
                    <a:pt x="47033" y="213995"/>
                    <a:pt x="97198" y="170180"/>
                  </a:cubicBezTo>
                  <a:cubicBezTo>
                    <a:pt x="198163" y="112395"/>
                    <a:pt x="294683" y="47625"/>
                    <a:pt x="400727" y="0"/>
                  </a:cubicBezTo>
                  <a:cubicBezTo>
                    <a:pt x="583608" y="18415"/>
                    <a:pt x="570273" y="-16510"/>
                    <a:pt x="575352" y="173355"/>
                  </a:cubicBezTo>
                  <a:close/>
                  <a:moveTo>
                    <a:pt x="292777" y="199390"/>
                  </a:moveTo>
                  <a:cubicBezTo>
                    <a:pt x="223563" y="208915"/>
                    <a:pt x="154983" y="208280"/>
                    <a:pt x="86402" y="220980"/>
                  </a:cubicBezTo>
                  <a:cubicBezTo>
                    <a:pt x="70527" y="268605"/>
                    <a:pt x="27983" y="310515"/>
                    <a:pt x="32427" y="359410"/>
                  </a:cubicBezTo>
                  <a:cubicBezTo>
                    <a:pt x="98468" y="358775"/>
                    <a:pt x="165143" y="359410"/>
                    <a:pt x="229913" y="343535"/>
                  </a:cubicBezTo>
                  <a:cubicBezTo>
                    <a:pt x="285793" y="323215"/>
                    <a:pt x="275633" y="250190"/>
                    <a:pt x="292777" y="199390"/>
                  </a:cubicBezTo>
                  <a:close/>
                  <a:moveTo>
                    <a:pt x="398188" y="146685"/>
                  </a:moveTo>
                  <a:cubicBezTo>
                    <a:pt x="374693" y="151765"/>
                    <a:pt x="340402" y="168910"/>
                    <a:pt x="320083" y="186055"/>
                  </a:cubicBezTo>
                  <a:cubicBezTo>
                    <a:pt x="314368" y="225425"/>
                    <a:pt x="288968" y="274320"/>
                    <a:pt x="292143" y="320040"/>
                  </a:cubicBezTo>
                  <a:cubicBezTo>
                    <a:pt x="327702" y="303530"/>
                    <a:pt x="361993" y="272415"/>
                    <a:pt x="392473" y="250825"/>
                  </a:cubicBezTo>
                  <a:cubicBezTo>
                    <a:pt x="389933" y="213995"/>
                    <a:pt x="397552" y="181610"/>
                    <a:pt x="398188" y="146685"/>
                  </a:cubicBezTo>
                  <a:close/>
                  <a:moveTo>
                    <a:pt x="115613" y="186055"/>
                  </a:moveTo>
                  <a:cubicBezTo>
                    <a:pt x="167683" y="207010"/>
                    <a:pt x="302302" y="179705"/>
                    <a:pt x="346118" y="135890"/>
                  </a:cubicBezTo>
                  <a:cubicBezTo>
                    <a:pt x="266743" y="97155"/>
                    <a:pt x="180383" y="131445"/>
                    <a:pt x="115613" y="186055"/>
                  </a:cubicBezTo>
                  <a:close/>
                  <a:moveTo>
                    <a:pt x="417238" y="231775"/>
                  </a:moveTo>
                  <a:cubicBezTo>
                    <a:pt x="433748" y="227330"/>
                    <a:pt x="435018" y="226060"/>
                    <a:pt x="435018" y="215265"/>
                  </a:cubicBezTo>
                  <a:cubicBezTo>
                    <a:pt x="431843" y="191135"/>
                    <a:pt x="440733" y="163195"/>
                    <a:pt x="429302" y="140970"/>
                  </a:cubicBezTo>
                  <a:cubicBezTo>
                    <a:pt x="415333" y="166370"/>
                    <a:pt x="410252" y="204470"/>
                    <a:pt x="417238" y="231775"/>
                  </a:cubicBezTo>
                  <a:close/>
                  <a:moveTo>
                    <a:pt x="506138" y="85090"/>
                  </a:moveTo>
                  <a:cubicBezTo>
                    <a:pt x="509948" y="120650"/>
                    <a:pt x="498518" y="147955"/>
                    <a:pt x="507408" y="184785"/>
                  </a:cubicBezTo>
                  <a:cubicBezTo>
                    <a:pt x="526458" y="157480"/>
                    <a:pt x="517568" y="111125"/>
                    <a:pt x="506138" y="85090"/>
                  </a:cubicBezTo>
                  <a:close/>
                  <a:moveTo>
                    <a:pt x="482643" y="190500"/>
                  </a:moveTo>
                  <a:cubicBezTo>
                    <a:pt x="480738" y="159385"/>
                    <a:pt x="497883" y="125095"/>
                    <a:pt x="481373" y="101600"/>
                  </a:cubicBezTo>
                  <a:cubicBezTo>
                    <a:pt x="473118" y="125730"/>
                    <a:pt x="473118" y="147955"/>
                    <a:pt x="482643" y="190500"/>
                  </a:cubicBezTo>
                  <a:close/>
                  <a:moveTo>
                    <a:pt x="453433" y="168275"/>
                  </a:moveTo>
                  <a:cubicBezTo>
                    <a:pt x="445177" y="182880"/>
                    <a:pt x="440098" y="203200"/>
                    <a:pt x="457877" y="212090"/>
                  </a:cubicBezTo>
                  <a:cubicBezTo>
                    <a:pt x="462323" y="194945"/>
                    <a:pt x="461052" y="181610"/>
                    <a:pt x="453433" y="168275"/>
                  </a:cubicBezTo>
                  <a:close/>
                  <a:moveTo>
                    <a:pt x="408348" y="66675"/>
                  </a:moveTo>
                  <a:cubicBezTo>
                    <a:pt x="412158" y="80645"/>
                    <a:pt x="437558" y="79375"/>
                    <a:pt x="453433" y="74930"/>
                  </a:cubicBezTo>
                  <a:cubicBezTo>
                    <a:pt x="437558" y="62865"/>
                    <a:pt x="422952" y="67945"/>
                    <a:pt x="408348" y="66675"/>
                  </a:cubicBezTo>
                  <a:close/>
                  <a:moveTo>
                    <a:pt x="495343" y="48895"/>
                  </a:moveTo>
                  <a:cubicBezTo>
                    <a:pt x="479468" y="37465"/>
                    <a:pt x="471213" y="36195"/>
                    <a:pt x="442638" y="40640"/>
                  </a:cubicBezTo>
                  <a:cubicBezTo>
                    <a:pt x="464227" y="42545"/>
                    <a:pt x="478833" y="53340"/>
                    <a:pt x="495343" y="48895"/>
                  </a:cubicBezTo>
                  <a:close/>
                  <a:moveTo>
                    <a:pt x="335958" y="89535"/>
                  </a:moveTo>
                  <a:cubicBezTo>
                    <a:pt x="321352" y="76200"/>
                    <a:pt x="305477" y="73025"/>
                    <a:pt x="293413" y="88900"/>
                  </a:cubicBezTo>
                  <a:cubicBezTo>
                    <a:pt x="308652" y="92710"/>
                    <a:pt x="320718" y="92710"/>
                    <a:pt x="335958" y="89535"/>
                  </a:cubicBezTo>
                  <a:close/>
                  <a:moveTo>
                    <a:pt x="539793" y="65405"/>
                  </a:moveTo>
                  <a:cubicBezTo>
                    <a:pt x="527727" y="76200"/>
                    <a:pt x="528363" y="81280"/>
                    <a:pt x="540427" y="92075"/>
                  </a:cubicBezTo>
                  <a:cubicBezTo>
                    <a:pt x="543602" y="83185"/>
                    <a:pt x="544873" y="74295"/>
                    <a:pt x="539793" y="6540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1" name="Google Shape;34;p2">
              <a:extLst>
                <a:ext uri="{FF2B5EF4-FFF2-40B4-BE49-F238E27FC236}">
                  <a16:creationId xmlns:a16="http://schemas.microsoft.com/office/drawing/2014/main" id="{72897235-3719-4DD4-823D-8C397B5C0EAE}"/>
                </a:ext>
              </a:extLst>
            </p:cNvPr>
            <p:cNvSpPr/>
            <p:nvPr/>
          </p:nvSpPr>
          <p:spPr>
            <a:xfrm>
              <a:off x="8091625" y="827000"/>
              <a:ext cx="485245" cy="329049"/>
            </a:xfrm>
            <a:custGeom>
              <a:avLst/>
              <a:gdLst/>
              <a:ahLst/>
              <a:cxnLst/>
              <a:rect l="l" t="t" r="r" b="b"/>
              <a:pathLst>
                <a:path w="620122" h="420510" extrusionOk="0">
                  <a:moveTo>
                    <a:pt x="1362" y="54610"/>
                  </a:moveTo>
                  <a:cubicBezTo>
                    <a:pt x="-31023" y="-68580"/>
                    <a:pt x="523967" y="55245"/>
                    <a:pt x="605247" y="54610"/>
                  </a:cubicBezTo>
                  <a:cubicBezTo>
                    <a:pt x="675732" y="78740"/>
                    <a:pt x="469992" y="177800"/>
                    <a:pt x="522062" y="355600"/>
                  </a:cubicBezTo>
                  <a:cubicBezTo>
                    <a:pt x="492217" y="360045"/>
                    <a:pt x="461102" y="331470"/>
                    <a:pt x="433162" y="323850"/>
                  </a:cubicBezTo>
                  <a:cubicBezTo>
                    <a:pt x="398237" y="328930"/>
                    <a:pt x="342992" y="455930"/>
                    <a:pt x="327752" y="410845"/>
                  </a:cubicBezTo>
                  <a:cubicBezTo>
                    <a:pt x="228057" y="287020"/>
                    <a:pt x="113757" y="169545"/>
                    <a:pt x="1362" y="54610"/>
                  </a:cubicBezTo>
                  <a:close/>
                  <a:moveTo>
                    <a:pt x="591277" y="78740"/>
                  </a:moveTo>
                  <a:cubicBezTo>
                    <a:pt x="418557" y="50800"/>
                    <a:pt x="245837" y="13335"/>
                    <a:pt x="69942" y="28575"/>
                  </a:cubicBezTo>
                  <a:cubicBezTo>
                    <a:pt x="217262" y="83820"/>
                    <a:pt x="363947" y="134620"/>
                    <a:pt x="513807" y="186055"/>
                  </a:cubicBezTo>
                  <a:cubicBezTo>
                    <a:pt x="542382" y="154305"/>
                    <a:pt x="569052" y="120650"/>
                    <a:pt x="591277" y="78740"/>
                  </a:cubicBezTo>
                  <a:close/>
                  <a:moveTo>
                    <a:pt x="443957" y="267335"/>
                  </a:moveTo>
                  <a:cubicBezTo>
                    <a:pt x="319497" y="199390"/>
                    <a:pt x="185512" y="113665"/>
                    <a:pt x="57242" y="74930"/>
                  </a:cubicBezTo>
                  <a:cubicBezTo>
                    <a:pt x="154397" y="174625"/>
                    <a:pt x="238852" y="289560"/>
                    <a:pt x="344897" y="379095"/>
                  </a:cubicBezTo>
                  <a:cubicBezTo>
                    <a:pt x="380457" y="344170"/>
                    <a:pt x="414747" y="311150"/>
                    <a:pt x="443957" y="267335"/>
                  </a:cubicBezTo>
                  <a:close/>
                  <a:moveTo>
                    <a:pt x="494122" y="207010"/>
                  </a:moveTo>
                  <a:cubicBezTo>
                    <a:pt x="380457" y="167640"/>
                    <a:pt x="263617" y="100330"/>
                    <a:pt x="146777" y="87630"/>
                  </a:cubicBezTo>
                  <a:cubicBezTo>
                    <a:pt x="262347" y="134620"/>
                    <a:pt x="363947" y="216535"/>
                    <a:pt x="484597" y="246380"/>
                  </a:cubicBezTo>
                  <a:cubicBezTo>
                    <a:pt x="480787" y="264795"/>
                    <a:pt x="472532" y="281305"/>
                    <a:pt x="490947" y="292735"/>
                  </a:cubicBezTo>
                  <a:cubicBezTo>
                    <a:pt x="503012" y="251460"/>
                    <a:pt x="502377" y="238125"/>
                    <a:pt x="494122" y="20701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2" name="Google Shape;35;p2">
              <a:extLst>
                <a:ext uri="{FF2B5EF4-FFF2-40B4-BE49-F238E27FC236}">
                  <a16:creationId xmlns:a16="http://schemas.microsoft.com/office/drawing/2014/main" id="{5A3FACA7-85C1-4399-A3E0-CB15AC77FC10}"/>
                </a:ext>
              </a:extLst>
            </p:cNvPr>
            <p:cNvSpPr/>
            <p:nvPr/>
          </p:nvSpPr>
          <p:spPr>
            <a:xfrm rot="3971375">
              <a:off x="3138581" y="4622816"/>
              <a:ext cx="362909" cy="668479"/>
            </a:xfrm>
            <a:custGeom>
              <a:avLst/>
              <a:gdLst/>
              <a:ahLst/>
              <a:cxnLst/>
              <a:rect l="l" t="t" r="r" b="b"/>
              <a:pathLst>
                <a:path w="421613" h="776612" extrusionOk="0">
                  <a:moveTo>
                    <a:pt x="99839" y="349282"/>
                  </a:moveTo>
                  <a:cubicBezTo>
                    <a:pt x="-9381" y="246412"/>
                    <a:pt x="19194" y="15272"/>
                    <a:pt x="189374" y="32"/>
                  </a:cubicBezTo>
                  <a:cubicBezTo>
                    <a:pt x="381144" y="-3143"/>
                    <a:pt x="497984" y="232442"/>
                    <a:pt x="363999" y="377222"/>
                  </a:cubicBezTo>
                  <a:cubicBezTo>
                    <a:pt x="448453" y="504222"/>
                    <a:pt x="402734" y="743617"/>
                    <a:pt x="235728" y="773462"/>
                  </a:cubicBezTo>
                  <a:cubicBezTo>
                    <a:pt x="125874" y="796957"/>
                    <a:pt x="24909" y="684562"/>
                    <a:pt x="4589" y="585502"/>
                  </a:cubicBezTo>
                  <a:cubicBezTo>
                    <a:pt x="-17001" y="491522"/>
                    <a:pt x="41419" y="414052"/>
                    <a:pt x="99839" y="349282"/>
                  </a:cubicBezTo>
                  <a:close/>
                  <a:moveTo>
                    <a:pt x="113174" y="363887"/>
                  </a:moveTo>
                  <a:cubicBezTo>
                    <a:pt x="60469" y="429927"/>
                    <a:pt x="-6206" y="502317"/>
                    <a:pt x="28084" y="594392"/>
                  </a:cubicBezTo>
                  <a:cubicBezTo>
                    <a:pt x="55389" y="680117"/>
                    <a:pt x="137939" y="773462"/>
                    <a:pt x="236999" y="755047"/>
                  </a:cubicBezTo>
                  <a:cubicBezTo>
                    <a:pt x="372253" y="724567"/>
                    <a:pt x="403369" y="568357"/>
                    <a:pt x="375428" y="450247"/>
                  </a:cubicBezTo>
                  <a:cubicBezTo>
                    <a:pt x="371619" y="427387"/>
                    <a:pt x="367809" y="403257"/>
                    <a:pt x="340503" y="395002"/>
                  </a:cubicBezTo>
                  <a:cubicBezTo>
                    <a:pt x="330344" y="400082"/>
                    <a:pt x="316374" y="404527"/>
                    <a:pt x="306214" y="412782"/>
                  </a:cubicBezTo>
                  <a:cubicBezTo>
                    <a:pt x="292244" y="424212"/>
                    <a:pt x="276369" y="408337"/>
                    <a:pt x="263669" y="418497"/>
                  </a:cubicBezTo>
                  <a:cubicBezTo>
                    <a:pt x="206519" y="425482"/>
                    <a:pt x="159528" y="398177"/>
                    <a:pt x="113174" y="363887"/>
                  </a:cubicBezTo>
                  <a:close/>
                  <a:moveTo>
                    <a:pt x="343678" y="364522"/>
                  </a:moveTo>
                  <a:cubicBezTo>
                    <a:pt x="427499" y="287052"/>
                    <a:pt x="415434" y="127032"/>
                    <a:pt x="317009" y="67342"/>
                  </a:cubicBezTo>
                  <a:cubicBezTo>
                    <a:pt x="218584" y="-10128"/>
                    <a:pt x="108728" y="4477"/>
                    <a:pt x="61739" y="125762"/>
                  </a:cubicBezTo>
                  <a:cubicBezTo>
                    <a:pt x="49039" y="190532"/>
                    <a:pt x="59199" y="321977"/>
                    <a:pt x="138574" y="332772"/>
                  </a:cubicBezTo>
                  <a:cubicBezTo>
                    <a:pt x="207789" y="290227"/>
                    <a:pt x="282719" y="322612"/>
                    <a:pt x="343678" y="364522"/>
                  </a:cubicBezTo>
                  <a:close/>
                  <a:moveTo>
                    <a:pt x="318914" y="379127"/>
                  </a:moveTo>
                  <a:cubicBezTo>
                    <a:pt x="306849" y="365792"/>
                    <a:pt x="294784" y="353727"/>
                    <a:pt x="273828" y="349282"/>
                  </a:cubicBezTo>
                  <a:cubicBezTo>
                    <a:pt x="280178" y="372777"/>
                    <a:pt x="291609" y="400717"/>
                    <a:pt x="318914" y="379127"/>
                  </a:cubicBezTo>
                  <a:close/>
                  <a:moveTo>
                    <a:pt x="211599" y="382302"/>
                  </a:moveTo>
                  <a:cubicBezTo>
                    <a:pt x="208424" y="357537"/>
                    <a:pt x="203344" y="315627"/>
                    <a:pt x="179849" y="340392"/>
                  </a:cubicBezTo>
                  <a:cubicBezTo>
                    <a:pt x="191278" y="353092"/>
                    <a:pt x="196994" y="369602"/>
                    <a:pt x="211599" y="382302"/>
                  </a:cubicBezTo>
                  <a:close/>
                  <a:moveTo>
                    <a:pt x="265574" y="395637"/>
                  </a:moveTo>
                  <a:cubicBezTo>
                    <a:pt x="251603" y="373412"/>
                    <a:pt x="248428" y="351822"/>
                    <a:pt x="233189" y="341027"/>
                  </a:cubicBezTo>
                  <a:cubicBezTo>
                    <a:pt x="229378" y="361982"/>
                    <a:pt x="236999" y="377222"/>
                    <a:pt x="265574" y="395637"/>
                  </a:cubicBezTo>
                  <a:close/>
                  <a:moveTo>
                    <a:pt x="167784" y="366427"/>
                  </a:moveTo>
                  <a:cubicBezTo>
                    <a:pt x="165244" y="354997"/>
                    <a:pt x="156989" y="341027"/>
                    <a:pt x="146828" y="349917"/>
                  </a:cubicBezTo>
                  <a:cubicBezTo>
                    <a:pt x="147464" y="361347"/>
                    <a:pt x="156989" y="368332"/>
                    <a:pt x="167784" y="36642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3" name="Google Shape;36;p2">
              <a:extLst>
                <a:ext uri="{FF2B5EF4-FFF2-40B4-BE49-F238E27FC236}">
                  <a16:creationId xmlns:a16="http://schemas.microsoft.com/office/drawing/2014/main" id="{642AD79A-DD76-4AD3-81C6-4ACA9BE0101A}"/>
                </a:ext>
              </a:extLst>
            </p:cNvPr>
            <p:cNvSpPr/>
            <p:nvPr/>
          </p:nvSpPr>
          <p:spPr>
            <a:xfrm rot="-3375824">
              <a:off x="8508205" y="4088864"/>
              <a:ext cx="623152" cy="166730"/>
            </a:xfrm>
            <a:custGeom>
              <a:avLst/>
              <a:gdLst/>
              <a:ahLst/>
              <a:cxnLst/>
              <a:rect l="l" t="t" r="r" b="b"/>
              <a:pathLst>
                <a:path w="724776" h="193920" extrusionOk="0">
                  <a:moveTo>
                    <a:pt x="536612" y="138058"/>
                  </a:moveTo>
                  <a:cubicBezTo>
                    <a:pt x="412787" y="137423"/>
                    <a:pt x="278168" y="171713"/>
                    <a:pt x="151168" y="192033"/>
                  </a:cubicBezTo>
                  <a:cubicBezTo>
                    <a:pt x="124497" y="199653"/>
                    <a:pt x="-29807" y="184413"/>
                    <a:pt x="5118" y="142503"/>
                  </a:cubicBezTo>
                  <a:cubicBezTo>
                    <a:pt x="118783" y="37093"/>
                    <a:pt x="265468" y="56778"/>
                    <a:pt x="408978" y="32013"/>
                  </a:cubicBezTo>
                  <a:cubicBezTo>
                    <a:pt x="490258" y="33283"/>
                    <a:pt x="579158" y="-16882"/>
                    <a:pt x="655358" y="5978"/>
                  </a:cubicBezTo>
                  <a:cubicBezTo>
                    <a:pt x="675043" y="28203"/>
                    <a:pt x="713143" y="-12437"/>
                    <a:pt x="722033" y="26933"/>
                  </a:cubicBezTo>
                  <a:cubicBezTo>
                    <a:pt x="725208" y="40268"/>
                    <a:pt x="727747" y="54238"/>
                    <a:pt x="716953" y="68208"/>
                  </a:cubicBezTo>
                  <a:cubicBezTo>
                    <a:pt x="673137" y="67573"/>
                    <a:pt x="667422" y="106943"/>
                    <a:pt x="643928" y="137423"/>
                  </a:cubicBezTo>
                  <a:cubicBezTo>
                    <a:pt x="555662" y="152663"/>
                    <a:pt x="452793" y="199653"/>
                    <a:pt x="367068" y="192033"/>
                  </a:cubicBezTo>
                  <a:cubicBezTo>
                    <a:pt x="370878" y="153933"/>
                    <a:pt x="501053" y="157108"/>
                    <a:pt x="536612" y="138058"/>
                  </a:cubicBezTo>
                  <a:close/>
                  <a:moveTo>
                    <a:pt x="388658" y="121548"/>
                  </a:moveTo>
                  <a:cubicBezTo>
                    <a:pt x="450887" y="124723"/>
                    <a:pt x="612812" y="113928"/>
                    <a:pt x="651547" y="66303"/>
                  </a:cubicBezTo>
                  <a:cubicBezTo>
                    <a:pt x="658533" y="42808"/>
                    <a:pt x="636943" y="18043"/>
                    <a:pt x="613447" y="21218"/>
                  </a:cubicBezTo>
                  <a:cubicBezTo>
                    <a:pt x="537883" y="43443"/>
                    <a:pt x="438822" y="31378"/>
                    <a:pt x="374053" y="70748"/>
                  </a:cubicBezTo>
                  <a:cubicBezTo>
                    <a:pt x="377862" y="86623"/>
                    <a:pt x="382943" y="103133"/>
                    <a:pt x="388658" y="121548"/>
                  </a:cubicBezTo>
                  <a:close/>
                  <a:moveTo>
                    <a:pt x="347383" y="65668"/>
                  </a:moveTo>
                  <a:cubicBezTo>
                    <a:pt x="275628" y="73288"/>
                    <a:pt x="201968" y="68843"/>
                    <a:pt x="133387" y="91703"/>
                  </a:cubicBezTo>
                  <a:cubicBezTo>
                    <a:pt x="131483" y="119008"/>
                    <a:pt x="132753" y="145678"/>
                    <a:pt x="144818" y="169808"/>
                  </a:cubicBezTo>
                  <a:cubicBezTo>
                    <a:pt x="207047" y="142503"/>
                    <a:pt x="415962" y="182508"/>
                    <a:pt x="347383" y="65668"/>
                  </a:cubicBezTo>
                  <a:close/>
                  <a:moveTo>
                    <a:pt x="106083" y="110118"/>
                  </a:moveTo>
                  <a:cubicBezTo>
                    <a:pt x="81318" y="115198"/>
                    <a:pt x="37503" y="132978"/>
                    <a:pt x="52743" y="161553"/>
                  </a:cubicBezTo>
                  <a:cubicBezTo>
                    <a:pt x="71158" y="167903"/>
                    <a:pt x="90208" y="171078"/>
                    <a:pt x="111797" y="169808"/>
                  </a:cubicBezTo>
                  <a:cubicBezTo>
                    <a:pt x="115608" y="148218"/>
                    <a:pt x="114972" y="129803"/>
                    <a:pt x="106083" y="110118"/>
                  </a:cubicBezTo>
                  <a:close/>
                  <a:moveTo>
                    <a:pt x="680122" y="49793"/>
                  </a:moveTo>
                  <a:cubicBezTo>
                    <a:pt x="687743" y="47253"/>
                    <a:pt x="701712" y="49158"/>
                    <a:pt x="699172" y="37728"/>
                  </a:cubicBezTo>
                  <a:cubicBezTo>
                    <a:pt x="692187" y="30743"/>
                    <a:pt x="679487" y="37093"/>
                    <a:pt x="680122" y="4979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4" name="Google Shape;37;p2">
              <a:extLst>
                <a:ext uri="{FF2B5EF4-FFF2-40B4-BE49-F238E27FC236}">
                  <a16:creationId xmlns:a16="http://schemas.microsoft.com/office/drawing/2014/main" id="{81ECFDDF-9A1E-4C71-9C9D-5E09A2D9C4E2}"/>
                </a:ext>
              </a:extLst>
            </p:cNvPr>
            <p:cNvSpPr/>
            <p:nvPr/>
          </p:nvSpPr>
          <p:spPr>
            <a:xfrm rot="3011666">
              <a:off x="3210524" y="657803"/>
              <a:ext cx="199800" cy="513948"/>
            </a:xfrm>
            <a:custGeom>
              <a:avLst/>
              <a:gdLst/>
              <a:ahLst/>
              <a:cxnLst/>
              <a:rect l="l" t="t" r="r" b="b"/>
              <a:pathLst>
                <a:path w="232561" h="598221" extrusionOk="0">
                  <a:moveTo>
                    <a:pt x="113282" y="495986"/>
                  </a:moveTo>
                  <a:cubicBezTo>
                    <a:pt x="77722" y="519481"/>
                    <a:pt x="56132" y="585521"/>
                    <a:pt x="22477" y="598221"/>
                  </a:cubicBezTo>
                  <a:cubicBezTo>
                    <a:pt x="-37848" y="484556"/>
                    <a:pt x="39622" y="335966"/>
                    <a:pt x="64388" y="215316"/>
                  </a:cubicBezTo>
                  <a:cubicBezTo>
                    <a:pt x="82802" y="153086"/>
                    <a:pt x="100582" y="90856"/>
                    <a:pt x="115822" y="27991"/>
                  </a:cubicBezTo>
                  <a:cubicBezTo>
                    <a:pt x="125982" y="-24714"/>
                    <a:pt x="192657" y="10846"/>
                    <a:pt x="223772" y="23546"/>
                  </a:cubicBezTo>
                  <a:cubicBezTo>
                    <a:pt x="247268" y="47041"/>
                    <a:pt x="216788" y="92761"/>
                    <a:pt x="211707" y="121971"/>
                  </a:cubicBezTo>
                  <a:cubicBezTo>
                    <a:pt x="177418" y="245161"/>
                    <a:pt x="139952" y="370891"/>
                    <a:pt x="113282" y="495986"/>
                  </a:cubicBezTo>
                  <a:close/>
                  <a:moveTo>
                    <a:pt x="45338" y="459156"/>
                  </a:moveTo>
                  <a:cubicBezTo>
                    <a:pt x="74547" y="330886"/>
                    <a:pt x="116457" y="203886"/>
                    <a:pt x="145668" y="76886"/>
                  </a:cubicBezTo>
                  <a:cubicBezTo>
                    <a:pt x="109472" y="78156"/>
                    <a:pt x="92963" y="222301"/>
                    <a:pt x="77088" y="257861"/>
                  </a:cubicBezTo>
                  <a:cubicBezTo>
                    <a:pt x="76452" y="295961"/>
                    <a:pt x="252" y="454076"/>
                    <a:pt x="45972" y="458521"/>
                  </a:cubicBezTo>
                  <a:cubicBezTo>
                    <a:pt x="56768" y="469316"/>
                    <a:pt x="69468" y="475666"/>
                    <a:pt x="85977" y="474396"/>
                  </a:cubicBezTo>
                  <a:cubicBezTo>
                    <a:pt x="99313" y="448996"/>
                    <a:pt x="223772" y="55296"/>
                    <a:pt x="175513" y="85776"/>
                  </a:cubicBezTo>
                  <a:cubicBezTo>
                    <a:pt x="122807" y="140386"/>
                    <a:pt x="105027" y="464871"/>
                    <a:pt x="45338" y="459156"/>
                  </a:cubicBezTo>
                  <a:close/>
                  <a:moveTo>
                    <a:pt x="202818" y="67361"/>
                  </a:moveTo>
                  <a:cubicBezTo>
                    <a:pt x="204722" y="55296"/>
                    <a:pt x="205357" y="47676"/>
                    <a:pt x="206627" y="40691"/>
                  </a:cubicBezTo>
                  <a:cubicBezTo>
                    <a:pt x="183768" y="22276"/>
                    <a:pt x="139318" y="7671"/>
                    <a:pt x="136777" y="48311"/>
                  </a:cubicBezTo>
                  <a:cubicBezTo>
                    <a:pt x="156463" y="61011"/>
                    <a:pt x="178052" y="61646"/>
                    <a:pt x="202818" y="67361"/>
                  </a:cubicBezTo>
                  <a:close/>
                  <a:moveTo>
                    <a:pt x="28193" y="481381"/>
                  </a:moveTo>
                  <a:cubicBezTo>
                    <a:pt x="20572" y="551231"/>
                    <a:pt x="45338" y="558216"/>
                    <a:pt x="77088" y="497891"/>
                  </a:cubicBezTo>
                  <a:cubicBezTo>
                    <a:pt x="61847" y="488366"/>
                    <a:pt x="45972" y="487096"/>
                    <a:pt x="28193" y="48138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5" name="Google Shape;38;p2">
              <a:extLst>
                <a:ext uri="{FF2B5EF4-FFF2-40B4-BE49-F238E27FC236}">
                  <a16:creationId xmlns:a16="http://schemas.microsoft.com/office/drawing/2014/main" id="{A307D40B-7242-44D4-B591-17FD3BF09EB6}"/>
                </a:ext>
              </a:extLst>
            </p:cNvPr>
            <p:cNvSpPr/>
            <p:nvPr/>
          </p:nvSpPr>
          <p:spPr>
            <a:xfrm rot="2196195">
              <a:off x="6146037" y="457710"/>
              <a:ext cx="248001" cy="649145"/>
            </a:xfrm>
            <a:custGeom>
              <a:avLst/>
              <a:gdLst/>
              <a:ahLst/>
              <a:cxnLst/>
              <a:rect l="l" t="t" r="r" b="b"/>
              <a:pathLst>
                <a:path w="288538" h="755251" extrusionOk="0">
                  <a:moveTo>
                    <a:pt x="159385" y="203835"/>
                  </a:moveTo>
                  <a:cubicBezTo>
                    <a:pt x="135890" y="116840"/>
                    <a:pt x="239395" y="74295"/>
                    <a:pt x="262890" y="0"/>
                  </a:cubicBezTo>
                  <a:cubicBezTo>
                    <a:pt x="320675" y="52070"/>
                    <a:pt x="269240" y="174625"/>
                    <a:pt x="222250" y="224155"/>
                  </a:cubicBezTo>
                  <a:cubicBezTo>
                    <a:pt x="234950" y="327660"/>
                    <a:pt x="174625" y="408305"/>
                    <a:pt x="143510" y="500380"/>
                  </a:cubicBezTo>
                  <a:cubicBezTo>
                    <a:pt x="127635" y="528955"/>
                    <a:pt x="31750" y="815975"/>
                    <a:pt x="0" y="743585"/>
                  </a:cubicBezTo>
                  <a:cubicBezTo>
                    <a:pt x="43180" y="565150"/>
                    <a:pt x="33020" y="346710"/>
                    <a:pt x="159385" y="203835"/>
                  </a:cubicBezTo>
                  <a:close/>
                  <a:moveTo>
                    <a:pt x="43180" y="661035"/>
                  </a:moveTo>
                  <a:cubicBezTo>
                    <a:pt x="103505" y="576580"/>
                    <a:pt x="121920" y="466725"/>
                    <a:pt x="172085" y="375285"/>
                  </a:cubicBezTo>
                  <a:cubicBezTo>
                    <a:pt x="180340" y="353060"/>
                    <a:pt x="195580" y="327025"/>
                    <a:pt x="191135" y="303530"/>
                  </a:cubicBezTo>
                  <a:cubicBezTo>
                    <a:pt x="171450" y="297815"/>
                    <a:pt x="151765" y="292735"/>
                    <a:pt x="130810" y="287020"/>
                  </a:cubicBezTo>
                  <a:cubicBezTo>
                    <a:pt x="74295" y="403225"/>
                    <a:pt x="55880" y="534035"/>
                    <a:pt x="43180" y="661035"/>
                  </a:cubicBezTo>
                  <a:close/>
                  <a:moveTo>
                    <a:pt x="261620" y="67945"/>
                  </a:moveTo>
                  <a:cubicBezTo>
                    <a:pt x="259715" y="67310"/>
                    <a:pt x="257175" y="66040"/>
                    <a:pt x="255270" y="65405"/>
                  </a:cubicBezTo>
                  <a:cubicBezTo>
                    <a:pt x="223520" y="100965"/>
                    <a:pt x="139700" y="176530"/>
                    <a:pt x="197485" y="217805"/>
                  </a:cubicBezTo>
                  <a:cubicBezTo>
                    <a:pt x="239395" y="175260"/>
                    <a:pt x="261620" y="126365"/>
                    <a:pt x="261620" y="67945"/>
                  </a:cubicBezTo>
                  <a:close/>
                  <a:moveTo>
                    <a:pt x="194945" y="281305"/>
                  </a:moveTo>
                  <a:cubicBezTo>
                    <a:pt x="201295" y="267970"/>
                    <a:pt x="201930" y="255905"/>
                    <a:pt x="198120" y="244475"/>
                  </a:cubicBezTo>
                  <a:cubicBezTo>
                    <a:pt x="167640" y="227330"/>
                    <a:pt x="156210" y="233045"/>
                    <a:pt x="146685" y="267335"/>
                  </a:cubicBezTo>
                  <a:cubicBezTo>
                    <a:pt x="158750" y="282575"/>
                    <a:pt x="175260" y="283210"/>
                    <a:pt x="194945" y="28130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26" name="Google Shape;39;p2">
              <a:extLst>
                <a:ext uri="{FF2B5EF4-FFF2-40B4-BE49-F238E27FC236}">
                  <a16:creationId xmlns:a16="http://schemas.microsoft.com/office/drawing/2014/main" id="{5604326C-FEC7-4B4A-B74C-3C1729D48495}"/>
                </a:ext>
              </a:extLst>
            </p:cNvPr>
            <p:cNvGrpSpPr/>
            <p:nvPr/>
          </p:nvGrpSpPr>
          <p:grpSpPr>
            <a:xfrm>
              <a:off x="5462677" y="4575203"/>
              <a:ext cx="497752" cy="491681"/>
              <a:chOff x="7559440" y="3972390"/>
              <a:chExt cx="497752" cy="491681"/>
            </a:xfrm>
          </p:grpSpPr>
          <p:sp>
            <p:nvSpPr>
              <p:cNvPr id="94" name="Google Shape;40;p2">
                <a:extLst>
                  <a:ext uri="{FF2B5EF4-FFF2-40B4-BE49-F238E27FC236}">
                    <a16:creationId xmlns:a16="http://schemas.microsoft.com/office/drawing/2014/main" id="{E60B4D83-EADD-40A5-8739-074D34190748}"/>
                  </a:ext>
                </a:extLst>
              </p:cNvPr>
              <p:cNvSpPr/>
              <p:nvPr/>
            </p:nvSpPr>
            <p:spPr>
              <a:xfrm rot="1226546">
                <a:off x="7692589" y="4106488"/>
                <a:ext cx="320298" cy="311457"/>
              </a:xfrm>
              <a:custGeom>
                <a:avLst/>
                <a:gdLst/>
                <a:ahLst/>
                <a:cxnLst/>
                <a:rect l="l" t="t" r="r" b="b"/>
                <a:pathLst>
                  <a:path w="15179" h="14760" extrusionOk="0">
                    <a:moveTo>
                      <a:pt x="9741" y="0"/>
                    </a:moveTo>
                    <a:lnTo>
                      <a:pt x="8306" y="60"/>
                    </a:lnTo>
                    <a:lnTo>
                      <a:pt x="7649" y="179"/>
                    </a:lnTo>
                    <a:lnTo>
                      <a:pt x="7052" y="299"/>
                    </a:lnTo>
                    <a:lnTo>
                      <a:pt x="6514" y="478"/>
                    </a:lnTo>
                    <a:lnTo>
                      <a:pt x="5916" y="777"/>
                    </a:lnTo>
                    <a:lnTo>
                      <a:pt x="5319" y="1135"/>
                    </a:lnTo>
                    <a:lnTo>
                      <a:pt x="4721" y="1613"/>
                    </a:lnTo>
                    <a:lnTo>
                      <a:pt x="3765" y="2510"/>
                    </a:lnTo>
                    <a:lnTo>
                      <a:pt x="2809" y="3585"/>
                    </a:lnTo>
                    <a:lnTo>
                      <a:pt x="1913" y="4840"/>
                    </a:lnTo>
                    <a:lnTo>
                      <a:pt x="1494" y="5557"/>
                    </a:lnTo>
                    <a:lnTo>
                      <a:pt x="1076" y="6215"/>
                    </a:lnTo>
                    <a:lnTo>
                      <a:pt x="777" y="6932"/>
                    </a:lnTo>
                    <a:lnTo>
                      <a:pt x="478" y="7649"/>
                    </a:lnTo>
                    <a:lnTo>
                      <a:pt x="239" y="8366"/>
                    </a:lnTo>
                    <a:lnTo>
                      <a:pt x="60" y="9023"/>
                    </a:lnTo>
                    <a:lnTo>
                      <a:pt x="0" y="9740"/>
                    </a:lnTo>
                    <a:lnTo>
                      <a:pt x="0" y="10457"/>
                    </a:lnTo>
                    <a:lnTo>
                      <a:pt x="120" y="11115"/>
                    </a:lnTo>
                    <a:lnTo>
                      <a:pt x="299" y="11772"/>
                    </a:lnTo>
                    <a:lnTo>
                      <a:pt x="419" y="12071"/>
                    </a:lnTo>
                    <a:lnTo>
                      <a:pt x="598" y="12429"/>
                    </a:lnTo>
                    <a:lnTo>
                      <a:pt x="1076" y="12907"/>
                    </a:lnTo>
                    <a:lnTo>
                      <a:pt x="1554" y="13385"/>
                    </a:lnTo>
                    <a:lnTo>
                      <a:pt x="2152" y="13684"/>
                    </a:lnTo>
                    <a:lnTo>
                      <a:pt x="2749" y="13983"/>
                    </a:lnTo>
                    <a:lnTo>
                      <a:pt x="3406" y="14222"/>
                    </a:lnTo>
                    <a:lnTo>
                      <a:pt x="4721" y="14640"/>
                    </a:lnTo>
                    <a:lnTo>
                      <a:pt x="5378" y="14760"/>
                    </a:lnTo>
                    <a:lnTo>
                      <a:pt x="6036" y="14760"/>
                    </a:lnTo>
                    <a:lnTo>
                      <a:pt x="6753" y="14700"/>
                    </a:lnTo>
                    <a:lnTo>
                      <a:pt x="7410" y="14521"/>
                    </a:lnTo>
                    <a:lnTo>
                      <a:pt x="8067" y="14222"/>
                    </a:lnTo>
                    <a:lnTo>
                      <a:pt x="8665" y="13923"/>
                    </a:lnTo>
                    <a:lnTo>
                      <a:pt x="9262" y="13505"/>
                    </a:lnTo>
                    <a:lnTo>
                      <a:pt x="9741" y="13086"/>
                    </a:lnTo>
                    <a:lnTo>
                      <a:pt x="10756" y="12130"/>
                    </a:lnTo>
                    <a:lnTo>
                      <a:pt x="11832" y="10935"/>
                    </a:lnTo>
                    <a:lnTo>
                      <a:pt x="12908" y="9561"/>
                    </a:lnTo>
                    <a:lnTo>
                      <a:pt x="13445" y="8844"/>
                    </a:lnTo>
                    <a:lnTo>
                      <a:pt x="13923" y="8067"/>
                    </a:lnTo>
                    <a:lnTo>
                      <a:pt x="14342" y="7290"/>
                    </a:lnTo>
                    <a:lnTo>
                      <a:pt x="14700" y="6513"/>
                    </a:lnTo>
                    <a:lnTo>
                      <a:pt x="14939" y="5737"/>
                    </a:lnTo>
                    <a:lnTo>
                      <a:pt x="15118" y="4960"/>
                    </a:lnTo>
                    <a:lnTo>
                      <a:pt x="15178" y="4183"/>
                    </a:lnTo>
                    <a:lnTo>
                      <a:pt x="15178" y="3466"/>
                    </a:lnTo>
                    <a:lnTo>
                      <a:pt x="15059" y="3107"/>
                    </a:lnTo>
                    <a:lnTo>
                      <a:pt x="14999" y="2749"/>
                    </a:lnTo>
                    <a:lnTo>
                      <a:pt x="14820" y="2390"/>
                    </a:lnTo>
                    <a:lnTo>
                      <a:pt x="14640" y="2092"/>
                    </a:lnTo>
                    <a:lnTo>
                      <a:pt x="14222" y="1494"/>
                    </a:lnTo>
                    <a:lnTo>
                      <a:pt x="13684" y="1076"/>
                    </a:lnTo>
                    <a:lnTo>
                      <a:pt x="13147" y="657"/>
                    </a:lnTo>
                    <a:lnTo>
                      <a:pt x="12489" y="418"/>
                    </a:lnTo>
                    <a:lnTo>
                      <a:pt x="11832" y="179"/>
                    </a:lnTo>
                    <a:lnTo>
                      <a:pt x="11115" y="60"/>
                    </a:lnTo>
                    <a:lnTo>
                      <a:pt x="10458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" name="Google Shape;41;p2">
                <a:extLst>
                  <a:ext uri="{FF2B5EF4-FFF2-40B4-BE49-F238E27FC236}">
                    <a16:creationId xmlns:a16="http://schemas.microsoft.com/office/drawing/2014/main" id="{3FF74D61-8F2C-415F-870A-3E26DFE35B47}"/>
                  </a:ext>
                </a:extLst>
              </p:cNvPr>
              <p:cNvSpPr/>
              <p:nvPr/>
            </p:nvSpPr>
            <p:spPr>
              <a:xfrm rot="9911830">
                <a:off x="7595186" y="4010311"/>
                <a:ext cx="338915" cy="323847"/>
              </a:xfrm>
              <a:custGeom>
                <a:avLst/>
                <a:gdLst/>
                <a:ahLst/>
                <a:cxnLst/>
                <a:rect l="l" t="t" r="r" b="b"/>
                <a:pathLst>
                  <a:path w="393594" h="376095" extrusionOk="0">
                    <a:moveTo>
                      <a:pt x="214418" y="305042"/>
                    </a:moveTo>
                    <a:cubicBezTo>
                      <a:pt x="268393" y="256783"/>
                      <a:pt x="326179" y="286627"/>
                      <a:pt x="373168" y="327902"/>
                    </a:cubicBezTo>
                    <a:cubicBezTo>
                      <a:pt x="334433" y="348222"/>
                      <a:pt x="287443" y="358383"/>
                      <a:pt x="242358" y="352667"/>
                    </a:cubicBezTo>
                    <a:cubicBezTo>
                      <a:pt x="242358" y="360922"/>
                      <a:pt x="242358" y="367908"/>
                      <a:pt x="242358" y="374892"/>
                    </a:cubicBezTo>
                    <a:cubicBezTo>
                      <a:pt x="208704" y="387592"/>
                      <a:pt x="190289" y="296152"/>
                      <a:pt x="189654" y="269483"/>
                    </a:cubicBezTo>
                    <a:cubicBezTo>
                      <a:pt x="-846" y="341237"/>
                      <a:pt x="-74507" y="101208"/>
                      <a:pt x="94404" y="17387"/>
                    </a:cubicBezTo>
                    <a:cubicBezTo>
                      <a:pt x="178858" y="4052"/>
                      <a:pt x="289983" y="-24523"/>
                      <a:pt x="357293" y="44058"/>
                    </a:cubicBezTo>
                    <a:cubicBezTo>
                      <a:pt x="419523" y="101208"/>
                      <a:pt x="399839" y="240272"/>
                      <a:pt x="312843" y="258687"/>
                    </a:cubicBezTo>
                    <a:cubicBezTo>
                      <a:pt x="260139" y="256147"/>
                      <a:pt x="199179" y="220587"/>
                      <a:pt x="214418" y="305042"/>
                    </a:cubicBezTo>
                    <a:close/>
                    <a:moveTo>
                      <a:pt x="369993" y="131687"/>
                    </a:moveTo>
                    <a:cubicBezTo>
                      <a:pt x="377614" y="58662"/>
                      <a:pt x="298873" y="-2298"/>
                      <a:pt x="229658" y="22467"/>
                    </a:cubicBezTo>
                    <a:cubicBezTo>
                      <a:pt x="215054" y="28817"/>
                      <a:pt x="199179" y="30722"/>
                      <a:pt x="183304" y="23737"/>
                    </a:cubicBezTo>
                    <a:cubicBezTo>
                      <a:pt x="79164" y="3417"/>
                      <a:pt x="-14182" y="120258"/>
                      <a:pt x="37254" y="217412"/>
                    </a:cubicBezTo>
                    <a:cubicBezTo>
                      <a:pt x="86148" y="318377"/>
                      <a:pt x="176954" y="218047"/>
                      <a:pt x="249979" y="231383"/>
                    </a:cubicBezTo>
                    <a:cubicBezTo>
                      <a:pt x="321098" y="265037"/>
                      <a:pt x="372533" y="203442"/>
                      <a:pt x="369993" y="131687"/>
                    </a:cubicBezTo>
                    <a:close/>
                    <a:moveTo>
                      <a:pt x="329354" y="320283"/>
                    </a:moveTo>
                    <a:cubicBezTo>
                      <a:pt x="316654" y="302502"/>
                      <a:pt x="260773" y="284087"/>
                      <a:pt x="255693" y="313297"/>
                    </a:cubicBezTo>
                    <a:cubicBezTo>
                      <a:pt x="266489" y="313297"/>
                      <a:pt x="288714" y="301233"/>
                      <a:pt x="289348" y="318377"/>
                    </a:cubicBezTo>
                    <a:cubicBezTo>
                      <a:pt x="289348" y="327902"/>
                      <a:pt x="272839" y="324092"/>
                      <a:pt x="275379" y="337427"/>
                    </a:cubicBezTo>
                    <a:cubicBezTo>
                      <a:pt x="293158" y="336158"/>
                      <a:pt x="310304" y="333617"/>
                      <a:pt x="329354" y="320283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grpSp>
          <p:nvGrpSpPr>
            <p:cNvPr id="27" name="Google Shape;42;p2">
              <a:extLst>
                <a:ext uri="{FF2B5EF4-FFF2-40B4-BE49-F238E27FC236}">
                  <a16:creationId xmlns:a16="http://schemas.microsoft.com/office/drawing/2014/main" id="{7B3E780A-FE52-4930-9014-FFEF28ABA4B9}"/>
                </a:ext>
              </a:extLst>
            </p:cNvPr>
            <p:cNvGrpSpPr/>
            <p:nvPr/>
          </p:nvGrpSpPr>
          <p:grpSpPr>
            <a:xfrm>
              <a:off x="510215" y="271717"/>
              <a:ext cx="557022" cy="619823"/>
              <a:chOff x="510215" y="271717"/>
              <a:chExt cx="557022" cy="619823"/>
            </a:xfrm>
          </p:grpSpPr>
          <p:sp>
            <p:nvSpPr>
              <p:cNvPr id="92" name="Google Shape;43;p2">
                <a:extLst>
                  <a:ext uri="{FF2B5EF4-FFF2-40B4-BE49-F238E27FC236}">
                    <a16:creationId xmlns:a16="http://schemas.microsoft.com/office/drawing/2014/main" id="{DB21A7C0-E34D-4908-8E9B-C1BA461C3D8C}"/>
                  </a:ext>
                </a:extLst>
              </p:cNvPr>
              <p:cNvSpPr/>
              <p:nvPr/>
            </p:nvSpPr>
            <p:spPr>
              <a:xfrm>
                <a:off x="676827" y="376200"/>
                <a:ext cx="316843" cy="320881"/>
              </a:xfrm>
              <a:custGeom>
                <a:avLst/>
                <a:gdLst/>
                <a:ahLst/>
                <a:cxnLst/>
                <a:rect l="l" t="t" r="r" b="b"/>
                <a:pathLst>
                  <a:path w="23544" h="23844" extrusionOk="0">
                    <a:moveTo>
                      <a:pt x="12429" y="1"/>
                    </a:moveTo>
                    <a:lnTo>
                      <a:pt x="11234" y="120"/>
                    </a:lnTo>
                    <a:lnTo>
                      <a:pt x="10099" y="359"/>
                    </a:lnTo>
                    <a:lnTo>
                      <a:pt x="9023" y="718"/>
                    </a:lnTo>
                    <a:lnTo>
                      <a:pt x="7948" y="1136"/>
                    </a:lnTo>
                    <a:lnTo>
                      <a:pt x="6872" y="1614"/>
                    </a:lnTo>
                    <a:lnTo>
                      <a:pt x="5856" y="2212"/>
                    </a:lnTo>
                    <a:lnTo>
                      <a:pt x="4960" y="2869"/>
                    </a:lnTo>
                    <a:lnTo>
                      <a:pt x="4064" y="3586"/>
                    </a:lnTo>
                    <a:lnTo>
                      <a:pt x="3227" y="4363"/>
                    </a:lnTo>
                    <a:lnTo>
                      <a:pt x="2510" y="5259"/>
                    </a:lnTo>
                    <a:lnTo>
                      <a:pt x="1853" y="6156"/>
                    </a:lnTo>
                    <a:lnTo>
                      <a:pt x="1255" y="7112"/>
                    </a:lnTo>
                    <a:lnTo>
                      <a:pt x="777" y="8128"/>
                    </a:lnTo>
                    <a:lnTo>
                      <a:pt x="418" y="9203"/>
                    </a:lnTo>
                    <a:lnTo>
                      <a:pt x="179" y="10279"/>
                    </a:lnTo>
                    <a:lnTo>
                      <a:pt x="0" y="11414"/>
                    </a:lnTo>
                    <a:lnTo>
                      <a:pt x="0" y="12609"/>
                    </a:lnTo>
                    <a:lnTo>
                      <a:pt x="179" y="13804"/>
                    </a:lnTo>
                    <a:lnTo>
                      <a:pt x="418" y="14999"/>
                    </a:lnTo>
                    <a:lnTo>
                      <a:pt x="777" y="16075"/>
                    </a:lnTo>
                    <a:lnTo>
                      <a:pt x="1315" y="17151"/>
                    </a:lnTo>
                    <a:lnTo>
                      <a:pt x="1912" y="18166"/>
                    </a:lnTo>
                    <a:lnTo>
                      <a:pt x="2570" y="19063"/>
                    </a:lnTo>
                    <a:lnTo>
                      <a:pt x="3346" y="19959"/>
                    </a:lnTo>
                    <a:lnTo>
                      <a:pt x="4243" y="20736"/>
                    </a:lnTo>
                    <a:lnTo>
                      <a:pt x="5139" y="21453"/>
                    </a:lnTo>
                    <a:lnTo>
                      <a:pt x="6155" y="22110"/>
                    </a:lnTo>
                    <a:lnTo>
                      <a:pt x="7171" y="22648"/>
                    </a:lnTo>
                    <a:lnTo>
                      <a:pt x="8306" y="23066"/>
                    </a:lnTo>
                    <a:lnTo>
                      <a:pt x="9382" y="23425"/>
                    </a:lnTo>
                    <a:lnTo>
                      <a:pt x="10517" y="23664"/>
                    </a:lnTo>
                    <a:lnTo>
                      <a:pt x="11712" y="23783"/>
                    </a:lnTo>
                    <a:lnTo>
                      <a:pt x="12848" y="23843"/>
                    </a:lnTo>
                    <a:lnTo>
                      <a:pt x="14043" y="23724"/>
                    </a:lnTo>
                    <a:lnTo>
                      <a:pt x="15238" y="23485"/>
                    </a:lnTo>
                    <a:lnTo>
                      <a:pt x="16373" y="23066"/>
                    </a:lnTo>
                    <a:lnTo>
                      <a:pt x="17449" y="22588"/>
                    </a:lnTo>
                    <a:lnTo>
                      <a:pt x="18465" y="21991"/>
                    </a:lnTo>
                    <a:lnTo>
                      <a:pt x="19421" y="21274"/>
                    </a:lnTo>
                    <a:lnTo>
                      <a:pt x="20317" y="20497"/>
                    </a:lnTo>
                    <a:lnTo>
                      <a:pt x="21094" y="19660"/>
                    </a:lnTo>
                    <a:lnTo>
                      <a:pt x="21751" y="18704"/>
                    </a:lnTo>
                    <a:lnTo>
                      <a:pt x="22349" y="17688"/>
                    </a:lnTo>
                    <a:lnTo>
                      <a:pt x="22827" y="16673"/>
                    </a:lnTo>
                    <a:lnTo>
                      <a:pt x="23185" y="15537"/>
                    </a:lnTo>
                    <a:lnTo>
                      <a:pt x="23424" y="14402"/>
                    </a:lnTo>
                    <a:lnTo>
                      <a:pt x="23544" y="13207"/>
                    </a:lnTo>
                    <a:lnTo>
                      <a:pt x="23544" y="12071"/>
                    </a:lnTo>
                    <a:lnTo>
                      <a:pt x="23484" y="11474"/>
                    </a:lnTo>
                    <a:lnTo>
                      <a:pt x="23364" y="10876"/>
                    </a:lnTo>
                    <a:lnTo>
                      <a:pt x="23185" y="10279"/>
                    </a:lnTo>
                    <a:lnTo>
                      <a:pt x="23006" y="9681"/>
                    </a:lnTo>
                    <a:lnTo>
                      <a:pt x="23006" y="9024"/>
                    </a:lnTo>
                    <a:lnTo>
                      <a:pt x="22946" y="8426"/>
                    </a:lnTo>
                    <a:lnTo>
                      <a:pt x="22827" y="7889"/>
                    </a:lnTo>
                    <a:lnTo>
                      <a:pt x="22707" y="7291"/>
                    </a:lnTo>
                    <a:lnTo>
                      <a:pt x="22528" y="6753"/>
                    </a:lnTo>
                    <a:lnTo>
                      <a:pt x="22349" y="6215"/>
                    </a:lnTo>
                    <a:lnTo>
                      <a:pt x="21811" y="5200"/>
                    </a:lnTo>
                    <a:lnTo>
                      <a:pt x="21213" y="4243"/>
                    </a:lnTo>
                    <a:lnTo>
                      <a:pt x="20496" y="3407"/>
                    </a:lnTo>
                    <a:lnTo>
                      <a:pt x="19719" y="2630"/>
                    </a:lnTo>
                    <a:lnTo>
                      <a:pt x="18823" y="1973"/>
                    </a:lnTo>
                    <a:lnTo>
                      <a:pt x="17867" y="1375"/>
                    </a:lnTo>
                    <a:lnTo>
                      <a:pt x="16851" y="837"/>
                    </a:lnTo>
                    <a:lnTo>
                      <a:pt x="15776" y="479"/>
                    </a:lnTo>
                    <a:lnTo>
                      <a:pt x="14700" y="180"/>
                    </a:lnTo>
                    <a:lnTo>
                      <a:pt x="13565" y="61"/>
                    </a:lnTo>
                    <a:lnTo>
                      <a:pt x="12429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" name="Google Shape;44;p2">
                <a:extLst>
                  <a:ext uri="{FF2B5EF4-FFF2-40B4-BE49-F238E27FC236}">
                    <a16:creationId xmlns:a16="http://schemas.microsoft.com/office/drawing/2014/main" id="{BCE5B0F7-5FDC-4B9D-8BBB-EEDEFB1C0A37}"/>
                  </a:ext>
                </a:extLst>
              </p:cNvPr>
              <p:cNvSpPr/>
              <p:nvPr/>
            </p:nvSpPr>
            <p:spPr>
              <a:xfrm>
                <a:off x="510215" y="271717"/>
                <a:ext cx="557022" cy="619823"/>
              </a:xfrm>
              <a:custGeom>
                <a:avLst/>
                <a:gdLst/>
                <a:ahLst/>
                <a:cxnLst/>
                <a:rect l="l" t="t" r="r" b="b"/>
                <a:pathLst>
                  <a:path w="647700" h="720725" extrusionOk="0">
                    <a:moveTo>
                      <a:pt x="513080" y="323850"/>
                    </a:moveTo>
                    <a:cubicBezTo>
                      <a:pt x="517525" y="130810"/>
                      <a:pt x="228600" y="72390"/>
                      <a:pt x="142240" y="236220"/>
                    </a:cubicBezTo>
                    <a:cubicBezTo>
                      <a:pt x="74930" y="348615"/>
                      <a:pt x="219075" y="481330"/>
                      <a:pt x="144145" y="591820"/>
                    </a:cubicBezTo>
                    <a:cubicBezTo>
                      <a:pt x="140970" y="600710"/>
                      <a:pt x="146685" y="608965"/>
                      <a:pt x="156210" y="609600"/>
                    </a:cubicBezTo>
                    <a:cubicBezTo>
                      <a:pt x="183515" y="603250"/>
                      <a:pt x="471170" y="659130"/>
                      <a:pt x="370205" y="597535"/>
                    </a:cubicBezTo>
                    <a:cubicBezTo>
                      <a:pt x="366395" y="480695"/>
                      <a:pt x="525780" y="439420"/>
                      <a:pt x="513080" y="323850"/>
                    </a:cubicBezTo>
                    <a:close/>
                    <a:moveTo>
                      <a:pt x="249555" y="588010"/>
                    </a:moveTo>
                    <a:cubicBezTo>
                      <a:pt x="230505" y="510540"/>
                      <a:pt x="259080" y="430530"/>
                      <a:pt x="233680" y="354965"/>
                    </a:cubicBezTo>
                    <a:cubicBezTo>
                      <a:pt x="264795" y="384175"/>
                      <a:pt x="260985" y="381635"/>
                      <a:pt x="294640" y="368300"/>
                    </a:cubicBezTo>
                    <a:cubicBezTo>
                      <a:pt x="311785" y="385445"/>
                      <a:pt x="311785" y="385445"/>
                      <a:pt x="334010" y="392430"/>
                    </a:cubicBezTo>
                    <a:cubicBezTo>
                      <a:pt x="320675" y="454660"/>
                      <a:pt x="300355" y="514985"/>
                      <a:pt x="284480" y="576580"/>
                    </a:cubicBezTo>
                    <a:cubicBezTo>
                      <a:pt x="281305" y="594995"/>
                      <a:pt x="267335" y="597535"/>
                      <a:pt x="249555" y="588010"/>
                    </a:cubicBezTo>
                    <a:close/>
                    <a:moveTo>
                      <a:pt x="340360" y="595630"/>
                    </a:moveTo>
                    <a:cubicBezTo>
                      <a:pt x="326390" y="598805"/>
                      <a:pt x="316865" y="598805"/>
                      <a:pt x="306070" y="589280"/>
                    </a:cubicBezTo>
                    <a:cubicBezTo>
                      <a:pt x="324485" y="520065"/>
                      <a:pt x="330200" y="430530"/>
                      <a:pt x="379730" y="377825"/>
                    </a:cubicBezTo>
                    <a:cubicBezTo>
                      <a:pt x="368300" y="346075"/>
                      <a:pt x="354965" y="335915"/>
                      <a:pt x="327025" y="359410"/>
                    </a:cubicBezTo>
                    <a:cubicBezTo>
                      <a:pt x="293370" y="341630"/>
                      <a:pt x="296545" y="333375"/>
                      <a:pt x="266700" y="354330"/>
                    </a:cubicBezTo>
                    <a:cubicBezTo>
                      <a:pt x="259715" y="342900"/>
                      <a:pt x="253365" y="331470"/>
                      <a:pt x="246380" y="320040"/>
                    </a:cubicBezTo>
                    <a:cubicBezTo>
                      <a:pt x="173355" y="307975"/>
                      <a:pt x="207010" y="382905"/>
                      <a:pt x="216535" y="386715"/>
                    </a:cubicBezTo>
                    <a:cubicBezTo>
                      <a:pt x="220345" y="452120"/>
                      <a:pt x="218440" y="519430"/>
                      <a:pt x="220980" y="584835"/>
                    </a:cubicBezTo>
                    <a:cubicBezTo>
                      <a:pt x="203200" y="588645"/>
                      <a:pt x="203200" y="589280"/>
                      <a:pt x="184785" y="581660"/>
                    </a:cubicBezTo>
                    <a:cubicBezTo>
                      <a:pt x="217170" y="478790"/>
                      <a:pt x="132080" y="381635"/>
                      <a:pt x="150495" y="281305"/>
                    </a:cubicBezTo>
                    <a:cubicBezTo>
                      <a:pt x="176530" y="188595"/>
                      <a:pt x="277495" y="156210"/>
                      <a:pt x="364490" y="170180"/>
                    </a:cubicBezTo>
                    <a:cubicBezTo>
                      <a:pt x="437515" y="178435"/>
                      <a:pt x="478155" y="247650"/>
                      <a:pt x="485140" y="314325"/>
                    </a:cubicBezTo>
                    <a:cubicBezTo>
                      <a:pt x="493395" y="430530"/>
                      <a:pt x="337820" y="475615"/>
                      <a:pt x="340360" y="595630"/>
                    </a:cubicBezTo>
                    <a:close/>
                    <a:moveTo>
                      <a:pt x="325755" y="644525"/>
                    </a:moveTo>
                    <a:cubicBezTo>
                      <a:pt x="270510" y="646430"/>
                      <a:pt x="215900" y="626745"/>
                      <a:pt x="161925" y="631190"/>
                    </a:cubicBezTo>
                    <a:cubicBezTo>
                      <a:pt x="137795" y="666750"/>
                      <a:pt x="304165" y="661035"/>
                      <a:pt x="325120" y="671195"/>
                    </a:cubicBezTo>
                    <a:cubicBezTo>
                      <a:pt x="360680" y="675640"/>
                      <a:pt x="353695" y="645160"/>
                      <a:pt x="325755" y="644525"/>
                    </a:cubicBezTo>
                    <a:close/>
                    <a:moveTo>
                      <a:pt x="176530" y="681990"/>
                    </a:moveTo>
                    <a:cubicBezTo>
                      <a:pt x="167005" y="729615"/>
                      <a:pt x="273050" y="708025"/>
                      <a:pt x="304165" y="720725"/>
                    </a:cubicBezTo>
                    <a:cubicBezTo>
                      <a:pt x="378460" y="691515"/>
                      <a:pt x="199390" y="686435"/>
                      <a:pt x="176530" y="681990"/>
                    </a:cubicBezTo>
                    <a:close/>
                    <a:moveTo>
                      <a:pt x="555625" y="214630"/>
                    </a:moveTo>
                    <a:cubicBezTo>
                      <a:pt x="588010" y="198755"/>
                      <a:pt x="614045" y="179705"/>
                      <a:pt x="647700" y="162560"/>
                    </a:cubicBezTo>
                    <a:cubicBezTo>
                      <a:pt x="629285" y="140335"/>
                      <a:pt x="513080" y="196850"/>
                      <a:pt x="555625" y="214630"/>
                    </a:cubicBezTo>
                    <a:close/>
                    <a:moveTo>
                      <a:pt x="0" y="465455"/>
                    </a:moveTo>
                    <a:cubicBezTo>
                      <a:pt x="14605" y="500380"/>
                      <a:pt x="64135" y="459105"/>
                      <a:pt x="78105" y="439420"/>
                    </a:cubicBezTo>
                    <a:cubicBezTo>
                      <a:pt x="49530" y="413385"/>
                      <a:pt x="29210" y="454660"/>
                      <a:pt x="0" y="465455"/>
                    </a:cubicBezTo>
                    <a:close/>
                    <a:moveTo>
                      <a:pt x="30480" y="86360"/>
                    </a:moveTo>
                    <a:cubicBezTo>
                      <a:pt x="35560" y="98425"/>
                      <a:pt x="99060" y="177800"/>
                      <a:pt x="105410" y="149860"/>
                    </a:cubicBezTo>
                    <a:cubicBezTo>
                      <a:pt x="90170" y="130175"/>
                      <a:pt x="60325" y="67945"/>
                      <a:pt x="30480" y="86360"/>
                    </a:cubicBezTo>
                    <a:close/>
                    <a:moveTo>
                      <a:pt x="351790" y="76200"/>
                    </a:moveTo>
                    <a:cubicBezTo>
                      <a:pt x="374015" y="69215"/>
                      <a:pt x="363220" y="30480"/>
                      <a:pt x="369570" y="11430"/>
                    </a:cubicBezTo>
                    <a:cubicBezTo>
                      <a:pt x="370205" y="5080"/>
                      <a:pt x="364490" y="0"/>
                      <a:pt x="357505" y="0"/>
                    </a:cubicBezTo>
                    <a:cubicBezTo>
                      <a:pt x="335915" y="635"/>
                      <a:pt x="345440" y="30480"/>
                      <a:pt x="342265" y="45085"/>
                    </a:cubicBezTo>
                    <a:cubicBezTo>
                      <a:pt x="342265" y="45085"/>
                      <a:pt x="342265" y="45085"/>
                      <a:pt x="342900" y="45085"/>
                    </a:cubicBezTo>
                    <a:cubicBezTo>
                      <a:pt x="342265" y="55245"/>
                      <a:pt x="336550" y="75565"/>
                      <a:pt x="351790" y="76200"/>
                    </a:cubicBezTo>
                    <a:close/>
                    <a:moveTo>
                      <a:pt x="519430" y="487045"/>
                    </a:moveTo>
                    <a:cubicBezTo>
                      <a:pt x="540385" y="495935"/>
                      <a:pt x="566420" y="540385"/>
                      <a:pt x="589280" y="520700"/>
                    </a:cubicBezTo>
                    <a:cubicBezTo>
                      <a:pt x="585470" y="502920"/>
                      <a:pt x="500380" y="438785"/>
                      <a:pt x="519430" y="487045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28" name="Google Shape;45;p2">
              <a:extLst>
                <a:ext uri="{FF2B5EF4-FFF2-40B4-BE49-F238E27FC236}">
                  <a16:creationId xmlns:a16="http://schemas.microsoft.com/office/drawing/2014/main" id="{88E0BC4D-444B-4D02-A994-34ED22CEAF8E}"/>
                </a:ext>
              </a:extLst>
            </p:cNvPr>
            <p:cNvSpPr/>
            <p:nvPr/>
          </p:nvSpPr>
          <p:spPr>
            <a:xfrm>
              <a:off x="1778886" y="4237081"/>
              <a:ext cx="556337" cy="631409"/>
            </a:xfrm>
            <a:custGeom>
              <a:avLst/>
              <a:gdLst/>
              <a:ahLst/>
              <a:cxnLst/>
              <a:rect l="l" t="t" r="r" b="b"/>
              <a:pathLst>
                <a:path w="646904" h="734197" extrusionOk="0">
                  <a:moveTo>
                    <a:pt x="624840" y="487872"/>
                  </a:moveTo>
                  <a:cubicBezTo>
                    <a:pt x="596265" y="353252"/>
                    <a:pt x="540386" y="227522"/>
                    <a:pt x="497840" y="97347"/>
                  </a:cubicBezTo>
                  <a:cubicBezTo>
                    <a:pt x="482600" y="59247"/>
                    <a:pt x="474345" y="-1078"/>
                    <a:pt x="420370" y="28132"/>
                  </a:cubicBezTo>
                  <a:cubicBezTo>
                    <a:pt x="389255" y="44007"/>
                    <a:pt x="387986" y="-11238"/>
                    <a:pt x="354330" y="2097"/>
                  </a:cubicBezTo>
                  <a:cubicBezTo>
                    <a:pt x="234315" y="31307"/>
                    <a:pt x="104775" y="90362"/>
                    <a:pt x="0" y="151322"/>
                  </a:cubicBezTo>
                  <a:cubicBezTo>
                    <a:pt x="163195" y="779972"/>
                    <a:pt x="226061" y="866332"/>
                    <a:pt x="21590" y="162117"/>
                  </a:cubicBezTo>
                  <a:cubicBezTo>
                    <a:pt x="130811" y="105602"/>
                    <a:pt x="241300" y="40832"/>
                    <a:pt x="364490" y="23687"/>
                  </a:cubicBezTo>
                  <a:cubicBezTo>
                    <a:pt x="395605" y="56707"/>
                    <a:pt x="396240" y="56072"/>
                    <a:pt x="402590" y="79567"/>
                  </a:cubicBezTo>
                  <a:cubicBezTo>
                    <a:pt x="463550" y="226252"/>
                    <a:pt x="509905" y="375477"/>
                    <a:pt x="556261" y="526607"/>
                  </a:cubicBezTo>
                  <a:cubicBezTo>
                    <a:pt x="426086" y="593917"/>
                    <a:pt x="282575" y="667577"/>
                    <a:pt x="134620" y="680912"/>
                  </a:cubicBezTo>
                  <a:cubicBezTo>
                    <a:pt x="128270" y="680912"/>
                    <a:pt x="125095" y="689167"/>
                    <a:pt x="130175" y="693612"/>
                  </a:cubicBezTo>
                  <a:cubicBezTo>
                    <a:pt x="151765" y="709487"/>
                    <a:pt x="182245" y="690437"/>
                    <a:pt x="204470" y="688532"/>
                  </a:cubicBezTo>
                  <a:cubicBezTo>
                    <a:pt x="226061" y="700597"/>
                    <a:pt x="211455" y="728537"/>
                    <a:pt x="238125" y="732982"/>
                  </a:cubicBezTo>
                  <a:cubicBezTo>
                    <a:pt x="331470" y="744412"/>
                    <a:pt x="414655" y="672022"/>
                    <a:pt x="503555" y="649162"/>
                  </a:cubicBezTo>
                  <a:cubicBezTo>
                    <a:pt x="545465" y="633922"/>
                    <a:pt x="589280" y="623762"/>
                    <a:pt x="627380" y="599632"/>
                  </a:cubicBezTo>
                  <a:cubicBezTo>
                    <a:pt x="671830" y="579312"/>
                    <a:pt x="626745" y="524067"/>
                    <a:pt x="624840" y="487872"/>
                  </a:cubicBezTo>
                  <a:close/>
                  <a:moveTo>
                    <a:pt x="504825" y="628842"/>
                  </a:moveTo>
                  <a:cubicBezTo>
                    <a:pt x="418465" y="663132"/>
                    <a:pt x="337186" y="702502"/>
                    <a:pt x="245745" y="724092"/>
                  </a:cubicBezTo>
                  <a:cubicBezTo>
                    <a:pt x="241936" y="710122"/>
                    <a:pt x="238761" y="698057"/>
                    <a:pt x="234950" y="684087"/>
                  </a:cubicBezTo>
                  <a:cubicBezTo>
                    <a:pt x="339725" y="641542"/>
                    <a:pt x="449580" y="602172"/>
                    <a:pt x="553086" y="554547"/>
                  </a:cubicBezTo>
                  <a:cubicBezTo>
                    <a:pt x="556261" y="557087"/>
                    <a:pt x="591820" y="542482"/>
                    <a:pt x="588645" y="522797"/>
                  </a:cubicBezTo>
                  <a:cubicBezTo>
                    <a:pt x="537211" y="472632"/>
                    <a:pt x="544830" y="386907"/>
                    <a:pt x="516255" y="324677"/>
                  </a:cubicBezTo>
                  <a:cubicBezTo>
                    <a:pt x="488315" y="235142"/>
                    <a:pt x="447040" y="152592"/>
                    <a:pt x="418465" y="62422"/>
                  </a:cubicBezTo>
                  <a:cubicBezTo>
                    <a:pt x="469900" y="-53148"/>
                    <a:pt x="604520" y="513272"/>
                    <a:pt x="619761" y="552642"/>
                  </a:cubicBezTo>
                  <a:cubicBezTo>
                    <a:pt x="631825" y="607887"/>
                    <a:pt x="539750" y="607887"/>
                    <a:pt x="504825" y="628842"/>
                  </a:cubicBezTo>
                  <a:close/>
                  <a:moveTo>
                    <a:pt x="180975" y="522162"/>
                  </a:moveTo>
                  <a:cubicBezTo>
                    <a:pt x="182880" y="565977"/>
                    <a:pt x="377825" y="458027"/>
                    <a:pt x="415925" y="453582"/>
                  </a:cubicBezTo>
                  <a:cubicBezTo>
                    <a:pt x="636270" y="342457"/>
                    <a:pt x="215265" y="507557"/>
                    <a:pt x="180975" y="522162"/>
                  </a:cubicBezTo>
                  <a:close/>
                  <a:moveTo>
                    <a:pt x="90170" y="144972"/>
                  </a:moveTo>
                  <a:cubicBezTo>
                    <a:pt x="73661" y="159577"/>
                    <a:pt x="67945" y="299277"/>
                    <a:pt x="104140" y="277687"/>
                  </a:cubicBezTo>
                  <a:cubicBezTo>
                    <a:pt x="104775" y="271337"/>
                    <a:pt x="105411" y="264987"/>
                    <a:pt x="106045" y="258637"/>
                  </a:cubicBezTo>
                  <a:cubicBezTo>
                    <a:pt x="122555" y="253557"/>
                    <a:pt x="137795" y="248477"/>
                    <a:pt x="151765" y="244032"/>
                  </a:cubicBezTo>
                  <a:cubicBezTo>
                    <a:pt x="161290" y="252287"/>
                    <a:pt x="167640" y="270702"/>
                    <a:pt x="180975" y="258637"/>
                  </a:cubicBezTo>
                  <a:cubicBezTo>
                    <a:pt x="158115" y="219902"/>
                    <a:pt x="127000" y="169102"/>
                    <a:pt x="90170" y="144972"/>
                  </a:cubicBezTo>
                  <a:close/>
                  <a:moveTo>
                    <a:pt x="137161" y="222442"/>
                  </a:moveTo>
                  <a:cubicBezTo>
                    <a:pt x="128905" y="233872"/>
                    <a:pt x="118745" y="235777"/>
                    <a:pt x="105411" y="233872"/>
                  </a:cubicBezTo>
                  <a:cubicBezTo>
                    <a:pt x="100965" y="218632"/>
                    <a:pt x="99061" y="204662"/>
                    <a:pt x="104140" y="188152"/>
                  </a:cubicBezTo>
                  <a:cubicBezTo>
                    <a:pt x="121286" y="195137"/>
                    <a:pt x="127636" y="209742"/>
                    <a:pt x="137161" y="222442"/>
                  </a:cubicBezTo>
                  <a:close/>
                  <a:moveTo>
                    <a:pt x="400050" y="245937"/>
                  </a:moveTo>
                  <a:cubicBezTo>
                    <a:pt x="407670" y="200852"/>
                    <a:pt x="140336" y="324677"/>
                    <a:pt x="111761" y="337377"/>
                  </a:cubicBezTo>
                  <a:cubicBezTo>
                    <a:pt x="191136" y="350712"/>
                    <a:pt x="314325" y="265622"/>
                    <a:pt x="400050" y="245937"/>
                  </a:cubicBezTo>
                  <a:close/>
                  <a:moveTo>
                    <a:pt x="462915" y="478347"/>
                  </a:moveTo>
                  <a:cubicBezTo>
                    <a:pt x="382905" y="475807"/>
                    <a:pt x="304165" y="539942"/>
                    <a:pt x="224155" y="558357"/>
                  </a:cubicBezTo>
                  <a:cubicBezTo>
                    <a:pt x="88900" y="640907"/>
                    <a:pt x="455930" y="496127"/>
                    <a:pt x="462915" y="478347"/>
                  </a:cubicBezTo>
                  <a:close/>
                  <a:moveTo>
                    <a:pt x="168275" y="373572"/>
                  </a:moveTo>
                  <a:cubicBezTo>
                    <a:pt x="155575" y="376747"/>
                    <a:pt x="143511" y="387542"/>
                    <a:pt x="154940" y="399607"/>
                  </a:cubicBezTo>
                  <a:cubicBezTo>
                    <a:pt x="441325" y="299277"/>
                    <a:pt x="540386" y="220537"/>
                    <a:pt x="168275" y="373572"/>
                  </a:cubicBezTo>
                  <a:close/>
                  <a:moveTo>
                    <a:pt x="262890" y="426912"/>
                  </a:moveTo>
                  <a:cubicBezTo>
                    <a:pt x="226695" y="428817"/>
                    <a:pt x="195580" y="449772"/>
                    <a:pt x="158750" y="459297"/>
                  </a:cubicBezTo>
                  <a:cubicBezTo>
                    <a:pt x="159386" y="473902"/>
                    <a:pt x="169545" y="479617"/>
                    <a:pt x="182245" y="473902"/>
                  </a:cubicBezTo>
                  <a:cubicBezTo>
                    <a:pt x="198120" y="463742"/>
                    <a:pt x="290830" y="451042"/>
                    <a:pt x="262890" y="426912"/>
                  </a:cubicBezTo>
                  <a:close/>
                  <a:moveTo>
                    <a:pt x="179070" y="182437"/>
                  </a:moveTo>
                  <a:cubicBezTo>
                    <a:pt x="177165" y="163387"/>
                    <a:pt x="179705" y="157672"/>
                    <a:pt x="190500" y="141797"/>
                  </a:cubicBezTo>
                  <a:cubicBezTo>
                    <a:pt x="161290" y="150687"/>
                    <a:pt x="162561" y="113857"/>
                    <a:pt x="143511" y="124017"/>
                  </a:cubicBezTo>
                  <a:cubicBezTo>
                    <a:pt x="144145" y="146877"/>
                    <a:pt x="144145" y="146877"/>
                    <a:pt x="137161" y="163387"/>
                  </a:cubicBezTo>
                  <a:cubicBezTo>
                    <a:pt x="150495" y="169102"/>
                    <a:pt x="163195" y="175452"/>
                    <a:pt x="179070" y="182437"/>
                  </a:cubicBezTo>
                  <a:close/>
                  <a:moveTo>
                    <a:pt x="372111" y="153227"/>
                  </a:moveTo>
                  <a:cubicBezTo>
                    <a:pt x="307340" y="148147"/>
                    <a:pt x="240665" y="219902"/>
                    <a:pt x="346711" y="174817"/>
                  </a:cubicBezTo>
                  <a:cubicBezTo>
                    <a:pt x="358775" y="169737"/>
                    <a:pt x="368936" y="169737"/>
                    <a:pt x="372111" y="153227"/>
                  </a:cubicBezTo>
                  <a:close/>
                  <a:moveTo>
                    <a:pt x="304800" y="228792"/>
                  </a:moveTo>
                  <a:cubicBezTo>
                    <a:pt x="324486" y="222442"/>
                    <a:pt x="358775" y="224347"/>
                    <a:pt x="360045" y="197042"/>
                  </a:cubicBezTo>
                  <a:cubicBezTo>
                    <a:pt x="343536" y="202757"/>
                    <a:pt x="276861" y="207837"/>
                    <a:pt x="304800" y="22879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29" name="Google Shape;46;p2">
              <a:extLst>
                <a:ext uri="{FF2B5EF4-FFF2-40B4-BE49-F238E27FC236}">
                  <a16:creationId xmlns:a16="http://schemas.microsoft.com/office/drawing/2014/main" id="{795A7F5F-5BB4-4E59-8D97-0332F453E9D8}"/>
                </a:ext>
              </a:extLst>
            </p:cNvPr>
            <p:cNvSpPr/>
            <p:nvPr/>
          </p:nvSpPr>
          <p:spPr>
            <a:xfrm rot="-982808">
              <a:off x="7867083" y="4603094"/>
              <a:ext cx="701993" cy="567693"/>
            </a:xfrm>
            <a:custGeom>
              <a:avLst/>
              <a:gdLst/>
              <a:ahLst/>
              <a:cxnLst/>
              <a:rect l="l" t="t" r="r" b="b"/>
              <a:pathLst>
                <a:path w="816364" h="660184" extrusionOk="0">
                  <a:moveTo>
                    <a:pt x="816263" y="506476"/>
                  </a:moveTo>
                  <a:cubicBezTo>
                    <a:pt x="711488" y="-86613"/>
                    <a:pt x="921672" y="-14858"/>
                    <a:pt x="306357" y="27051"/>
                  </a:cubicBezTo>
                  <a:cubicBezTo>
                    <a:pt x="279052" y="-13588"/>
                    <a:pt x="225077" y="19432"/>
                    <a:pt x="186342" y="20701"/>
                  </a:cubicBezTo>
                  <a:cubicBezTo>
                    <a:pt x="182532" y="28957"/>
                    <a:pt x="179357" y="35942"/>
                    <a:pt x="174912" y="45467"/>
                  </a:cubicBezTo>
                  <a:cubicBezTo>
                    <a:pt x="147607" y="9907"/>
                    <a:pt x="110142" y="29592"/>
                    <a:pt x="73312" y="35307"/>
                  </a:cubicBezTo>
                  <a:cubicBezTo>
                    <a:pt x="70137" y="42292"/>
                    <a:pt x="67597" y="48007"/>
                    <a:pt x="65057" y="54357"/>
                  </a:cubicBezTo>
                  <a:cubicBezTo>
                    <a:pt x="7272" y="56897"/>
                    <a:pt x="-8603" y="109601"/>
                    <a:pt x="4097" y="159132"/>
                  </a:cubicBezTo>
                  <a:cubicBezTo>
                    <a:pt x="10447" y="316612"/>
                    <a:pt x="42832" y="472822"/>
                    <a:pt x="51722" y="630301"/>
                  </a:cubicBezTo>
                  <a:cubicBezTo>
                    <a:pt x="86647" y="676657"/>
                    <a:pt x="126652" y="659512"/>
                    <a:pt x="171737" y="642367"/>
                  </a:cubicBezTo>
                  <a:cubicBezTo>
                    <a:pt x="243492" y="636017"/>
                    <a:pt x="313977" y="620142"/>
                    <a:pt x="385732" y="615062"/>
                  </a:cubicBezTo>
                  <a:cubicBezTo>
                    <a:pt x="477172" y="610617"/>
                    <a:pt x="567342" y="594742"/>
                    <a:pt x="657513" y="588392"/>
                  </a:cubicBezTo>
                  <a:cubicBezTo>
                    <a:pt x="715933" y="571247"/>
                    <a:pt x="820072" y="597282"/>
                    <a:pt x="816263" y="506476"/>
                  </a:cubicBezTo>
                  <a:close/>
                  <a:moveTo>
                    <a:pt x="761652" y="549022"/>
                  </a:moveTo>
                  <a:cubicBezTo>
                    <a:pt x="573692" y="583947"/>
                    <a:pt x="382557" y="591567"/>
                    <a:pt x="193962" y="618872"/>
                  </a:cubicBezTo>
                  <a:cubicBezTo>
                    <a:pt x="156497" y="613792"/>
                    <a:pt x="82202" y="665226"/>
                    <a:pt x="73312" y="606172"/>
                  </a:cubicBezTo>
                  <a:cubicBezTo>
                    <a:pt x="59977" y="492507"/>
                    <a:pt x="45372" y="378842"/>
                    <a:pt x="32037" y="265176"/>
                  </a:cubicBezTo>
                  <a:cubicBezTo>
                    <a:pt x="36482" y="210567"/>
                    <a:pt x="-8603" y="112142"/>
                    <a:pt x="52357" y="82297"/>
                  </a:cubicBezTo>
                  <a:cubicBezTo>
                    <a:pt x="189517" y="63247"/>
                    <a:pt x="327312" y="41022"/>
                    <a:pt x="466377" y="38482"/>
                  </a:cubicBezTo>
                  <a:cubicBezTo>
                    <a:pt x="769272" y="14351"/>
                    <a:pt x="740697" y="-41528"/>
                    <a:pt x="764192" y="281687"/>
                  </a:cubicBezTo>
                  <a:cubicBezTo>
                    <a:pt x="755302" y="281051"/>
                    <a:pt x="757842" y="274067"/>
                    <a:pt x="755302" y="270257"/>
                  </a:cubicBezTo>
                  <a:cubicBezTo>
                    <a:pt x="741967" y="249301"/>
                    <a:pt x="721647" y="263272"/>
                    <a:pt x="709583" y="277242"/>
                  </a:cubicBezTo>
                  <a:cubicBezTo>
                    <a:pt x="686088" y="242317"/>
                    <a:pt x="697517" y="60707"/>
                    <a:pt x="653702" y="63882"/>
                  </a:cubicBezTo>
                  <a:cubicBezTo>
                    <a:pt x="461297" y="91187"/>
                    <a:pt x="268257" y="108967"/>
                    <a:pt x="75217" y="126747"/>
                  </a:cubicBezTo>
                  <a:cubicBezTo>
                    <a:pt x="87917" y="245492"/>
                    <a:pt x="110777" y="356617"/>
                    <a:pt x="119667" y="474726"/>
                  </a:cubicBezTo>
                  <a:cubicBezTo>
                    <a:pt x="127287" y="501397"/>
                    <a:pt x="109507" y="568072"/>
                    <a:pt x="150782" y="565532"/>
                  </a:cubicBezTo>
                  <a:cubicBezTo>
                    <a:pt x="333027" y="540767"/>
                    <a:pt x="519717" y="557276"/>
                    <a:pt x="700058" y="507112"/>
                  </a:cubicBezTo>
                  <a:cubicBezTo>
                    <a:pt x="759747" y="495047"/>
                    <a:pt x="701327" y="358522"/>
                    <a:pt x="705138" y="312167"/>
                  </a:cubicBezTo>
                  <a:cubicBezTo>
                    <a:pt x="729267" y="306451"/>
                    <a:pt x="721647" y="345187"/>
                    <a:pt x="761652" y="308357"/>
                  </a:cubicBezTo>
                  <a:cubicBezTo>
                    <a:pt x="775622" y="349632"/>
                    <a:pt x="820072" y="536957"/>
                    <a:pt x="761652" y="549022"/>
                  </a:cubicBezTo>
                  <a:close/>
                  <a:moveTo>
                    <a:pt x="700692" y="478537"/>
                  </a:moveTo>
                  <a:cubicBezTo>
                    <a:pt x="522892" y="538862"/>
                    <a:pt x="337472" y="526162"/>
                    <a:pt x="152687" y="542037"/>
                  </a:cubicBezTo>
                  <a:cubicBezTo>
                    <a:pt x="130462" y="412497"/>
                    <a:pt x="112682" y="276607"/>
                    <a:pt x="102522" y="144526"/>
                  </a:cubicBezTo>
                  <a:cubicBezTo>
                    <a:pt x="282227" y="127382"/>
                    <a:pt x="467012" y="96901"/>
                    <a:pt x="647988" y="93726"/>
                  </a:cubicBezTo>
                  <a:cubicBezTo>
                    <a:pt x="682913" y="218187"/>
                    <a:pt x="694342" y="348997"/>
                    <a:pt x="700692" y="478537"/>
                  </a:cubicBezTo>
                  <a:close/>
                  <a:moveTo>
                    <a:pt x="502572" y="293751"/>
                  </a:moveTo>
                  <a:cubicBezTo>
                    <a:pt x="436532" y="277876"/>
                    <a:pt x="374937" y="230251"/>
                    <a:pt x="307627" y="228982"/>
                  </a:cubicBezTo>
                  <a:cubicBezTo>
                    <a:pt x="338107" y="506476"/>
                    <a:pt x="291752" y="420117"/>
                    <a:pt x="515907" y="325501"/>
                  </a:cubicBezTo>
                  <a:cubicBezTo>
                    <a:pt x="562263" y="307722"/>
                    <a:pt x="538132" y="292482"/>
                    <a:pt x="502572" y="293751"/>
                  </a:cubicBezTo>
                  <a:close/>
                  <a:moveTo>
                    <a:pt x="352077" y="378207"/>
                  </a:moveTo>
                  <a:cubicBezTo>
                    <a:pt x="345727" y="360426"/>
                    <a:pt x="329217" y="301372"/>
                    <a:pt x="334297" y="258192"/>
                  </a:cubicBezTo>
                  <a:cubicBezTo>
                    <a:pt x="382557" y="262637"/>
                    <a:pt x="445422" y="296292"/>
                    <a:pt x="497492" y="306451"/>
                  </a:cubicBezTo>
                  <a:cubicBezTo>
                    <a:pt x="467012" y="341376"/>
                    <a:pt x="396527" y="363601"/>
                    <a:pt x="352077" y="37820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0" name="Google Shape;47;p2">
              <a:extLst>
                <a:ext uri="{FF2B5EF4-FFF2-40B4-BE49-F238E27FC236}">
                  <a16:creationId xmlns:a16="http://schemas.microsoft.com/office/drawing/2014/main" id="{C5E1B8C9-851C-4F75-B9DD-82A1506E00E8}"/>
                </a:ext>
              </a:extLst>
            </p:cNvPr>
            <p:cNvSpPr/>
            <p:nvPr/>
          </p:nvSpPr>
          <p:spPr>
            <a:xfrm rot="1185294">
              <a:off x="4798350" y="3885963"/>
              <a:ext cx="616477" cy="671778"/>
            </a:xfrm>
            <a:custGeom>
              <a:avLst/>
              <a:gdLst/>
              <a:ahLst/>
              <a:cxnLst/>
              <a:rect l="l" t="t" r="r" b="b"/>
              <a:pathLst>
                <a:path w="718509" h="782962" extrusionOk="0">
                  <a:moveTo>
                    <a:pt x="707390" y="178442"/>
                  </a:moveTo>
                  <a:cubicBezTo>
                    <a:pt x="705485" y="163837"/>
                    <a:pt x="700405" y="154947"/>
                    <a:pt x="683895" y="153042"/>
                  </a:cubicBezTo>
                  <a:cubicBezTo>
                    <a:pt x="685800" y="135897"/>
                    <a:pt x="673100" y="127642"/>
                    <a:pt x="665480" y="114942"/>
                  </a:cubicBezTo>
                  <a:cubicBezTo>
                    <a:pt x="664845" y="85097"/>
                    <a:pt x="638810" y="88907"/>
                    <a:pt x="618490" y="95257"/>
                  </a:cubicBezTo>
                  <a:cubicBezTo>
                    <a:pt x="595630" y="74302"/>
                    <a:pt x="582295" y="68587"/>
                    <a:pt x="555625" y="88272"/>
                  </a:cubicBezTo>
                  <a:cubicBezTo>
                    <a:pt x="523875" y="100972"/>
                    <a:pt x="523240" y="30487"/>
                    <a:pt x="488315" y="60332"/>
                  </a:cubicBezTo>
                  <a:cubicBezTo>
                    <a:pt x="445135" y="96527"/>
                    <a:pt x="462915" y="-3803"/>
                    <a:pt x="385445" y="42552"/>
                  </a:cubicBezTo>
                  <a:cubicBezTo>
                    <a:pt x="359410" y="-34918"/>
                    <a:pt x="319405" y="13977"/>
                    <a:pt x="274320" y="29852"/>
                  </a:cubicBezTo>
                  <a:cubicBezTo>
                    <a:pt x="182245" y="239402"/>
                    <a:pt x="65405" y="447047"/>
                    <a:pt x="0" y="662312"/>
                  </a:cubicBezTo>
                  <a:cubicBezTo>
                    <a:pt x="161925" y="678822"/>
                    <a:pt x="313055" y="747402"/>
                    <a:pt x="471170" y="782962"/>
                  </a:cubicBezTo>
                  <a:cubicBezTo>
                    <a:pt x="532130" y="658502"/>
                    <a:pt x="575310" y="535947"/>
                    <a:pt x="636905" y="413392"/>
                  </a:cubicBezTo>
                  <a:cubicBezTo>
                    <a:pt x="664210" y="349892"/>
                    <a:pt x="688975" y="285757"/>
                    <a:pt x="714375" y="221622"/>
                  </a:cubicBezTo>
                  <a:cubicBezTo>
                    <a:pt x="718185" y="205747"/>
                    <a:pt x="723900" y="190507"/>
                    <a:pt x="707390" y="178442"/>
                  </a:cubicBezTo>
                  <a:close/>
                  <a:moveTo>
                    <a:pt x="655955" y="152407"/>
                  </a:moveTo>
                  <a:cubicBezTo>
                    <a:pt x="652780" y="161297"/>
                    <a:pt x="650240" y="170187"/>
                    <a:pt x="646430" y="180347"/>
                  </a:cubicBezTo>
                  <a:cubicBezTo>
                    <a:pt x="604520" y="162567"/>
                    <a:pt x="608330" y="116847"/>
                    <a:pt x="655955" y="152407"/>
                  </a:cubicBezTo>
                  <a:close/>
                  <a:moveTo>
                    <a:pt x="561975" y="127642"/>
                  </a:moveTo>
                  <a:cubicBezTo>
                    <a:pt x="572770" y="118117"/>
                    <a:pt x="577850" y="125737"/>
                    <a:pt x="590550" y="133992"/>
                  </a:cubicBezTo>
                  <a:cubicBezTo>
                    <a:pt x="576580" y="138437"/>
                    <a:pt x="558800" y="146057"/>
                    <a:pt x="561975" y="127642"/>
                  </a:cubicBezTo>
                  <a:close/>
                  <a:moveTo>
                    <a:pt x="353695" y="33027"/>
                  </a:moveTo>
                  <a:cubicBezTo>
                    <a:pt x="351155" y="47632"/>
                    <a:pt x="334010" y="34297"/>
                    <a:pt x="323215" y="31757"/>
                  </a:cubicBezTo>
                  <a:cubicBezTo>
                    <a:pt x="334010" y="17152"/>
                    <a:pt x="350520" y="17787"/>
                    <a:pt x="353695" y="33027"/>
                  </a:cubicBezTo>
                  <a:close/>
                  <a:moveTo>
                    <a:pt x="43180" y="618497"/>
                  </a:moveTo>
                  <a:cubicBezTo>
                    <a:pt x="46990" y="609607"/>
                    <a:pt x="54610" y="612147"/>
                    <a:pt x="59055" y="613417"/>
                  </a:cubicBezTo>
                  <a:cubicBezTo>
                    <a:pt x="99060" y="635642"/>
                    <a:pt x="160020" y="625482"/>
                    <a:pt x="189865" y="659137"/>
                  </a:cubicBezTo>
                  <a:cubicBezTo>
                    <a:pt x="140970" y="652152"/>
                    <a:pt x="87630" y="638817"/>
                    <a:pt x="43180" y="618497"/>
                  </a:cubicBezTo>
                  <a:close/>
                  <a:moveTo>
                    <a:pt x="201295" y="663582"/>
                  </a:moveTo>
                  <a:cubicBezTo>
                    <a:pt x="198755" y="662312"/>
                    <a:pt x="196215" y="661677"/>
                    <a:pt x="193675" y="660407"/>
                  </a:cubicBezTo>
                  <a:cubicBezTo>
                    <a:pt x="196215" y="660407"/>
                    <a:pt x="199390" y="659772"/>
                    <a:pt x="201930" y="659772"/>
                  </a:cubicBezTo>
                  <a:cubicBezTo>
                    <a:pt x="201295" y="661042"/>
                    <a:pt x="201295" y="662312"/>
                    <a:pt x="201295" y="663582"/>
                  </a:cubicBezTo>
                  <a:close/>
                  <a:moveTo>
                    <a:pt x="228600" y="667392"/>
                  </a:moveTo>
                  <a:cubicBezTo>
                    <a:pt x="246380" y="662312"/>
                    <a:pt x="262255" y="666122"/>
                    <a:pt x="276860" y="680727"/>
                  </a:cubicBezTo>
                  <a:cubicBezTo>
                    <a:pt x="256540" y="687077"/>
                    <a:pt x="242570" y="678822"/>
                    <a:pt x="228600" y="667392"/>
                  </a:cubicBezTo>
                  <a:close/>
                  <a:moveTo>
                    <a:pt x="434975" y="704222"/>
                  </a:moveTo>
                  <a:cubicBezTo>
                    <a:pt x="306070" y="664852"/>
                    <a:pt x="177800" y="628657"/>
                    <a:pt x="47625" y="588652"/>
                  </a:cubicBezTo>
                  <a:cubicBezTo>
                    <a:pt x="114935" y="409582"/>
                    <a:pt x="198120" y="233052"/>
                    <a:pt x="284480" y="61602"/>
                  </a:cubicBezTo>
                  <a:cubicBezTo>
                    <a:pt x="314960" y="97162"/>
                    <a:pt x="369570" y="94622"/>
                    <a:pt x="323215" y="62872"/>
                  </a:cubicBezTo>
                  <a:cubicBezTo>
                    <a:pt x="340995" y="59697"/>
                    <a:pt x="354330" y="64777"/>
                    <a:pt x="369570" y="70492"/>
                  </a:cubicBezTo>
                  <a:cubicBezTo>
                    <a:pt x="377825" y="143517"/>
                    <a:pt x="474980" y="111132"/>
                    <a:pt x="398145" y="86367"/>
                  </a:cubicBezTo>
                  <a:cubicBezTo>
                    <a:pt x="411480" y="67952"/>
                    <a:pt x="439420" y="83827"/>
                    <a:pt x="457200" y="89542"/>
                  </a:cubicBezTo>
                  <a:cubicBezTo>
                    <a:pt x="461010" y="179712"/>
                    <a:pt x="532130" y="156852"/>
                    <a:pt x="506095" y="131452"/>
                  </a:cubicBezTo>
                  <a:cubicBezTo>
                    <a:pt x="485140" y="128912"/>
                    <a:pt x="480695" y="129547"/>
                    <a:pt x="483870" y="104147"/>
                  </a:cubicBezTo>
                  <a:cubicBezTo>
                    <a:pt x="501650" y="101607"/>
                    <a:pt x="518795" y="107957"/>
                    <a:pt x="536575" y="110497"/>
                  </a:cubicBezTo>
                  <a:cubicBezTo>
                    <a:pt x="542290" y="147327"/>
                    <a:pt x="556260" y="169552"/>
                    <a:pt x="595630" y="161932"/>
                  </a:cubicBezTo>
                  <a:cubicBezTo>
                    <a:pt x="610235" y="174632"/>
                    <a:pt x="624205" y="186697"/>
                    <a:pt x="638810" y="199397"/>
                  </a:cubicBezTo>
                  <a:cubicBezTo>
                    <a:pt x="590550" y="376562"/>
                    <a:pt x="498475" y="533407"/>
                    <a:pt x="434975" y="704222"/>
                  </a:cubicBezTo>
                  <a:close/>
                  <a:moveTo>
                    <a:pt x="560705" y="508642"/>
                  </a:moveTo>
                  <a:cubicBezTo>
                    <a:pt x="560705" y="508642"/>
                    <a:pt x="560705" y="508007"/>
                    <a:pt x="560705" y="508642"/>
                  </a:cubicBezTo>
                  <a:cubicBezTo>
                    <a:pt x="561340" y="509277"/>
                    <a:pt x="561975" y="509912"/>
                    <a:pt x="562610" y="509912"/>
                  </a:cubicBezTo>
                  <a:cubicBezTo>
                    <a:pt x="561975" y="509277"/>
                    <a:pt x="561340" y="509277"/>
                    <a:pt x="560705" y="508642"/>
                  </a:cubicBezTo>
                  <a:close/>
                  <a:moveTo>
                    <a:pt x="602615" y="438792"/>
                  </a:moveTo>
                  <a:cubicBezTo>
                    <a:pt x="588010" y="457842"/>
                    <a:pt x="586740" y="504832"/>
                    <a:pt x="561340" y="508007"/>
                  </a:cubicBezTo>
                  <a:cubicBezTo>
                    <a:pt x="607695" y="405772"/>
                    <a:pt x="632460" y="297822"/>
                    <a:pt x="690245" y="201302"/>
                  </a:cubicBezTo>
                  <a:cubicBezTo>
                    <a:pt x="678180" y="284487"/>
                    <a:pt x="633730" y="360052"/>
                    <a:pt x="602615" y="438792"/>
                  </a:cubicBezTo>
                  <a:close/>
                  <a:moveTo>
                    <a:pt x="313690" y="335287"/>
                  </a:moveTo>
                  <a:cubicBezTo>
                    <a:pt x="297815" y="333382"/>
                    <a:pt x="197485" y="287027"/>
                    <a:pt x="229870" y="330842"/>
                  </a:cubicBezTo>
                  <a:cubicBezTo>
                    <a:pt x="312420" y="365767"/>
                    <a:pt x="409575" y="363862"/>
                    <a:pt x="485775" y="412757"/>
                  </a:cubicBezTo>
                  <a:cubicBezTo>
                    <a:pt x="496570" y="419107"/>
                    <a:pt x="505460" y="426092"/>
                    <a:pt x="517525" y="415297"/>
                  </a:cubicBezTo>
                  <a:cubicBezTo>
                    <a:pt x="468630" y="357512"/>
                    <a:pt x="381000" y="360052"/>
                    <a:pt x="313690" y="335287"/>
                  </a:cubicBezTo>
                  <a:close/>
                  <a:moveTo>
                    <a:pt x="247650" y="245752"/>
                  </a:moveTo>
                  <a:cubicBezTo>
                    <a:pt x="237490" y="288932"/>
                    <a:pt x="370205" y="285757"/>
                    <a:pt x="402590" y="304172"/>
                  </a:cubicBezTo>
                  <a:cubicBezTo>
                    <a:pt x="441325" y="314332"/>
                    <a:pt x="480060" y="325762"/>
                    <a:pt x="514985" y="346717"/>
                  </a:cubicBezTo>
                  <a:cubicBezTo>
                    <a:pt x="520065" y="349892"/>
                    <a:pt x="526415" y="350527"/>
                    <a:pt x="528955" y="344812"/>
                  </a:cubicBezTo>
                  <a:cubicBezTo>
                    <a:pt x="528955" y="296552"/>
                    <a:pt x="299720" y="266072"/>
                    <a:pt x="247650" y="245752"/>
                  </a:cubicBezTo>
                  <a:close/>
                  <a:moveTo>
                    <a:pt x="190500" y="440062"/>
                  </a:moveTo>
                  <a:cubicBezTo>
                    <a:pt x="114300" y="454032"/>
                    <a:pt x="260350" y="477527"/>
                    <a:pt x="276860" y="483242"/>
                  </a:cubicBezTo>
                  <a:cubicBezTo>
                    <a:pt x="335915" y="490862"/>
                    <a:pt x="387350" y="520072"/>
                    <a:pt x="443230" y="535947"/>
                  </a:cubicBezTo>
                  <a:cubicBezTo>
                    <a:pt x="503555" y="508642"/>
                    <a:pt x="214630" y="446412"/>
                    <a:pt x="190500" y="440062"/>
                  </a:cubicBezTo>
                  <a:close/>
                  <a:moveTo>
                    <a:pt x="268605" y="189237"/>
                  </a:moveTo>
                  <a:cubicBezTo>
                    <a:pt x="246380" y="228607"/>
                    <a:pt x="356870" y="221622"/>
                    <a:pt x="381000" y="234322"/>
                  </a:cubicBezTo>
                  <a:cubicBezTo>
                    <a:pt x="434340" y="241307"/>
                    <a:pt x="481330" y="267977"/>
                    <a:pt x="532130" y="281312"/>
                  </a:cubicBezTo>
                  <a:cubicBezTo>
                    <a:pt x="610870" y="260992"/>
                    <a:pt x="292735" y="193047"/>
                    <a:pt x="268605" y="189237"/>
                  </a:cubicBezTo>
                  <a:close/>
                  <a:moveTo>
                    <a:pt x="529590" y="191777"/>
                  </a:moveTo>
                  <a:cubicBezTo>
                    <a:pt x="450215" y="181617"/>
                    <a:pt x="375920" y="153042"/>
                    <a:pt x="297815" y="136532"/>
                  </a:cubicBezTo>
                  <a:cubicBezTo>
                    <a:pt x="245745" y="161932"/>
                    <a:pt x="375920" y="169552"/>
                    <a:pt x="391795" y="180982"/>
                  </a:cubicBezTo>
                  <a:cubicBezTo>
                    <a:pt x="440055" y="196222"/>
                    <a:pt x="493395" y="197492"/>
                    <a:pt x="538480" y="220352"/>
                  </a:cubicBezTo>
                  <a:cubicBezTo>
                    <a:pt x="547370" y="224797"/>
                    <a:pt x="560070" y="217177"/>
                    <a:pt x="560070" y="205747"/>
                  </a:cubicBezTo>
                  <a:cubicBezTo>
                    <a:pt x="554990" y="193682"/>
                    <a:pt x="541020" y="193682"/>
                    <a:pt x="529590" y="191777"/>
                  </a:cubicBezTo>
                  <a:close/>
                  <a:moveTo>
                    <a:pt x="210185" y="381642"/>
                  </a:moveTo>
                  <a:cubicBezTo>
                    <a:pt x="205105" y="407677"/>
                    <a:pt x="219710" y="401327"/>
                    <a:pt x="234950" y="405137"/>
                  </a:cubicBezTo>
                  <a:cubicBezTo>
                    <a:pt x="308610" y="414027"/>
                    <a:pt x="380365" y="435617"/>
                    <a:pt x="449580" y="460382"/>
                  </a:cubicBezTo>
                  <a:cubicBezTo>
                    <a:pt x="534670" y="436887"/>
                    <a:pt x="233680" y="381007"/>
                    <a:pt x="210185" y="381642"/>
                  </a:cubicBezTo>
                  <a:close/>
                  <a:moveTo>
                    <a:pt x="158115" y="502292"/>
                  </a:moveTo>
                  <a:cubicBezTo>
                    <a:pt x="135890" y="498482"/>
                    <a:pt x="132080" y="519437"/>
                    <a:pt x="150495" y="523247"/>
                  </a:cubicBezTo>
                  <a:cubicBezTo>
                    <a:pt x="202565" y="528327"/>
                    <a:pt x="250190" y="551187"/>
                    <a:pt x="300355" y="561982"/>
                  </a:cubicBezTo>
                  <a:cubicBezTo>
                    <a:pt x="330200" y="530867"/>
                    <a:pt x="177165" y="511182"/>
                    <a:pt x="158115" y="50229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1" name="Google Shape;48;p2">
              <a:extLst>
                <a:ext uri="{FF2B5EF4-FFF2-40B4-BE49-F238E27FC236}">
                  <a16:creationId xmlns:a16="http://schemas.microsoft.com/office/drawing/2014/main" id="{4D10690C-C3D5-466C-AD32-8BB998CFB067}"/>
                </a:ext>
              </a:extLst>
            </p:cNvPr>
            <p:cNvSpPr/>
            <p:nvPr/>
          </p:nvSpPr>
          <p:spPr>
            <a:xfrm>
              <a:off x="1393062" y="748927"/>
              <a:ext cx="579203" cy="652168"/>
            </a:xfrm>
            <a:custGeom>
              <a:avLst/>
              <a:gdLst/>
              <a:ahLst/>
              <a:cxnLst/>
              <a:rect l="l" t="t" r="r" b="b"/>
              <a:pathLst>
                <a:path w="673492" h="758335" extrusionOk="0">
                  <a:moveTo>
                    <a:pt x="673374" y="561486"/>
                  </a:moveTo>
                  <a:cubicBezTo>
                    <a:pt x="620034" y="462426"/>
                    <a:pt x="597174" y="341776"/>
                    <a:pt x="553359" y="235731"/>
                  </a:cubicBezTo>
                  <a:cubicBezTo>
                    <a:pt x="527959" y="165881"/>
                    <a:pt x="499384" y="97301"/>
                    <a:pt x="477794" y="26181"/>
                  </a:cubicBezTo>
                  <a:cubicBezTo>
                    <a:pt x="475254" y="15386"/>
                    <a:pt x="467634" y="-1759"/>
                    <a:pt x="454934" y="146"/>
                  </a:cubicBezTo>
                  <a:cubicBezTo>
                    <a:pt x="404769" y="24276"/>
                    <a:pt x="-2266" y="86506"/>
                    <a:pt x="34564" y="136036"/>
                  </a:cubicBezTo>
                  <a:cubicBezTo>
                    <a:pt x="28849" y="139846"/>
                    <a:pt x="23769" y="143656"/>
                    <a:pt x="17419" y="147466"/>
                  </a:cubicBezTo>
                  <a:cubicBezTo>
                    <a:pt x="22499" y="196996"/>
                    <a:pt x="-33381" y="231286"/>
                    <a:pt x="32024" y="268116"/>
                  </a:cubicBezTo>
                  <a:cubicBezTo>
                    <a:pt x="31389" y="291611"/>
                    <a:pt x="36469" y="315106"/>
                    <a:pt x="54884" y="332886"/>
                  </a:cubicBezTo>
                  <a:cubicBezTo>
                    <a:pt x="36469" y="370986"/>
                    <a:pt x="33929" y="384956"/>
                    <a:pt x="68854" y="435756"/>
                  </a:cubicBezTo>
                  <a:cubicBezTo>
                    <a:pt x="61234" y="452901"/>
                    <a:pt x="66314" y="470046"/>
                    <a:pt x="79014" y="484016"/>
                  </a:cubicBezTo>
                  <a:cubicBezTo>
                    <a:pt x="104414" y="513861"/>
                    <a:pt x="66314" y="558946"/>
                    <a:pt x="104414" y="580536"/>
                  </a:cubicBezTo>
                  <a:cubicBezTo>
                    <a:pt x="115209" y="625621"/>
                    <a:pt x="115209" y="689121"/>
                    <a:pt x="167914" y="701821"/>
                  </a:cubicBezTo>
                  <a:cubicBezTo>
                    <a:pt x="198394" y="706266"/>
                    <a:pt x="186964" y="743096"/>
                    <a:pt x="210459" y="758336"/>
                  </a:cubicBezTo>
                  <a:cubicBezTo>
                    <a:pt x="250464" y="731031"/>
                    <a:pt x="296184" y="718966"/>
                    <a:pt x="342539" y="708806"/>
                  </a:cubicBezTo>
                  <a:cubicBezTo>
                    <a:pt x="399054" y="687216"/>
                    <a:pt x="456839" y="670071"/>
                    <a:pt x="515894" y="651656"/>
                  </a:cubicBezTo>
                  <a:cubicBezTo>
                    <a:pt x="555899" y="628161"/>
                    <a:pt x="620669" y="634511"/>
                    <a:pt x="648609" y="599586"/>
                  </a:cubicBezTo>
                  <a:cubicBezTo>
                    <a:pt x="653689" y="581806"/>
                    <a:pt x="675279" y="581806"/>
                    <a:pt x="673374" y="561486"/>
                  </a:cubicBezTo>
                  <a:close/>
                  <a:moveTo>
                    <a:pt x="30754" y="205886"/>
                  </a:moveTo>
                  <a:cubicBezTo>
                    <a:pt x="33929" y="217951"/>
                    <a:pt x="36469" y="225571"/>
                    <a:pt x="37739" y="233191"/>
                  </a:cubicBezTo>
                  <a:cubicBezTo>
                    <a:pt x="28849" y="257956"/>
                    <a:pt x="5354" y="221761"/>
                    <a:pt x="30754" y="205886"/>
                  </a:cubicBezTo>
                  <a:close/>
                  <a:moveTo>
                    <a:pt x="59964" y="196996"/>
                  </a:moveTo>
                  <a:cubicBezTo>
                    <a:pt x="55519" y="196996"/>
                    <a:pt x="52979" y="196996"/>
                    <a:pt x="53614" y="191916"/>
                  </a:cubicBezTo>
                  <a:cubicBezTo>
                    <a:pt x="56789" y="192551"/>
                    <a:pt x="58694" y="195091"/>
                    <a:pt x="59964" y="196996"/>
                  </a:cubicBezTo>
                  <a:cubicBezTo>
                    <a:pt x="59964" y="200171"/>
                    <a:pt x="59329" y="202711"/>
                    <a:pt x="60599" y="205251"/>
                  </a:cubicBezTo>
                  <a:cubicBezTo>
                    <a:pt x="59329" y="202711"/>
                    <a:pt x="59964" y="199536"/>
                    <a:pt x="59964" y="196996"/>
                  </a:cubicBezTo>
                  <a:close/>
                  <a:moveTo>
                    <a:pt x="80284" y="409721"/>
                  </a:moveTo>
                  <a:cubicBezTo>
                    <a:pt x="61869" y="404641"/>
                    <a:pt x="59964" y="386226"/>
                    <a:pt x="68219" y="366541"/>
                  </a:cubicBezTo>
                  <a:cubicBezTo>
                    <a:pt x="81554" y="380511"/>
                    <a:pt x="84729" y="390036"/>
                    <a:pt x="80284" y="409721"/>
                  </a:cubicBezTo>
                  <a:close/>
                  <a:moveTo>
                    <a:pt x="72664" y="259226"/>
                  </a:moveTo>
                  <a:cubicBezTo>
                    <a:pt x="75204" y="259861"/>
                    <a:pt x="74569" y="260496"/>
                    <a:pt x="73934" y="262401"/>
                  </a:cubicBezTo>
                  <a:cubicBezTo>
                    <a:pt x="71394" y="262401"/>
                    <a:pt x="72029" y="261131"/>
                    <a:pt x="72664" y="259226"/>
                  </a:cubicBezTo>
                  <a:close/>
                  <a:moveTo>
                    <a:pt x="96159" y="445281"/>
                  </a:moveTo>
                  <a:cubicBezTo>
                    <a:pt x="106319" y="456711"/>
                    <a:pt x="113304" y="466236"/>
                    <a:pt x="105684" y="482746"/>
                  </a:cubicBezTo>
                  <a:cubicBezTo>
                    <a:pt x="92349" y="471316"/>
                    <a:pt x="81554" y="462426"/>
                    <a:pt x="96159" y="445281"/>
                  </a:cubicBezTo>
                  <a:close/>
                  <a:moveTo>
                    <a:pt x="98699" y="339236"/>
                  </a:moveTo>
                  <a:cubicBezTo>
                    <a:pt x="103144" y="352571"/>
                    <a:pt x="105684" y="362096"/>
                    <a:pt x="110129" y="376066"/>
                  </a:cubicBezTo>
                  <a:cubicBezTo>
                    <a:pt x="96159" y="359556"/>
                    <a:pt x="96159" y="359556"/>
                    <a:pt x="98699" y="339236"/>
                  </a:cubicBezTo>
                  <a:close/>
                  <a:moveTo>
                    <a:pt x="122829" y="558311"/>
                  </a:moveTo>
                  <a:cubicBezTo>
                    <a:pt x="94254" y="564026"/>
                    <a:pt x="106319" y="529736"/>
                    <a:pt x="119654" y="507511"/>
                  </a:cubicBezTo>
                  <a:cubicBezTo>
                    <a:pt x="126639" y="527196"/>
                    <a:pt x="143784" y="543706"/>
                    <a:pt x="122829" y="558311"/>
                  </a:cubicBezTo>
                  <a:close/>
                  <a:moveTo>
                    <a:pt x="136164" y="584981"/>
                  </a:moveTo>
                  <a:cubicBezTo>
                    <a:pt x="148864" y="589426"/>
                    <a:pt x="148229" y="597681"/>
                    <a:pt x="145689" y="606571"/>
                  </a:cubicBezTo>
                  <a:cubicBezTo>
                    <a:pt x="129814" y="626891"/>
                    <a:pt x="125369" y="595776"/>
                    <a:pt x="136164" y="584981"/>
                  </a:cubicBezTo>
                  <a:close/>
                  <a:moveTo>
                    <a:pt x="148864" y="645941"/>
                  </a:moveTo>
                  <a:cubicBezTo>
                    <a:pt x="166644" y="642131"/>
                    <a:pt x="169819" y="663086"/>
                    <a:pt x="171089" y="675786"/>
                  </a:cubicBezTo>
                  <a:cubicBezTo>
                    <a:pt x="155849" y="687851"/>
                    <a:pt x="141879" y="664356"/>
                    <a:pt x="148864" y="645941"/>
                  </a:cubicBezTo>
                  <a:close/>
                  <a:moveTo>
                    <a:pt x="222524" y="723411"/>
                  </a:moveTo>
                  <a:cubicBezTo>
                    <a:pt x="221889" y="722141"/>
                    <a:pt x="221254" y="720871"/>
                    <a:pt x="220619" y="719601"/>
                  </a:cubicBezTo>
                  <a:cubicBezTo>
                    <a:pt x="222524" y="718331"/>
                    <a:pt x="223794" y="718966"/>
                    <a:pt x="224429" y="721506"/>
                  </a:cubicBezTo>
                  <a:cubicBezTo>
                    <a:pt x="223159" y="722141"/>
                    <a:pt x="223159" y="722776"/>
                    <a:pt x="222524" y="723411"/>
                  </a:cubicBezTo>
                  <a:close/>
                  <a:moveTo>
                    <a:pt x="248559" y="709441"/>
                  </a:moveTo>
                  <a:cubicBezTo>
                    <a:pt x="251099" y="699281"/>
                    <a:pt x="261259" y="696106"/>
                    <a:pt x="269514" y="693566"/>
                  </a:cubicBezTo>
                  <a:cubicBezTo>
                    <a:pt x="355239" y="675151"/>
                    <a:pt x="435884" y="637051"/>
                    <a:pt x="520974" y="623716"/>
                  </a:cubicBezTo>
                  <a:cubicBezTo>
                    <a:pt x="502559" y="639591"/>
                    <a:pt x="282849" y="718966"/>
                    <a:pt x="248559" y="709441"/>
                  </a:cubicBezTo>
                  <a:close/>
                  <a:moveTo>
                    <a:pt x="523514" y="623081"/>
                  </a:moveTo>
                  <a:cubicBezTo>
                    <a:pt x="524784" y="622446"/>
                    <a:pt x="525419" y="621811"/>
                    <a:pt x="526689" y="621176"/>
                  </a:cubicBezTo>
                  <a:cubicBezTo>
                    <a:pt x="526054" y="622446"/>
                    <a:pt x="524784" y="623081"/>
                    <a:pt x="523514" y="623081"/>
                  </a:cubicBezTo>
                  <a:close/>
                  <a:moveTo>
                    <a:pt x="232684" y="682771"/>
                  </a:moveTo>
                  <a:cubicBezTo>
                    <a:pt x="222524" y="671341"/>
                    <a:pt x="222524" y="658006"/>
                    <a:pt x="216809" y="642766"/>
                  </a:cubicBezTo>
                  <a:cubicBezTo>
                    <a:pt x="254274" y="607841"/>
                    <a:pt x="182519" y="602126"/>
                    <a:pt x="206649" y="563391"/>
                  </a:cubicBezTo>
                  <a:cubicBezTo>
                    <a:pt x="190139" y="545611"/>
                    <a:pt x="173629" y="525926"/>
                    <a:pt x="174264" y="497986"/>
                  </a:cubicBezTo>
                  <a:cubicBezTo>
                    <a:pt x="237129" y="492906"/>
                    <a:pt x="139974" y="468141"/>
                    <a:pt x="148229" y="412261"/>
                  </a:cubicBezTo>
                  <a:cubicBezTo>
                    <a:pt x="155849" y="415436"/>
                    <a:pt x="162834" y="418611"/>
                    <a:pt x="172359" y="421786"/>
                  </a:cubicBezTo>
                  <a:cubicBezTo>
                    <a:pt x="172994" y="394481"/>
                    <a:pt x="151404" y="390671"/>
                    <a:pt x="136164" y="381781"/>
                  </a:cubicBezTo>
                  <a:cubicBezTo>
                    <a:pt x="132354" y="370351"/>
                    <a:pt x="127274" y="360191"/>
                    <a:pt x="128544" y="347491"/>
                  </a:cubicBezTo>
                  <a:cubicBezTo>
                    <a:pt x="134894" y="346856"/>
                    <a:pt x="139974" y="346221"/>
                    <a:pt x="145054" y="346221"/>
                  </a:cubicBezTo>
                  <a:cubicBezTo>
                    <a:pt x="160294" y="320821"/>
                    <a:pt x="97429" y="315741"/>
                    <a:pt x="103779" y="266211"/>
                  </a:cubicBezTo>
                  <a:cubicBezTo>
                    <a:pt x="110129" y="264941"/>
                    <a:pt x="115209" y="264306"/>
                    <a:pt x="122194" y="263036"/>
                  </a:cubicBezTo>
                  <a:cubicBezTo>
                    <a:pt x="119654" y="230651"/>
                    <a:pt x="87269" y="233826"/>
                    <a:pt x="84094" y="197631"/>
                  </a:cubicBezTo>
                  <a:cubicBezTo>
                    <a:pt x="89809" y="194456"/>
                    <a:pt x="95524" y="191281"/>
                    <a:pt x="103144" y="186836"/>
                  </a:cubicBezTo>
                  <a:cubicBezTo>
                    <a:pt x="84094" y="166516"/>
                    <a:pt x="63139" y="158261"/>
                    <a:pt x="62504" y="125876"/>
                  </a:cubicBezTo>
                  <a:cubicBezTo>
                    <a:pt x="184424" y="76346"/>
                    <a:pt x="322219" y="50946"/>
                    <a:pt x="451759" y="25546"/>
                  </a:cubicBezTo>
                  <a:cubicBezTo>
                    <a:pt x="519069" y="198266"/>
                    <a:pt x="592094" y="374796"/>
                    <a:pt x="635909" y="555771"/>
                  </a:cubicBezTo>
                  <a:cubicBezTo>
                    <a:pt x="508274" y="616096"/>
                    <a:pt x="366669" y="643401"/>
                    <a:pt x="232684" y="682771"/>
                  </a:cubicBezTo>
                  <a:close/>
                  <a:moveTo>
                    <a:pt x="397784" y="69361"/>
                  </a:moveTo>
                  <a:cubicBezTo>
                    <a:pt x="303804" y="94126"/>
                    <a:pt x="210459" y="117621"/>
                    <a:pt x="117114" y="145561"/>
                  </a:cubicBezTo>
                  <a:cubicBezTo>
                    <a:pt x="171724" y="303041"/>
                    <a:pt x="205379" y="466236"/>
                    <a:pt x="253004" y="625621"/>
                  </a:cubicBezTo>
                  <a:cubicBezTo>
                    <a:pt x="256179" y="635146"/>
                    <a:pt x="265069" y="638956"/>
                    <a:pt x="273324" y="633876"/>
                  </a:cubicBezTo>
                  <a:cubicBezTo>
                    <a:pt x="378734" y="598951"/>
                    <a:pt x="487954" y="572916"/>
                    <a:pt x="593999" y="537356"/>
                  </a:cubicBezTo>
                  <a:cubicBezTo>
                    <a:pt x="560344" y="406546"/>
                    <a:pt x="498749" y="280816"/>
                    <a:pt x="461919" y="148736"/>
                  </a:cubicBezTo>
                  <a:cubicBezTo>
                    <a:pt x="451124" y="116351"/>
                    <a:pt x="444774" y="54756"/>
                    <a:pt x="397784" y="69361"/>
                  </a:cubicBezTo>
                  <a:close/>
                  <a:moveTo>
                    <a:pt x="415564" y="90951"/>
                  </a:moveTo>
                  <a:cubicBezTo>
                    <a:pt x="425089" y="97936"/>
                    <a:pt x="427629" y="107461"/>
                    <a:pt x="426359" y="122066"/>
                  </a:cubicBezTo>
                  <a:cubicBezTo>
                    <a:pt x="375559" y="158896"/>
                    <a:pt x="350159" y="80156"/>
                    <a:pt x="415564" y="90951"/>
                  </a:cubicBezTo>
                  <a:close/>
                  <a:moveTo>
                    <a:pt x="433344" y="378606"/>
                  </a:moveTo>
                  <a:cubicBezTo>
                    <a:pt x="425724" y="381146"/>
                    <a:pt x="418739" y="383051"/>
                    <a:pt x="413024" y="384321"/>
                  </a:cubicBezTo>
                  <a:cubicBezTo>
                    <a:pt x="395879" y="367176"/>
                    <a:pt x="387624" y="339871"/>
                    <a:pt x="425089" y="339871"/>
                  </a:cubicBezTo>
                  <a:cubicBezTo>
                    <a:pt x="430804" y="350666"/>
                    <a:pt x="434614" y="362096"/>
                    <a:pt x="433344" y="378606"/>
                  </a:cubicBezTo>
                  <a:close/>
                  <a:moveTo>
                    <a:pt x="423819" y="437661"/>
                  </a:moveTo>
                  <a:cubicBezTo>
                    <a:pt x="419374" y="426866"/>
                    <a:pt x="416834" y="420516"/>
                    <a:pt x="414294" y="409086"/>
                  </a:cubicBezTo>
                  <a:cubicBezTo>
                    <a:pt x="453664" y="375431"/>
                    <a:pt x="471444" y="442741"/>
                    <a:pt x="423819" y="437661"/>
                  </a:cubicBezTo>
                  <a:close/>
                  <a:moveTo>
                    <a:pt x="284754" y="308756"/>
                  </a:moveTo>
                  <a:cubicBezTo>
                    <a:pt x="299359" y="319551"/>
                    <a:pt x="299994" y="334156"/>
                    <a:pt x="306344" y="350666"/>
                  </a:cubicBezTo>
                  <a:cubicBezTo>
                    <a:pt x="293009" y="362096"/>
                    <a:pt x="280309" y="362096"/>
                    <a:pt x="267609" y="365271"/>
                  </a:cubicBezTo>
                  <a:cubicBezTo>
                    <a:pt x="258719" y="351936"/>
                    <a:pt x="255544" y="338601"/>
                    <a:pt x="254909" y="322091"/>
                  </a:cubicBezTo>
                  <a:cubicBezTo>
                    <a:pt x="265069" y="317646"/>
                    <a:pt x="273959" y="313201"/>
                    <a:pt x="284754" y="308756"/>
                  </a:cubicBezTo>
                  <a:close/>
                  <a:moveTo>
                    <a:pt x="249194" y="297961"/>
                  </a:moveTo>
                  <a:cubicBezTo>
                    <a:pt x="244749" y="285896"/>
                    <a:pt x="240939" y="275101"/>
                    <a:pt x="237129" y="263671"/>
                  </a:cubicBezTo>
                  <a:cubicBezTo>
                    <a:pt x="248559" y="257321"/>
                    <a:pt x="258719" y="252876"/>
                    <a:pt x="272054" y="254146"/>
                  </a:cubicBezTo>
                  <a:cubicBezTo>
                    <a:pt x="287294" y="278276"/>
                    <a:pt x="289834" y="297961"/>
                    <a:pt x="249194" y="297961"/>
                  </a:cubicBezTo>
                  <a:close/>
                  <a:moveTo>
                    <a:pt x="312059" y="285261"/>
                  </a:moveTo>
                  <a:cubicBezTo>
                    <a:pt x="297454" y="273831"/>
                    <a:pt x="299359" y="260496"/>
                    <a:pt x="297454" y="248431"/>
                  </a:cubicBezTo>
                  <a:cubicBezTo>
                    <a:pt x="307614" y="236366"/>
                    <a:pt x="320949" y="233191"/>
                    <a:pt x="334284" y="230651"/>
                  </a:cubicBezTo>
                  <a:cubicBezTo>
                    <a:pt x="346984" y="240811"/>
                    <a:pt x="344444" y="256051"/>
                    <a:pt x="350159" y="268116"/>
                  </a:cubicBezTo>
                  <a:cubicBezTo>
                    <a:pt x="339999" y="283356"/>
                    <a:pt x="322854" y="278276"/>
                    <a:pt x="312059" y="285261"/>
                  </a:cubicBezTo>
                  <a:close/>
                  <a:moveTo>
                    <a:pt x="369209" y="328441"/>
                  </a:moveTo>
                  <a:cubicBezTo>
                    <a:pt x="357144" y="339871"/>
                    <a:pt x="343174" y="344316"/>
                    <a:pt x="327299" y="348126"/>
                  </a:cubicBezTo>
                  <a:cubicBezTo>
                    <a:pt x="322219" y="333521"/>
                    <a:pt x="317139" y="320186"/>
                    <a:pt x="310154" y="301771"/>
                  </a:cubicBezTo>
                  <a:cubicBezTo>
                    <a:pt x="326029" y="297326"/>
                    <a:pt x="338094" y="294151"/>
                    <a:pt x="349524" y="290976"/>
                  </a:cubicBezTo>
                  <a:cubicBezTo>
                    <a:pt x="364764" y="301136"/>
                    <a:pt x="364129" y="315741"/>
                    <a:pt x="369209" y="328441"/>
                  </a:cubicBezTo>
                  <a:close/>
                  <a:moveTo>
                    <a:pt x="308249" y="374796"/>
                  </a:moveTo>
                  <a:cubicBezTo>
                    <a:pt x="317139" y="386226"/>
                    <a:pt x="320949" y="398926"/>
                    <a:pt x="323489" y="416071"/>
                  </a:cubicBezTo>
                  <a:cubicBezTo>
                    <a:pt x="308884" y="420516"/>
                    <a:pt x="298724" y="428136"/>
                    <a:pt x="284119" y="423056"/>
                  </a:cubicBezTo>
                  <a:cubicBezTo>
                    <a:pt x="280944" y="412261"/>
                    <a:pt x="278404" y="401466"/>
                    <a:pt x="275229" y="390036"/>
                  </a:cubicBezTo>
                  <a:cubicBezTo>
                    <a:pt x="282849" y="378606"/>
                    <a:pt x="294914" y="375431"/>
                    <a:pt x="308249" y="374796"/>
                  </a:cubicBezTo>
                  <a:close/>
                  <a:moveTo>
                    <a:pt x="327934" y="435756"/>
                  </a:moveTo>
                  <a:cubicBezTo>
                    <a:pt x="338729" y="444011"/>
                    <a:pt x="340634" y="456076"/>
                    <a:pt x="343174" y="468141"/>
                  </a:cubicBezTo>
                  <a:cubicBezTo>
                    <a:pt x="334284" y="478936"/>
                    <a:pt x="322219" y="480206"/>
                    <a:pt x="310789" y="484016"/>
                  </a:cubicBezTo>
                  <a:cubicBezTo>
                    <a:pt x="298724" y="475761"/>
                    <a:pt x="292374" y="464331"/>
                    <a:pt x="291739" y="450361"/>
                  </a:cubicBezTo>
                  <a:cubicBezTo>
                    <a:pt x="308249" y="438296"/>
                    <a:pt x="308249" y="437661"/>
                    <a:pt x="327934" y="435756"/>
                  </a:cubicBezTo>
                  <a:close/>
                  <a:moveTo>
                    <a:pt x="332379" y="373526"/>
                  </a:moveTo>
                  <a:cubicBezTo>
                    <a:pt x="344444" y="361461"/>
                    <a:pt x="358414" y="357016"/>
                    <a:pt x="375559" y="353206"/>
                  </a:cubicBezTo>
                  <a:cubicBezTo>
                    <a:pt x="384449" y="366541"/>
                    <a:pt x="385084" y="377971"/>
                    <a:pt x="384449" y="390671"/>
                  </a:cubicBezTo>
                  <a:cubicBezTo>
                    <a:pt x="373654" y="401466"/>
                    <a:pt x="360319" y="405276"/>
                    <a:pt x="345714" y="406546"/>
                  </a:cubicBezTo>
                  <a:cubicBezTo>
                    <a:pt x="336189" y="397021"/>
                    <a:pt x="334919" y="385591"/>
                    <a:pt x="332379" y="373526"/>
                  </a:cubicBezTo>
                  <a:close/>
                  <a:moveTo>
                    <a:pt x="386989" y="414166"/>
                  </a:moveTo>
                  <a:cubicBezTo>
                    <a:pt x="398419" y="421786"/>
                    <a:pt x="399689" y="434486"/>
                    <a:pt x="402229" y="446551"/>
                  </a:cubicBezTo>
                  <a:cubicBezTo>
                    <a:pt x="392704" y="456076"/>
                    <a:pt x="381909" y="457981"/>
                    <a:pt x="369844" y="458616"/>
                  </a:cubicBezTo>
                  <a:cubicBezTo>
                    <a:pt x="360954" y="450361"/>
                    <a:pt x="358414" y="439566"/>
                    <a:pt x="355874" y="428771"/>
                  </a:cubicBezTo>
                  <a:cubicBezTo>
                    <a:pt x="363494" y="417341"/>
                    <a:pt x="375559" y="417976"/>
                    <a:pt x="386989" y="414166"/>
                  </a:cubicBezTo>
                  <a:close/>
                  <a:moveTo>
                    <a:pt x="404769" y="279546"/>
                  </a:moveTo>
                  <a:cubicBezTo>
                    <a:pt x="412389" y="289071"/>
                    <a:pt x="413024" y="302406"/>
                    <a:pt x="420009" y="314471"/>
                  </a:cubicBezTo>
                  <a:cubicBezTo>
                    <a:pt x="388894" y="350666"/>
                    <a:pt x="352699" y="279546"/>
                    <a:pt x="404769" y="279546"/>
                  </a:cubicBezTo>
                  <a:close/>
                  <a:moveTo>
                    <a:pt x="372384" y="263036"/>
                  </a:moveTo>
                  <a:cubicBezTo>
                    <a:pt x="363494" y="251606"/>
                    <a:pt x="361589" y="238906"/>
                    <a:pt x="363494" y="223031"/>
                  </a:cubicBezTo>
                  <a:cubicBezTo>
                    <a:pt x="370479" y="220491"/>
                    <a:pt x="376829" y="218586"/>
                    <a:pt x="382544" y="216681"/>
                  </a:cubicBezTo>
                  <a:cubicBezTo>
                    <a:pt x="400324" y="230016"/>
                    <a:pt x="413659" y="260496"/>
                    <a:pt x="372384" y="263036"/>
                  </a:cubicBezTo>
                  <a:close/>
                  <a:moveTo>
                    <a:pt x="354604" y="201441"/>
                  </a:moveTo>
                  <a:cubicBezTo>
                    <a:pt x="345714" y="193186"/>
                    <a:pt x="344444" y="181756"/>
                    <a:pt x="341904" y="168421"/>
                  </a:cubicBezTo>
                  <a:cubicBezTo>
                    <a:pt x="349524" y="165246"/>
                    <a:pt x="356509" y="161436"/>
                    <a:pt x="366669" y="156991"/>
                  </a:cubicBezTo>
                  <a:cubicBezTo>
                    <a:pt x="378099" y="179216"/>
                    <a:pt x="393339" y="203346"/>
                    <a:pt x="354604" y="201441"/>
                  </a:cubicBezTo>
                  <a:close/>
                  <a:moveTo>
                    <a:pt x="363494" y="137306"/>
                  </a:moveTo>
                  <a:cubicBezTo>
                    <a:pt x="354604" y="143656"/>
                    <a:pt x="346984" y="145561"/>
                    <a:pt x="337459" y="146831"/>
                  </a:cubicBezTo>
                  <a:cubicBezTo>
                    <a:pt x="299359" y="106826"/>
                    <a:pt x="355239" y="80791"/>
                    <a:pt x="363494" y="137306"/>
                  </a:cubicBezTo>
                  <a:close/>
                  <a:moveTo>
                    <a:pt x="328569" y="207791"/>
                  </a:moveTo>
                  <a:cubicBezTo>
                    <a:pt x="311424" y="219221"/>
                    <a:pt x="311424" y="219221"/>
                    <a:pt x="293009" y="221761"/>
                  </a:cubicBezTo>
                  <a:cubicBezTo>
                    <a:pt x="268879" y="193821"/>
                    <a:pt x="277134" y="170326"/>
                    <a:pt x="315869" y="174771"/>
                  </a:cubicBezTo>
                  <a:cubicBezTo>
                    <a:pt x="324759" y="187471"/>
                    <a:pt x="324759" y="187471"/>
                    <a:pt x="328569" y="207791"/>
                  </a:cubicBezTo>
                  <a:close/>
                  <a:moveTo>
                    <a:pt x="312694" y="154451"/>
                  </a:moveTo>
                  <a:cubicBezTo>
                    <a:pt x="299994" y="162706"/>
                    <a:pt x="289199" y="165246"/>
                    <a:pt x="276499" y="163341"/>
                  </a:cubicBezTo>
                  <a:cubicBezTo>
                    <a:pt x="267609" y="153816"/>
                    <a:pt x="265069" y="141751"/>
                    <a:pt x="261894" y="127781"/>
                  </a:cubicBezTo>
                  <a:cubicBezTo>
                    <a:pt x="290469" y="104286"/>
                    <a:pt x="308249" y="123336"/>
                    <a:pt x="312694" y="154451"/>
                  </a:cubicBezTo>
                  <a:close/>
                  <a:moveTo>
                    <a:pt x="269514" y="229381"/>
                  </a:moveTo>
                  <a:cubicBezTo>
                    <a:pt x="254909" y="238906"/>
                    <a:pt x="243479" y="242716"/>
                    <a:pt x="230144" y="238906"/>
                  </a:cubicBezTo>
                  <a:cubicBezTo>
                    <a:pt x="222524" y="226841"/>
                    <a:pt x="218714" y="214141"/>
                    <a:pt x="218714" y="200171"/>
                  </a:cubicBezTo>
                  <a:cubicBezTo>
                    <a:pt x="228239" y="191281"/>
                    <a:pt x="238399" y="188106"/>
                    <a:pt x="251734" y="189376"/>
                  </a:cubicBezTo>
                  <a:cubicBezTo>
                    <a:pt x="263799" y="198901"/>
                    <a:pt x="262529" y="214141"/>
                    <a:pt x="269514" y="229381"/>
                  </a:cubicBezTo>
                  <a:close/>
                  <a:moveTo>
                    <a:pt x="205379" y="139846"/>
                  </a:moveTo>
                  <a:cubicBezTo>
                    <a:pt x="241574" y="132861"/>
                    <a:pt x="244114" y="134131"/>
                    <a:pt x="248559" y="165881"/>
                  </a:cubicBezTo>
                  <a:cubicBezTo>
                    <a:pt x="233954" y="174771"/>
                    <a:pt x="233954" y="175406"/>
                    <a:pt x="212364" y="176041"/>
                  </a:cubicBezTo>
                  <a:cubicBezTo>
                    <a:pt x="205379" y="166516"/>
                    <a:pt x="202204" y="155086"/>
                    <a:pt x="205379" y="139846"/>
                  </a:cubicBezTo>
                  <a:close/>
                  <a:moveTo>
                    <a:pt x="146959" y="160166"/>
                  </a:moveTo>
                  <a:cubicBezTo>
                    <a:pt x="155849" y="153181"/>
                    <a:pt x="164739" y="148736"/>
                    <a:pt x="177439" y="151911"/>
                  </a:cubicBezTo>
                  <a:cubicBezTo>
                    <a:pt x="182519" y="162071"/>
                    <a:pt x="186964" y="172231"/>
                    <a:pt x="185694" y="184296"/>
                  </a:cubicBezTo>
                  <a:cubicBezTo>
                    <a:pt x="172359" y="193821"/>
                    <a:pt x="172359" y="193821"/>
                    <a:pt x="154579" y="195726"/>
                  </a:cubicBezTo>
                  <a:cubicBezTo>
                    <a:pt x="149499" y="183026"/>
                    <a:pt x="145689" y="172231"/>
                    <a:pt x="146959" y="160166"/>
                  </a:cubicBezTo>
                  <a:close/>
                  <a:moveTo>
                    <a:pt x="194584" y="209696"/>
                  </a:moveTo>
                  <a:cubicBezTo>
                    <a:pt x="204109" y="225571"/>
                    <a:pt x="203474" y="225571"/>
                    <a:pt x="204744" y="245891"/>
                  </a:cubicBezTo>
                  <a:cubicBezTo>
                    <a:pt x="199029" y="254781"/>
                    <a:pt x="189504" y="257956"/>
                    <a:pt x="176804" y="259861"/>
                  </a:cubicBezTo>
                  <a:cubicBezTo>
                    <a:pt x="160929" y="240811"/>
                    <a:pt x="160294" y="202076"/>
                    <a:pt x="194584" y="209696"/>
                  </a:cubicBezTo>
                  <a:close/>
                  <a:moveTo>
                    <a:pt x="181884" y="289071"/>
                  </a:moveTo>
                  <a:cubicBezTo>
                    <a:pt x="188869" y="277641"/>
                    <a:pt x="200299" y="273196"/>
                    <a:pt x="212999" y="271291"/>
                  </a:cubicBezTo>
                  <a:cubicBezTo>
                    <a:pt x="222524" y="281451"/>
                    <a:pt x="225699" y="292881"/>
                    <a:pt x="226334" y="305581"/>
                  </a:cubicBezTo>
                  <a:cubicBezTo>
                    <a:pt x="211729" y="316376"/>
                    <a:pt x="211729" y="316376"/>
                    <a:pt x="195219" y="317646"/>
                  </a:cubicBezTo>
                  <a:cubicBezTo>
                    <a:pt x="187599" y="310026"/>
                    <a:pt x="186964" y="299231"/>
                    <a:pt x="181884" y="289071"/>
                  </a:cubicBezTo>
                  <a:close/>
                  <a:moveTo>
                    <a:pt x="230779" y="331616"/>
                  </a:moveTo>
                  <a:cubicBezTo>
                    <a:pt x="240304" y="344316"/>
                    <a:pt x="254274" y="374161"/>
                    <a:pt x="232684" y="379876"/>
                  </a:cubicBezTo>
                  <a:cubicBezTo>
                    <a:pt x="193314" y="386226"/>
                    <a:pt x="192679" y="330981"/>
                    <a:pt x="230779" y="331616"/>
                  </a:cubicBezTo>
                  <a:close/>
                  <a:moveTo>
                    <a:pt x="217444" y="409721"/>
                  </a:moveTo>
                  <a:cubicBezTo>
                    <a:pt x="228874" y="401466"/>
                    <a:pt x="239669" y="397656"/>
                    <a:pt x="251734" y="397656"/>
                  </a:cubicBezTo>
                  <a:cubicBezTo>
                    <a:pt x="261259" y="406546"/>
                    <a:pt x="263164" y="417976"/>
                    <a:pt x="261894" y="431311"/>
                  </a:cubicBezTo>
                  <a:cubicBezTo>
                    <a:pt x="252369" y="439566"/>
                    <a:pt x="242209" y="445281"/>
                    <a:pt x="228239" y="444646"/>
                  </a:cubicBezTo>
                  <a:cubicBezTo>
                    <a:pt x="219984" y="435121"/>
                    <a:pt x="219984" y="423691"/>
                    <a:pt x="217444" y="409721"/>
                  </a:cubicBezTo>
                  <a:close/>
                  <a:moveTo>
                    <a:pt x="235224" y="469411"/>
                  </a:moveTo>
                  <a:cubicBezTo>
                    <a:pt x="244749" y="464966"/>
                    <a:pt x="253639" y="460521"/>
                    <a:pt x="262529" y="456076"/>
                  </a:cubicBezTo>
                  <a:cubicBezTo>
                    <a:pt x="276499" y="464966"/>
                    <a:pt x="280309" y="477666"/>
                    <a:pt x="280944" y="492271"/>
                  </a:cubicBezTo>
                  <a:cubicBezTo>
                    <a:pt x="271419" y="503066"/>
                    <a:pt x="259989" y="508781"/>
                    <a:pt x="244749" y="507511"/>
                  </a:cubicBezTo>
                  <a:cubicBezTo>
                    <a:pt x="237129" y="496081"/>
                    <a:pt x="235224" y="484016"/>
                    <a:pt x="235224" y="469411"/>
                  </a:cubicBezTo>
                  <a:close/>
                  <a:moveTo>
                    <a:pt x="256179" y="560851"/>
                  </a:moveTo>
                  <a:cubicBezTo>
                    <a:pt x="253639" y="550691"/>
                    <a:pt x="251734" y="542436"/>
                    <a:pt x="249194" y="534816"/>
                  </a:cubicBezTo>
                  <a:cubicBezTo>
                    <a:pt x="259354" y="524021"/>
                    <a:pt x="271419" y="520846"/>
                    <a:pt x="282849" y="517671"/>
                  </a:cubicBezTo>
                  <a:cubicBezTo>
                    <a:pt x="294279" y="524656"/>
                    <a:pt x="294914" y="535451"/>
                    <a:pt x="297454" y="546246"/>
                  </a:cubicBezTo>
                  <a:cubicBezTo>
                    <a:pt x="286659" y="556406"/>
                    <a:pt x="273959" y="558311"/>
                    <a:pt x="256179" y="560851"/>
                  </a:cubicBezTo>
                  <a:close/>
                  <a:moveTo>
                    <a:pt x="276499" y="606571"/>
                  </a:moveTo>
                  <a:cubicBezTo>
                    <a:pt x="267609" y="600221"/>
                    <a:pt x="265704" y="592601"/>
                    <a:pt x="268879" y="581171"/>
                  </a:cubicBezTo>
                  <a:cubicBezTo>
                    <a:pt x="315869" y="551961"/>
                    <a:pt x="331109" y="608476"/>
                    <a:pt x="276499" y="606571"/>
                  </a:cubicBezTo>
                  <a:close/>
                  <a:moveTo>
                    <a:pt x="348889" y="487826"/>
                  </a:moveTo>
                  <a:cubicBezTo>
                    <a:pt x="362224" y="494811"/>
                    <a:pt x="362859" y="506876"/>
                    <a:pt x="364129" y="523386"/>
                  </a:cubicBezTo>
                  <a:cubicBezTo>
                    <a:pt x="350159" y="528466"/>
                    <a:pt x="338729" y="532911"/>
                    <a:pt x="327934" y="536721"/>
                  </a:cubicBezTo>
                  <a:cubicBezTo>
                    <a:pt x="296819" y="511321"/>
                    <a:pt x="317774" y="493541"/>
                    <a:pt x="348889" y="487826"/>
                  </a:cubicBezTo>
                  <a:close/>
                  <a:moveTo>
                    <a:pt x="339364" y="593871"/>
                  </a:moveTo>
                  <a:cubicBezTo>
                    <a:pt x="329839" y="585616"/>
                    <a:pt x="333014" y="572916"/>
                    <a:pt x="329204" y="562121"/>
                  </a:cubicBezTo>
                  <a:cubicBezTo>
                    <a:pt x="338729" y="548151"/>
                    <a:pt x="353969" y="546246"/>
                    <a:pt x="366669" y="541166"/>
                  </a:cubicBezTo>
                  <a:cubicBezTo>
                    <a:pt x="378099" y="555771"/>
                    <a:pt x="378099" y="555771"/>
                    <a:pt x="380004" y="579266"/>
                  </a:cubicBezTo>
                  <a:cubicBezTo>
                    <a:pt x="362859" y="591331"/>
                    <a:pt x="362859" y="591331"/>
                    <a:pt x="339364" y="593871"/>
                  </a:cubicBezTo>
                  <a:close/>
                  <a:moveTo>
                    <a:pt x="378099" y="481476"/>
                  </a:moveTo>
                  <a:cubicBezTo>
                    <a:pt x="385719" y="471951"/>
                    <a:pt x="394609" y="468141"/>
                    <a:pt x="406674" y="468776"/>
                  </a:cubicBezTo>
                  <a:cubicBezTo>
                    <a:pt x="414294" y="477666"/>
                    <a:pt x="418739" y="487826"/>
                    <a:pt x="420009" y="499256"/>
                  </a:cubicBezTo>
                  <a:cubicBezTo>
                    <a:pt x="413024" y="509416"/>
                    <a:pt x="402864" y="512591"/>
                    <a:pt x="390164" y="515131"/>
                  </a:cubicBezTo>
                  <a:cubicBezTo>
                    <a:pt x="380639" y="504971"/>
                    <a:pt x="380639" y="492906"/>
                    <a:pt x="378099" y="481476"/>
                  </a:cubicBezTo>
                  <a:close/>
                  <a:moveTo>
                    <a:pt x="411119" y="571646"/>
                  </a:moveTo>
                  <a:cubicBezTo>
                    <a:pt x="393339" y="550056"/>
                    <a:pt x="389529" y="530371"/>
                    <a:pt x="425724" y="524021"/>
                  </a:cubicBezTo>
                  <a:cubicBezTo>
                    <a:pt x="432074" y="536721"/>
                    <a:pt x="437154" y="550056"/>
                    <a:pt x="441599" y="564026"/>
                  </a:cubicBezTo>
                  <a:cubicBezTo>
                    <a:pt x="432074" y="571011"/>
                    <a:pt x="422549" y="573551"/>
                    <a:pt x="411119" y="571646"/>
                  </a:cubicBezTo>
                  <a:close/>
                  <a:moveTo>
                    <a:pt x="435884" y="480841"/>
                  </a:moveTo>
                  <a:cubicBezTo>
                    <a:pt x="425724" y="454806"/>
                    <a:pt x="442869" y="452901"/>
                    <a:pt x="462554" y="447821"/>
                  </a:cubicBezTo>
                  <a:cubicBezTo>
                    <a:pt x="487954" y="483381"/>
                    <a:pt x="456204" y="514496"/>
                    <a:pt x="435884" y="480841"/>
                  </a:cubicBezTo>
                  <a:close/>
                  <a:moveTo>
                    <a:pt x="466364" y="555136"/>
                  </a:moveTo>
                  <a:cubicBezTo>
                    <a:pt x="458744" y="541166"/>
                    <a:pt x="447949" y="529736"/>
                    <a:pt x="451759" y="508781"/>
                  </a:cubicBezTo>
                  <a:lnTo>
                    <a:pt x="483509" y="508781"/>
                  </a:lnTo>
                  <a:cubicBezTo>
                    <a:pt x="486684" y="519576"/>
                    <a:pt x="489224" y="530371"/>
                    <a:pt x="491764" y="539261"/>
                  </a:cubicBezTo>
                  <a:cubicBezTo>
                    <a:pt x="486049" y="551961"/>
                    <a:pt x="476524" y="552596"/>
                    <a:pt x="466364" y="555136"/>
                  </a:cubicBezTo>
                  <a:close/>
                  <a:moveTo>
                    <a:pt x="551454" y="482111"/>
                  </a:moveTo>
                  <a:cubicBezTo>
                    <a:pt x="560344" y="494811"/>
                    <a:pt x="569234" y="508146"/>
                    <a:pt x="571139" y="525926"/>
                  </a:cubicBezTo>
                  <a:cubicBezTo>
                    <a:pt x="553359" y="529101"/>
                    <a:pt x="537484" y="532911"/>
                    <a:pt x="520339" y="539261"/>
                  </a:cubicBezTo>
                  <a:cubicBezTo>
                    <a:pt x="509544" y="525926"/>
                    <a:pt x="510179" y="511321"/>
                    <a:pt x="508274" y="496081"/>
                  </a:cubicBezTo>
                  <a:cubicBezTo>
                    <a:pt x="522244" y="487826"/>
                    <a:pt x="534309" y="480841"/>
                    <a:pt x="551454" y="482111"/>
                  </a:cubicBezTo>
                  <a:close/>
                  <a:moveTo>
                    <a:pt x="543199" y="456076"/>
                  </a:moveTo>
                  <a:cubicBezTo>
                    <a:pt x="529229" y="464331"/>
                    <a:pt x="516529" y="470681"/>
                    <a:pt x="501289" y="473856"/>
                  </a:cubicBezTo>
                  <a:cubicBezTo>
                    <a:pt x="492399" y="464966"/>
                    <a:pt x="489224" y="454171"/>
                    <a:pt x="487954" y="441471"/>
                  </a:cubicBezTo>
                  <a:cubicBezTo>
                    <a:pt x="500019" y="428771"/>
                    <a:pt x="515894" y="429406"/>
                    <a:pt x="531769" y="423056"/>
                  </a:cubicBezTo>
                  <a:cubicBezTo>
                    <a:pt x="536214" y="435756"/>
                    <a:pt x="539389" y="445281"/>
                    <a:pt x="543199" y="456076"/>
                  </a:cubicBezTo>
                  <a:close/>
                  <a:moveTo>
                    <a:pt x="481604" y="419246"/>
                  </a:moveTo>
                  <a:cubicBezTo>
                    <a:pt x="477794" y="409721"/>
                    <a:pt x="475254" y="403371"/>
                    <a:pt x="472714" y="396386"/>
                  </a:cubicBezTo>
                  <a:cubicBezTo>
                    <a:pt x="517799" y="362096"/>
                    <a:pt x="550184" y="405276"/>
                    <a:pt x="481604" y="419246"/>
                  </a:cubicBezTo>
                  <a:close/>
                  <a:moveTo>
                    <a:pt x="510179" y="353206"/>
                  </a:moveTo>
                  <a:cubicBezTo>
                    <a:pt x="496209" y="364636"/>
                    <a:pt x="480969" y="369081"/>
                    <a:pt x="458744" y="367811"/>
                  </a:cubicBezTo>
                  <a:cubicBezTo>
                    <a:pt x="455569" y="354476"/>
                    <a:pt x="453029" y="342411"/>
                    <a:pt x="449854" y="330346"/>
                  </a:cubicBezTo>
                  <a:cubicBezTo>
                    <a:pt x="462554" y="318916"/>
                    <a:pt x="475254" y="312566"/>
                    <a:pt x="493034" y="317011"/>
                  </a:cubicBezTo>
                  <a:cubicBezTo>
                    <a:pt x="500019" y="328441"/>
                    <a:pt x="505734" y="339871"/>
                    <a:pt x="510179" y="353206"/>
                  </a:cubicBezTo>
                  <a:close/>
                  <a:moveTo>
                    <a:pt x="484144" y="289706"/>
                  </a:moveTo>
                  <a:cubicBezTo>
                    <a:pt x="470174" y="295421"/>
                    <a:pt x="457474" y="303041"/>
                    <a:pt x="442234" y="304946"/>
                  </a:cubicBezTo>
                  <a:cubicBezTo>
                    <a:pt x="430804" y="295421"/>
                    <a:pt x="430169" y="282721"/>
                    <a:pt x="428899" y="271926"/>
                  </a:cubicBezTo>
                  <a:cubicBezTo>
                    <a:pt x="437789" y="259861"/>
                    <a:pt x="449219" y="264941"/>
                    <a:pt x="459379" y="264306"/>
                  </a:cubicBezTo>
                  <a:cubicBezTo>
                    <a:pt x="479699" y="259861"/>
                    <a:pt x="481604" y="270656"/>
                    <a:pt x="484144" y="289706"/>
                  </a:cubicBezTo>
                  <a:close/>
                  <a:moveTo>
                    <a:pt x="465729" y="238271"/>
                  </a:moveTo>
                  <a:cubicBezTo>
                    <a:pt x="451759" y="240811"/>
                    <a:pt x="439059" y="242716"/>
                    <a:pt x="424454" y="245256"/>
                  </a:cubicBezTo>
                  <a:cubicBezTo>
                    <a:pt x="416199" y="233191"/>
                    <a:pt x="410484" y="221761"/>
                    <a:pt x="413024" y="206521"/>
                  </a:cubicBezTo>
                  <a:cubicBezTo>
                    <a:pt x="423819" y="198266"/>
                    <a:pt x="437154" y="198901"/>
                    <a:pt x="451759" y="193186"/>
                  </a:cubicBezTo>
                  <a:cubicBezTo>
                    <a:pt x="460649" y="208426"/>
                    <a:pt x="465094" y="221761"/>
                    <a:pt x="465729" y="238271"/>
                  </a:cubicBezTo>
                  <a:close/>
                  <a:moveTo>
                    <a:pt x="443504" y="167786"/>
                  </a:moveTo>
                  <a:cubicBezTo>
                    <a:pt x="433979" y="181121"/>
                    <a:pt x="418739" y="181756"/>
                    <a:pt x="404769" y="183661"/>
                  </a:cubicBezTo>
                  <a:cubicBezTo>
                    <a:pt x="395244" y="175406"/>
                    <a:pt x="392069" y="165881"/>
                    <a:pt x="395244" y="152546"/>
                  </a:cubicBezTo>
                  <a:cubicBezTo>
                    <a:pt x="406039" y="149371"/>
                    <a:pt x="418104" y="145561"/>
                    <a:pt x="428899" y="142386"/>
                  </a:cubicBezTo>
                  <a:cubicBezTo>
                    <a:pt x="440964" y="147466"/>
                    <a:pt x="441599" y="157626"/>
                    <a:pt x="443504" y="16778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2" name="Google Shape;49;p2">
              <a:extLst>
                <a:ext uri="{FF2B5EF4-FFF2-40B4-BE49-F238E27FC236}">
                  <a16:creationId xmlns:a16="http://schemas.microsoft.com/office/drawing/2014/main" id="{772FC28F-55E1-4A85-85CE-186685CBF53B}"/>
                </a:ext>
              </a:extLst>
            </p:cNvPr>
            <p:cNvSpPr/>
            <p:nvPr/>
          </p:nvSpPr>
          <p:spPr>
            <a:xfrm>
              <a:off x="7317433" y="2956555"/>
              <a:ext cx="716315" cy="573888"/>
            </a:xfrm>
            <a:custGeom>
              <a:avLst/>
              <a:gdLst/>
              <a:ahLst/>
              <a:cxnLst/>
              <a:rect l="l" t="t" r="r" b="b"/>
              <a:pathLst>
                <a:path w="832925" h="667312" extrusionOk="0">
                  <a:moveTo>
                    <a:pt x="832654" y="510467"/>
                  </a:moveTo>
                  <a:cubicBezTo>
                    <a:pt x="829479" y="434902"/>
                    <a:pt x="811699" y="361242"/>
                    <a:pt x="802174" y="286312"/>
                  </a:cubicBezTo>
                  <a:cubicBezTo>
                    <a:pt x="772964" y="118672"/>
                    <a:pt x="808524" y="-22933"/>
                    <a:pt x="580559" y="3102"/>
                  </a:cubicBezTo>
                  <a:cubicBezTo>
                    <a:pt x="476419" y="-8963"/>
                    <a:pt x="405934" y="116132"/>
                    <a:pt x="355134" y="85652"/>
                  </a:cubicBezTo>
                  <a:cubicBezTo>
                    <a:pt x="259884" y="32312"/>
                    <a:pt x="139869" y="51362"/>
                    <a:pt x="38269" y="73587"/>
                  </a:cubicBezTo>
                  <a:cubicBezTo>
                    <a:pt x="-11261" y="84382"/>
                    <a:pt x="-2371" y="107242"/>
                    <a:pt x="8424" y="146612"/>
                  </a:cubicBezTo>
                  <a:cubicBezTo>
                    <a:pt x="29379" y="309172"/>
                    <a:pt x="48429" y="470462"/>
                    <a:pt x="82084" y="629847"/>
                  </a:cubicBezTo>
                  <a:cubicBezTo>
                    <a:pt x="83989" y="650802"/>
                    <a:pt x="107484" y="641277"/>
                    <a:pt x="120184" y="636197"/>
                  </a:cubicBezTo>
                  <a:cubicBezTo>
                    <a:pt x="129709" y="645722"/>
                    <a:pt x="124629" y="663502"/>
                    <a:pt x="143044" y="667312"/>
                  </a:cubicBezTo>
                  <a:cubicBezTo>
                    <a:pt x="237024" y="612067"/>
                    <a:pt x="358309" y="609527"/>
                    <a:pt x="463084" y="627942"/>
                  </a:cubicBezTo>
                  <a:cubicBezTo>
                    <a:pt x="553254" y="563807"/>
                    <a:pt x="668824" y="563172"/>
                    <a:pt x="774869" y="573967"/>
                  </a:cubicBezTo>
                  <a:cubicBezTo>
                    <a:pt x="792014" y="565712"/>
                    <a:pt x="786299" y="546027"/>
                    <a:pt x="793919" y="532692"/>
                  </a:cubicBezTo>
                  <a:cubicBezTo>
                    <a:pt x="810429" y="527612"/>
                    <a:pt x="835829" y="539677"/>
                    <a:pt x="832654" y="510467"/>
                  </a:cubicBezTo>
                  <a:close/>
                  <a:moveTo>
                    <a:pt x="377359" y="595557"/>
                  </a:moveTo>
                  <a:cubicBezTo>
                    <a:pt x="298619" y="600002"/>
                    <a:pt x="222419" y="601907"/>
                    <a:pt x="148759" y="633022"/>
                  </a:cubicBezTo>
                  <a:cubicBezTo>
                    <a:pt x="134789" y="583492"/>
                    <a:pt x="351959" y="558092"/>
                    <a:pt x="385614" y="586667"/>
                  </a:cubicBezTo>
                  <a:cubicBezTo>
                    <a:pt x="385614" y="594287"/>
                    <a:pt x="381804" y="595557"/>
                    <a:pt x="377359" y="595557"/>
                  </a:cubicBezTo>
                  <a:close/>
                  <a:moveTo>
                    <a:pt x="432604" y="585397"/>
                  </a:moveTo>
                  <a:cubicBezTo>
                    <a:pt x="332909" y="518722"/>
                    <a:pt x="209084" y="561267"/>
                    <a:pt x="107484" y="605717"/>
                  </a:cubicBezTo>
                  <a:cubicBezTo>
                    <a:pt x="60494" y="509832"/>
                    <a:pt x="77639" y="394897"/>
                    <a:pt x="47159" y="292662"/>
                  </a:cubicBezTo>
                  <a:cubicBezTo>
                    <a:pt x="51604" y="252022"/>
                    <a:pt x="2074" y="106607"/>
                    <a:pt x="45254" y="97082"/>
                  </a:cubicBezTo>
                  <a:cubicBezTo>
                    <a:pt x="143044" y="74857"/>
                    <a:pt x="338624" y="38027"/>
                    <a:pt x="385614" y="152962"/>
                  </a:cubicBezTo>
                  <a:cubicBezTo>
                    <a:pt x="410379" y="295837"/>
                    <a:pt x="436414" y="439347"/>
                    <a:pt x="432604" y="585397"/>
                  </a:cubicBezTo>
                  <a:close/>
                  <a:moveTo>
                    <a:pt x="766614" y="547297"/>
                  </a:moveTo>
                  <a:cubicBezTo>
                    <a:pt x="691049" y="546662"/>
                    <a:pt x="619294" y="547297"/>
                    <a:pt x="546269" y="561267"/>
                  </a:cubicBezTo>
                  <a:cubicBezTo>
                    <a:pt x="548809" y="521262"/>
                    <a:pt x="785664" y="490782"/>
                    <a:pt x="766614" y="547297"/>
                  </a:cubicBezTo>
                  <a:close/>
                  <a:moveTo>
                    <a:pt x="804714" y="505387"/>
                  </a:moveTo>
                  <a:cubicBezTo>
                    <a:pt x="673269" y="483162"/>
                    <a:pt x="569129" y="493322"/>
                    <a:pt x="464354" y="577777"/>
                  </a:cubicBezTo>
                  <a:cubicBezTo>
                    <a:pt x="442129" y="429187"/>
                    <a:pt x="440224" y="275517"/>
                    <a:pt x="403394" y="128197"/>
                  </a:cubicBezTo>
                  <a:cubicBezTo>
                    <a:pt x="464989" y="31677"/>
                    <a:pt x="617389" y="-10233"/>
                    <a:pt x="717084" y="45647"/>
                  </a:cubicBezTo>
                  <a:cubicBezTo>
                    <a:pt x="772964" y="92637"/>
                    <a:pt x="754549" y="188522"/>
                    <a:pt x="772329" y="255197"/>
                  </a:cubicBezTo>
                  <a:cubicBezTo>
                    <a:pt x="776774" y="340287"/>
                    <a:pt x="809159" y="420932"/>
                    <a:pt x="804714" y="505387"/>
                  </a:cubicBezTo>
                  <a:close/>
                  <a:moveTo>
                    <a:pt x="634534" y="306632"/>
                  </a:moveTo>
                  <a:cubicBezTo>
                    <a:pt x="633264" y="339652"/>
                    <a:pt x="643424" y="370132"/>
                    <a:pt x="639614" y="404422"/>
                  </a:cubicBezTo>
                  <a:cubicBezTo>
                    <a:pt x="447209" y="426012"/>
                    <a:pt x="456734" y="468557"/>
                    <a:pt x="644059" y="424107"/>
                  </a:cubicBezTo>
                  <a:cubicBezTo>
                    <a:pt x="648504" y="439347"/>
                    <a:pt x="652314" y="453317"/>
                    <a:pt x="656759" y="468557"/>
                  </a:cubicBezTo>
                  <a:cubicBezTo>
                    <a:pt x="692954" y="465382"/>
                    <a:pt x="738674" y="470462"/>
                    <a:pt x="767249" y="447602"/>
                  </a:cubicBezTo>
                  <a:cubicBezTo>
                    <a:pt x="737404" y="353622"/>
                    <a:pt x="781219" y="259007"/>
                    <a:pt x="634534" y="306632"/>
                  </a:cubicBezTo>
                  <a:close/>
                  <a:moveTo>
                    <a:pt x="675809" y="441887"/>
                  </a:moveTo>
                  <a:cubicBezTo>
                    <a:pt x="660569" y="405692"/>
                    <a:pt x="656759" y="376482"/>
                    <a:pt x="661839" y="327587"/>
                  </a:cubicBezTo>
                  <a:cubicBezTo>
                    <a:pt x="682159" y="317427"/>
                    <a:pt x="701844" y="319967"/>
                    <a:pt x="721529" y="322507"/>
                  </a:cubicBezTo>
                  <a:cubicBezTo>
                    <a:pt x="738039" y="356162"/>
                    <a:pt x="730419" y="395532"/>
                    <a:pt x="736134" y="433632"/>
                  </a:cubicBezTo>
                  <a:cubicBezTo>
                    <a:pt x="715814" y="436172"/>
                    <a:pt x="696129" y="443792"/>
                    <a:pt x="675809" y="441887"/>
                  </a:cubicBezTo>
                  <a:close/>
                  <a:moveTo>
                    <a:pt x="732959" y="166932"/>
                  </a:moveTo>
                  <a:cubicBezTo>
                    <a:pt x="737404" y="169472"/>
                    <a:pt x="744389" y="166932"/>
                    <a:pt x="745659" y="161217"/>
                  </a:cubicBezTo>
                  <a:cubicBezTo>
                    <a:pt x="744389" y="125657"/>
                    <a:pt x="672634" y="141532"/>
                    <a:pt x="657394" y="133912"/>
                  </a:cubicBezTo>
                  <a:cubicBezTo>
                    <a:pt x="623104" y="134547"/>
                    <a:pt x="419904" y="153597"/>
                    <a:pt x="476419" y="191697"/>
                  </a:cubicBezTo>
                  <a:cubicBezTo>
                    <a:pt x="556429" y="162487"/>
                    <a:pt x="649774" y="134547"/>
                    <a:pt x="732959" y="166932"/>
                  </a:cubicBezTo>
                  <a:close/>
                  <a:moveTo>
                    <a:pt x="726609" y="92002"/>
                  </a:moveTo>
                  <a:cubicBezTo>
                    <a:pt x="717719" y="29772"/>
                    <a:pt x="482134" y="92002"/>
                    <a:pt x="449114" y="126927"/>
                  </a:cubicBezTo>
                  <a:cubicBezTo>
                    <a:pt x="452924" y="132642"/>
                    <a:pt x="455464" y="137087"/>
                    <a:pt x="459274" y="143437"/>
                  </a:cubicBezTo>
                  <a:cubicBezTo>
                    <a:pt x="539284" y="94542"/>
                    <a:pt x="635169" y="79937"/>
                    <a:pt x="726609" y="92002"/>
                  </a:cubicBezTo>
                  <a:close/>
                  <a:moveTo>
                    <a:pt x="494199" y="248847"/>
                  </a:moveTo>
                  <a:cubicBezTo>
                    <a:pt x="562144" y="217097"/>
                    <a:pt x="643424" y="223447"/>
                    <a:pt x="716449" y="235512"/>
                  </a:cubicBezTo>
                  <a:cubicBezTo>
                    <a:pt x="743119" y="187887"/>
                    <a:pt x="480229" y="199317"/>
                    <a:pt x="478959" y="238687"/>
                  </a:cubicBezTo>
                  <a:cubicBezTo>
                    <a:pt x="478959" y="246942"/>
                    <a:pt x="487214" y="252657"/>
                    <a:pt x="494199" y="248847"/>
                  </a:cubicBezTo>
                  <a:close/>
                  <a:moveTo>
                    <a:pt x="528489" y="290122"/>
                  </a:moveTo>
                  <a:cubicBezTo>
                    <a:pt x="592624" y="271707"/>
                    <a:pt x="654854" y="280597"/>
                    <a:pt x="720259" y="272977"/>
                  </a:cubicBezTo>
                  <a:cubicBezTo>
                    <a:pt x="682159" y="245037"/>
                    <a:pt x="508804" y="252022"/>
                    <a:pt x="482769" y="285677"/>
                  </a:cubicBezTo>
                  <a:cubicBezTo>
                    <a:pt x="488484" y="303457"/>
                    <a:pt x="515154" y="290122"/>
                    <a:pt x="528489" y="290122"/>
                  </a:cubicBezTo>
                  <a:close/>
                  <a:moveTo>
                    <a:pt x="487214" y="344097"/>
                  </a:moveTo>
                  <a:cubicBezTo>
                    <a:pt x="524679" y="329492"/>
                    <a:pt x="568494" y="330762"/>
                    <a:pt x="602784" y="322507"/>
                  </a:cubicBezTo>
                  <a:cubicBezTo>
                    <a:pt x="610404" y="283772"/>
                    <a:pt x="438954" y="313617"/>
                    <a:pt x="487214" y="344097"/>
                  </a:cubicBezTo>
                  <a:close/>
                  <a:moveTo>
                    <a:pt x="570399" y="357432"/>
                  </a:moveTo>
                  <a:cubicBezTo>
                    <a:pt x="570399" y="356797"/>
                    <a:pt x="570399" y="356162"/>
                    <a:pt x="569764" y="355527"/>
                  </a:cubicBezTo>
                  <a:cubicBezTo>
                    <a:pt x="552619" y="361242"/>
                    <a:pt x="472609" y="361242"/>
                    <a:pt x="503089" y="389817"/>
                  </a:cubicBezTo>
                  <a:cubicBezTo>
                    <a:pt x="527219" y="389817"/>
                    <a:pt x="663744" y="368862"/>
                    <a:pt x="570399" y="357432"/>
                  </a:cubicBezTo>
                  <a:close/>
                  <a:moveTo>
                    <a:pt x="527219" y="465382"/>
                  </a:moveTo>
                  <a:cubicBezTo>
                    <a:pt x="531029" y="504752"/>
                    <a:pt x="577384" y="471097"/>
                    <a:pt x="599609" y="467287"/>
                  </a:cubicBezTo>
                  <a:cubicBezTo>
                    <a:pt x="643424" y="424742"/>
                    <a:pt x="545634" y="460937"/>
                    <a:pt x="527219" y="465382"/>
                  </a:cubicBezTo>
                  <a:close/>
                  <a:moveTo>
                    <a:pt x="80814" y="149152"/>
                  </a:moveTo>
                  <a:cubicBezTo>
                    <a:pt x="89069" y="207572"/>
                    <a:pt x="91609" y="268532"/>
                    <a:pt x="106849" y="325682"/>
                  </a:cubicBezTo>
                  <a:cubicBezTo>
                    <a:pt x="121454" y="349812"/>
                    <a:pt x="158284" y="325047"/>
                    <a:pt x="180509" y="323777"/>
                  </a:cubicBezTo>
                  <a:cubicBezTo>
                    <a:pt x="231944" y="314887"/>
                    <a:pt x="315129" y="299647"/>
                    <a:pt x="360849" y="323777"/>
                  </a:cubicBezTo>
                  <a:cubicBezTo>
                    <a:pt x="404029" y="299647"/>
                    <a:pt x="364024" y="247577"/>
                    <a:pt x="364024" y="210112"/>
                  </a:cubicBezTo>
                  <a:cubicBezTo>
                    <a:pt x="369104" y="76127"/>
                    <a:pt x="162729" y="123752"/>
                    <a:pt x="80814" y="149152"/>
                  </a:cubicBezTo>
                  <a:close/>
                  <a:moveTo>
                    <a:pt x="354499" y="290122"/>
                  </a:moveTo>
                  <a:cubicBezTo>
                    <a:pt x="277029" y="288852"/>
                    <a:pt x="202099" y="298377"/>
                    <a:pt x="125899" y="307902"/>
                  </a:cubicBezTo>
                  <a:cubicBezTo>
                    <a:pt x="118914" y="262817"/>
                    <a:pt x="111929" y="218367"/>
                    <a:pt x="104944" y="172647"/>
                  </a:cubicBezTo>
                  <a:cubicBezTo>
                    <a:pt x="172254" y="133277"/>
                    <a:pt x="262424" y="130102"/>
                    <a:pt x="332909" y="165662"/>
                  </a:cubicBezTo>
                  <a:cubicBezTo>
                    <a:pt x="350054" y="232337"/>
                    <a:pt x="357039" y="269802"/>
                    <a:pt x="354499" y="290122"/>
                  </a:cubicBezTo>
                  <a:close/>
                  <a:moveTo>
                    <a:pt x="227499" y="369497"/>
                  </a:moveTo>
                  <a:cubicBezTo>
                    <a:pt x="222419" y="351082"/>
                    <a:pt x="220514" y="348542"/>
                    <a:pt x="210989" y="347907"/>
                  </a:cubicBezTo>
                  <a:cubicBezTo>
                    <a:pt x="187494" y="351082"/>
                    <a:pt x="103039" y="349812"/>
                    <a:pt x="130344" y="388547"/>
                  </a:cubicBezTo>
                  <a:cubicBezTo>
                    <a:pt x="161459" y="381562"/>
                    <a:pt x="191304" y="365687"/>
                    <a:pt x="227499" y="369497"/>
                  </a:cubicBezTo>
                  <a:close/>
                  <a:moveTo>
                    <a:pt x="143679" y="431727"/>
                  </a:moveTo>
                  <a:cubicBezTo>
                    <a:pt x="177334" y="419662"/>
                    <a:pt x="207814" y="421567"/>
                    <a:pt x="243374" y="420297"/>
                  </a:cubicBezTo>
                  <a:cubicBezTo>
                    <a:pt x="233849" y="382832"/>
                    <a:pt x="99864" y="399342"/>
                    <a:pt x="143679" y="431727"/>
                  </a:cubicBezTo>
                  <a:close/>
                  <a:moveTo>
                    <a:pt x="288459" y="401882"/>
                  </a:moveTo>
                  <a:cubicBezTo>
                    <a:pt x="315764" y="406327"/>
                    <a:pt x="342434" y="389817"/>
                    <a:pt x="369739" y="399977"/>
                  </a:cubicBezTo>
                  <a:cubicBezTo>
                    <a:pt x="371644" y="400612"/>
                    <a:pt x="375454" y="395532"/>
                    <a:pt x="379899" y="392357"/>
                  </a:cubicBezTo>
                  <a:cubicBezTo>
                    <a:pt x="375454" y="363147"/>
                    <a:pt x="253534" y="375212"/>
                    <a:pt x="288459" y="401882"/>
                  </a:cubicBezTo>
                  <a:close/>
                  <a:moveTo>
                    <a:pt x="207179" y="439982"/>
                  </a:moveTo>
                  <a:cubicBezTo>
                    <a:pt x="207179" y="440617"/>
                    <a:pt x="207179" y="440617"/>
                    <a:pt x="207179" y="441252"/>
                  </a:cubicBezTo>
                  <a:cubicBezTo>
                    <a:pt x="190034" y="445697"/>
                    <a:pt x="151934" y="438077"/>
                    <a:pt x="148759" y="460302"/>
                  </a:cubicBezTo>
                  <a:cubicBezTo>
                    <a:pt x="155109" y="492687"/>
                    <a:pt x="295444" y="438712"/>
                    <a:pt x="207179" y="439982"/>
                  </a:cubicBezTo>
                  <a:close/>
                  <a:moveTo>
                    <a:pt x="297984" y="448237"/>
                  </a:moveTo>
                  <a:cubicBezTo>
                    <a:pt x="320844" y="443792"/>
                    <a:pt x="368469" y="461572"/>
                    <a:pt x="371009" y="427282"/>
                  </a:cubicBezTo>
                  <a:cubicBezTo>
                    <a:pt x="350054" y="426012"/>
                    <a:pt x="270044" y="410772"/>
                    <a:pt x="297984" y="448237"/>
                  </a:cubicBezTo>
                  <a:close/>
                  <a:moveTo>
                    <a:pt x="291634" y="359972"/>
                  </a:moveTo>
                  <a:cubicBezTo>
                    <a:pt x="311954" y="347907"/>
                    <a:pt x="353864" y="361242"/>
                    <a:pt x="362754" y="339652"/>
                  </a:cubicBezTo>
                  <a:cubicBezTo>
                    <a:pt x="350054" y="319332"/>
                    <a:pt x="244009" y="335207"/>
                    <a:pt x="291634" y="359972"/>
                  </a:cubicBezTo>
                  <a:close/>
                  <a:moveTo>
                    <a:pt x="177969" y="519357"/>
                  </a:moveTo>
                  <a:cubicBezTo>
                    <a:pt x="199559" y="512372"/>
                    <a:pt x="228134" y="521897"/>
                    <a:pt x="239564" y="497132"/>
                  </a:cubicBezTo>
                  <a:cubicBezTo>
                    <a:pt x="217974" y="490147"/>
                    <a:pt x="144314" y="494592"/>
                    <a:pt x="177969" y="519357"/>
                  </a:cubicBezTo>
                  <a:close/>
                  <a:moveTo>
                    <a:pt x="332274" y="485067"/>
                  </a:moveTo>
                  <a:cubicBezTo>
                    <a:pt x="311954" y="485702"/>
                    <a:pt x="265599" y="490782"/>
                    <a:pt x="301794" y="508562"/>
                  </a:cubicBezTo>
                  <a:cubicBezTo>
                    <a:pt x="326559" y="509832"/>
                    <a:pt x="396409" y="498402"/>
                    <a:pt x="332274" y="48506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3" name="Google Shape;50;p2">
              <a:extLst>
                <a:ext uri="{FF2B5EF4-FFF2-40B4-BE49-F238E27FC236}">
                  <a16:creationId xmlns:a16="http://schemas.microsoft.com/office/drawing/2014/main" id="{708C5B91-1264-4D6C-A190-BC6FAC6C274A}"/>
                </a:ext>
              </a:extLst>
            </p:cNvPr>
            <p:cNvSpPr/>
            <p:nvPr/>
          </p:nvSpPr>
          <p:spPr>
            <a:xfrm>
              <a:off x="8750637" y="1716146"/>
              <a:ext cx="454206" cy="406096"/>
            </a:xfrm>
            <a:custGeom>
              <a:avLst/>
              <a:gdLst/>
              <a:ahLst/>
              <a:cxnLst/>
              <a:rect l="l" t="t" r="r" b="b"/>
              <a:pathLst>
                <a:path w="528147" h="472205" extrusionOk="0">
                  <a:moveTo>
                    <a:pt x="395469" y="177165"/>
                  </a:moveTo>
                  <a:cubicBezTo>
                    <a:pt x="443094" y="36830"/>
                    <a:pt x="381499" y="-53340"/>
                    <a:pt x="264659" y="86360"/>
                  </a:cubicBezTo>
                  <a:cubicBezTo>
                    <a:pt x="239894" y="41275"/>
                    <a:pt x="195444" y="0"/>
                    <a:pt x="143374" y="0"/>
                  </a:cubicBezTo>
                  <a:cubicBezTo>
                    <a:pt x="65269" y="15240"/>
                    <a:pt x="123054" y="139065"/>
                    <a:pt x="131944" y="187325"/>
                  </a:cubicBezTo>
                  <a:cubicBezTo>
                    <a:pt x="76064" y="179070"/>
                    <a:pt x="-40776" y="242570"/>
                    <a:pt x="14469" y="300990"/>
                  </a:cubicBezTo>
                  <a:cubicBezTo>
                    <a:pt x="41774" y="327660"/>
                    <a:pt x="81144" y="321945"/>
                    <a:pt x="109719" y="344170"/>
                  </a:cubicBezTo>
                  <a:cubicBezTo>
                    <a:pt x="102734" y="370840"/>
                    <a:pt x="109084" y="399415"/>
                    <a:pt x="92574" y="423545"/>
                  </a:cubicBezTo>
                  <a:cubicBezTo>
                    <a:pt x="86859" y="433070"/>
                    <a:pt x="90034" y="441960"/>
                    <a:pt x="95749" y="450215"/>
                  </a:cubicBezTo>
                  <a:cubicBezTo>
                    <a:pt x="112259" y="475615"/>
                    <a:pt x="147819" y="474345"/>
                    <a:pt x="159249" y="450850"/>
                  </a:cubicBezTo>
                  <a:cubicBezTo>
                    <a:pt x="175759" y="424180"/>
                    <a:pt x="207509" y="409575"/>
                    <a:pt x="235449" y="397510"/>
                  </a:cubicBezTo>
                  <a:cubicBezTo>
                    <a:pt x="289424" y="513715"/>
                    <a:pt x="403724" y="490220"/>
                    <a:pt x="379594" y="355600"/>
                  </a:cubicBezTo>
                  <a:cubicBezTo>
                    <a:pt x="470399" y="330200"/>
                    <a:pt x="493259" y="345440"/>
                    <a:pt x="525009" y="245110"/>
                  </a:cubicBezTo>
                  <a:cubicBezTo>
                    <a:pt x="549139" y="182880"/>
                    <a:pt x="427219" y="204470"/>
                    <a:pt x="395469" y="177165"/>
                  </a:cubicBezTo>
                  <a:close/>
                  <a:moveTo>
                    <a:pt x="392294" y="59055"/>
                  </a:moveTo>
                  <a:cubicBezTo>
                    <a:pt x="393564" y="106680"/>
                    <a:pt x="391659" y="133985"/>
                    <a:pt x="363719" y="175260"/>
                  </a:cubicBezTo>
                  <a:cubicBezTo>
                    <a:pt x="314824" y="185420"/>
                    <a:pt x="309744" y="137795"/>
                    <a:pt x="290059" y="103505"/>
                  </a:cubicBezTo>
                  <a:cubicBezTo>
                    <a:pt x="316094" y="73025"/>
                    <a:pt x="348479" y="12065"/>
                    <a:pt x="392294" y="59055"/>
                  </a:cubicBezTo>
                  <a:close/>
                  <a:moveTo>
                    <a:pt x="347209" y="325755"/>
                  </a:moveTo>
                  <a:cubicBezTo>
                    <a:pt x="331969" y="330835"/>
                    <a:pt x="317999" y="330200"/>
                    <a:pt x="298314" y="327025"/>
                  </a:cubicBezTo>
                  <a:cubicBezTo>
                    <a:pt x="311649" y="308610"/>
                    <a:pt x="318634" y="292100"/>
                    <a:pt x="333239" y="278130"/>
                  </a:cubicBezTo>
                  <a:cubicBezTo>
                    <a:pt x="345304" y="292735"/>
                    <a:pt x="349749" y="307975"/>
                    <a:pt x="347209" y="325755"/>
                  </a:cubicBezTo>
                  <a:close/>
                  <a:moveTo>
                    <a:pt x="271009" y="130175"/>
                  </a:moveTo>
                  <a:cubicBezTo>
                    <a:pt x="287519" y="140970"/>
                    <a:pt x="288789" y="144145"/>
                    <a:pt x="293234" y="172720"/>
                  </a:cubicBezTo>
                  <a:cubicBezTo>
                    <a:pt x="277359" y="178435"/>
                    <a:pt x="262119" y="180975"/>
                    <a:pt x="244339" y="174625"/>
                  </a:cubicBezTo>
                  <a:cubicBezTo>
                    <a:pt x="247514" y="155575"/>
                    <a:pt x="259579" y="142875"/>
                    <a:pt x="271009" y="130175"/>
                  </a:cubicBezTo>
                  <a:close/>
                  <a:moveTo>
                    <a:pt x="131309" y="77470"/>
                  </a:moveTo>
                  <a:cubicBezTo>
                    <a:pt x="173854" y="74930"/>
                    <a:pt x="176394" y="73025"/>
                    <a:pt x="187189" y="26670"/>
                  </a:cubicBezTo>
                  <a:cubicBezTo>
                    <a:pt x="208779" y="61595"/>
                    <a:pt x="240529" y="69215"/>
                    <a:pt x="250689" y="109220"/>
                  </a:cubicBezTo>
                  <a:cubicBezTo>
                    <a:pt x="229099" y="140970"/>
                    <a:pt x="209414" y="200025"/>
                    <a:pt x="161154" y="180975"/>
                  </a:cubicBezTo>
                  <a:cubicBezTo>
                    <a:pt x="144644" y="148590"/>
                    <a:pt x="124324" y="116840"/>
                    <a:pt x="131309" y="77470"/>
                  </a:cubicBezTo>
                  <a:close/>
                  <a:moveTo>
                    <a:pt x="191634" y="321310"/>
                  </a:moveTo>
                  <a:cubicBezTo>
                    <a:pt x="176394" y="325755"/>
                    <a:pt x="165599" y="326390"/>
                    <a:pt x="154169" y="320040"/>
                  </a:cubicBezTo>
                  <a:cubicBezTo>
                    <a:pt x="156074" y="305435"/>
                    <a:pt x="160519" y="293370"/>
                    <a:pt x="172584" y="283210"/>
                  </a:cubicBezTo>
                  <a:cubicBezTo>
                    <a:pt x="185284" y="292735"/>
                    <a:pt x="185919" y="306070"/>
                    <a:pt x="191634" y="321310"/>
                  </a:cubicBezTo>
                  <a:close/>
                  <a:moveTo>
                    <a:pt x="23359" y="274955"/>
                  </a:moveTo>
                  <a:cubicBezTo>
                    <a:pt x="39869" y="215265"/>
                    <a:pt x="92574" y="210185"/>
                    <a:pt x="145279" y="213995"/>
                  </a:cubicBezTo>
                  <a:cubicBezTo>
                    <a:pt x="175759" y="248285"/>
                    <a:pt x="140834" y="281305"/>
                    <a:pt x="124959" y="314960"/>
                  </a:cubicBezTo>
                  <a:cubicBezTo>
                    <a:pt x="83049" y="313690"/>
                    <a:pt x="43679" y="297815"/>
                    <a:pt x="23359" y="274955"/>
                  </a:cubicBezTo>
                  <a:close/>
                  <a:moveTo>
                    <a:pt x="163059" y="412115"/>
                  </a:moveTo>
                  <a:cubicBezTo>
                    <a:pt x="152264" y="408940"/>
                    <a:pt x="142739" y="405765"/>
                    <a:pt x="131944" y="402590"/>
                  </a:cubicBezTo>
                  <a:cubicBezTo>
                    <a:pt x="125594" y="382905"/>
                    <a:pt x="126229" y="365125"/>
                    <a:pt x="143374" y="347345"/>
                  </a:cubicBezTo>
                  <a:cubicBezTo>
                    <a:pt x="170044" y="349250"/>
                    <a:pt x="208144" y="337185"/>
                    <a:pt x="214494" y="377190"/>
                  </a:cubicBezTo>
                  <a:cubicBezTo>
                    <a:pt x="196714" y="389255"/>
                    <a:pt x="180204" y="400685"/>
                    <a:pt x="163059" y="412115"/>
                  </a:cubicBezTo>
                  <a:close/>
                  <a:moveTo>
                    <a:pt x="225289" y="327025"/>
                  </a:moveTo>
                  <a:cubicBezTo>
                    <a:pt x="170679" y="248285"/>
                    <a:pt x="196079" y="189230"/>
                    <a:pt x="295139" y="198120"/>
                  </a:cubicBezTo>
                  <a:cubicBezTo>
                    <a:pt x="326254" y="193040"/>
                    <a:pt x="331969" y="241935"/>
                    <a:pt x="314824" y="260350"/>
                  </a:cubicBezTo>
                  <a:cubicBezTo>
                    <a:pt x="285614" y="290830"/>
                    <a:pt x="279264" y="341630"/>
                    <a:pt x="225289" y="327025"/>
                  </a:cubicBezTo>
                  <a:close/>
                  <a:moveTo>
                    <a:pt x="253864" y="379095"/>
                  </a:moveTo>
                  <a:cubicBezTo>
                    <a:pt x="271644" y="343535"/>
                    <a:pt x="316729" y="349885"/>
                    <a:pt x="350384" y="355600"/>
                  </a:cubicBezTo>
                  <a:cubicBezTo>
                    <a:pt x="385309" y="470535"/>
                    <a:pt x="287519" y="482600"/>
                    <a:pt x="253864" y="379095"/>
                  </a:cubicBezTo>
                  <a:close/>
                  <a:moveTo>
                    <a:pt x="377689" y="327025"/>
                  </a:moveTo>
                  <a:cubicBezTo>
                    <a:pt x="365624" y="281305"/>
                    <a:pt x="337684" y="234950"/>
                    <a:pt x="383404" y="201295"/>
                  </a:cubicBezTo>
                  <a:cubicBezTo>
                    <a:pt x="408804" y="207645"/>
                    <a:pt x="434204" y="213360"/>
                    <a:pt x="460239" y="219710"/>
                  </a:cubicBezTo>
                  <a:cubicBezTo>
                    <a:pt x="462779" y="241300"/>
                    <a:pt x="469764" y="257175"/>
                    <a:pt x="488179" y="269875"/>
                  </a:cubicBezTo>
                  <a:cubicBezTo>
                    <a:pt x="492624" y="324485"/>
                    <a:pt x="417059" y="320675"/>
                    <a:pt x="377689" y="327025"/>
                  </a:cubicBezTo>
                  <a:close/>
                  <a:moveTo>
                    <a:pt x="257039" y="222250"/>
                  </a:moveTo>
                  <a:cubicBezTo>
                    <a:pt x="196714" y="216535"/>
                    <a:pt x="185284" y="288290"/>
                    <a:pt x="248149" y="290830"/>
                  </a:cubicBezTo>
                  <a:cubicBezTo>
                    <a:pt x="289424" y="291465"/>
                    <a:pt x="307204" y="229235"/>
                    <a:pt x="257039" y="222250"/>
                  </a:cubicBezTo>
                  <a:close/>
                  <a:moveTo>
                    <a:pt x="243069" y="266700"/>
                  </a:moveTo>
                  <a:cubicBezTo>
                    <a:pt x="215764" y="264795"/>
                    <a:pt x="229099" y="242570"/>
                    <a:pt x="248149" y="240030"/>
                  </a:cubicBezTo>
                  <a:cubicBezTo>
                    <a:pt x="272279" y="237490"/>
                    <a:pt x="262119" y="269240"/>
                    <a:pt x="243069" y="26670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4" name="Google Shape;51;p2">
              <a:extLst>
                <a:ext uri="{FF2B5EF4-FFF2-40B4-BE49-F238E27FC236}">
                  <a16:creationId xmlns:a16="http://schemas.microsoft.com/office/drawing/2014/main" id="{EB842972-F3A9-4119-BEBC-00CE4D3660D6}"/>
                </a:ext>
              </a:extLst>
            </p:cNvPr>
            <p:cNvSpPr/>
            <p:nvPr/>
          </p:nvSpPr>
          <p:spPr>
            <a:xfrm rot="-2424156">
              <a:off x="2052510" y="-106317"/>
              <a:ext cx="373867" cy="493313"/>
            </a:xfrm>
            <a:custGeom>
              <a:avLst/>
              <a:gdLst/>
              <a:ahLst/>
              <a:cxnLst/>
              <a:rect l="l" t="t" r="r" b="b"/>
              <a:pathLst>
                <a:path w="434661" h="573530" extrusionOk="0">
                  <a:moveTo>
                    <a:pt x="430380" y="417373"/>
                  </a:moveTo>
                  <a:cubicBezTo>
                    <a:pt x="427840" y="354508"/>
                    <a:pt x="363705" y="334823"/>
                    <a:pt x="311635" y="329743"/>
                  </a:cubicBezTo>
                  <a:cubicBezTo>
                    <a:pt x="264010" y="315138"/>
                    <a:pt x="297665" y="236398"/>
                    <a:pt x="288775" y="197028"/>
                  </a:cubicBezTo>
                  <a:cubicBezTo>
                    <a:pt x="290680" y="118923"/>
                    <a:pt x="325605" y="15418"/>
                    <a:pt x="217655" y="178"/>
                  </a:cubicBezTo>
                  <a:cubicBezTo>
                    <a:pt x="211305" y="-1092"/>
                    <a:pt x="199875" y="4623"/>
                    <a:pt x="202415" y="11608"/>
                  </a:cubicBezTo>
                  <a:cubicBezTo>
                    <a:pt x="207495" y="87808"/>
                    <a:pt x="223370" y="169088"/>
                    <a:pt x="197335" y="242748"/>
                  </a:cubicBezTo>
                  <a:cubicBezTo>
                    <a:pt x="158600" y="220523"/>
                    <a:pt x="52555" y="59868"/>
                    <a:pt x="24615" y="87173"/>
                  </a:cubicBezTo>
                  <a:cubicBezTo>
                    <a:pt x="-68095" y="172263"/>
                    <a:pt x="127485" y="297993"/>
                    <a:pt x="175745" y="366573"/>
                  </a:cubicBezTo>
                  <a:cubicBezTo>
                    <a:pt x="205590" y="403403"/>
                    <a:pt x="41760" y="420548"/>
                    <a:pt x="141455" y="548818"/>
                  </a:cubicBezTo>
                  <a:cubicBezTo>
                    <a:pt x="221465" y="630733"/>
                    <a:pt x="298935" y="488493"/>
                    <a:pt x="240515" y="419913"/>
                  </a:cubicBezTo>
                  <a:cubicBezTo>
                    <a:pt x="234165" y="409753"/>
                    <a:pt x="241150" y="384353"/>
                    <a:pt x="256390" y="395148"/>
                  </a:cubicBezTo>
                  <a:cubicBezTo>
                    <a:pt x="288775" y="436423"/>
                    <a:pt x="313540" y="498653"/>
                    <a:pt x="379580" y="489128"/>
                  </a:cubicBezTo>
                  <a:cubicBezTo>
                    <a:pt x="412600" y="482778"/>
                    <a:pt x="446890" y="451028"/>
                    <a:pt x="430380" y="417373"/>
                  </a:cubicBezTo>
                  <a:close/>
                  <a:moveTo>
                    <a:pt x="227180" y="242748"/>
                  </a:moveTo>
                  <a:cubicBezTo>
                    <a:pt x="237975" y="171628"/>
                    <a:pt x="223370" y="100508"/>
                    <a:pt x="232260" y="30023"/>
                  </a:cubicBezTo>
                  <a:cubicBezTo>
                    <a:pt x="277980" y="26213"/>
                    <a:pt x="280520" y="81458"/>
                    <a:pt x="275440" y="113843"/>
                  </a:cubicBezTo>
                  <a:cubicBezTo>
                    <a:pt x="264645" y="171628"/>
                    <a:pt x="276075" y="233858"/>
                    <a:pt x="262105" y="290373"/>
                  </a:cubicBezTo>
                  <a:cubicBezTo>
                    <a:pt x="234800" y="280848"/>
                    <a:pt x="224640" y="268148"/>
                    <a:pt x="227180" y="242748"/>
                  </a:cubicBezTo>
                  <a:close/>
                  <a:moveTo>
                    <a:pt x="152885" y="518338"/>
                  </a:moveTo>
                  <a:cubicBezTo>
                    <a:pt x="152885" y="518338"/>
                    <a:pt x="152885" y="517703"/>
                    <a:pt x="152250" y="517703"/>
                  </a:cubicBezTo>
                  <a:cubicBezTo>
                    <a:pt x="95735" y="500558"/>
                    <a:pt x="151615" y="386258"/>
                    <a:pt x="202415" y="423088"/>
                  </a:cubicBezTo>
                  <a:cubicBezTo>
                    <a:pt x="199240" y="431978"/>
                    <a:pt x="190985" y="433883"/>
                    <a:pt x="182730" y="436423"/>
                  </a:cubicBezTo>
                  <a:cubicBezTo>
                    <a:pt x="152885" y="442773"/>
                    <a:pt x="133835" y="484683"/>
                    <a:pt x="152885" y="518338"/>
                  </a:cubicBezTo>
                  <a:cubicBezTo>
                    <a:pt x="152885" y="518338"/>
                    <a:pt x="152885" y="518338"/>
                    <a:pt x="152885" y="518338"/>
                  </a:cubicBezTo>
                  <a:close/>
                  <a:moveTo>
                    <a:pt x="211305" y="402133"/>
                  </a:moveTo>
                  <a:cubicBezTo>
                    <a:pt x="200510" y="403403"/>
                    <a:pt x="196065" y="378003"/>
                    <a:pt x="209400" y="376733"/>
                  </a:cubicBezTo>
                  <a:cubicBezTo>
                    <a:pt x="225910" y="374828"/>
                    <a:pt x="228450" y="402133"/>
                    <a:pt x="211305" y="402133"/>
                  </a:cubicBezTo>
                  <a:close/>
                  <a:moveTo>
                    <a:pt x="235435" y="458648"/>
                  </a:moveTo>
                  <a:cubicBezTo>
                    <a:pt x="227180" y="451663"/>
                    <a:pt x="220830" y="444043"/>
                    <a:pt x="220195" y="433248"/>
                  </a:cubicBezTo>
                  <a:cubicBezTo>
                    <a:pt x="237340" y="439598"/>
                    <a:pt x="237340" y="439598"/>
                    <a:pt x="235435" y="458648"/>
                  </a:cubicBezTo>
                  <a:close/>
                  <a:moveTo>
                    <a:pt x="177015" y="545008"/>
                  </a:moveTo>
                  <a:cubicBezTo>
                    <a:pt x="180825" y="545008"/>
                    <a:pt x="184000" y="545643"/>
                    <a:pt x="188445" y="545643"/>
                  </a:cubicBezTo>
                  <a:cubicBezTo>
                    <a:pt x="187175" y="555168"/>
                    <a:pt x="175110" y="553263"/>
                    <a:pt x="177015" y="545008"/>
                  </a:cubicBezTo>
                  <a:close/>
                  <a:moveTo>
                    <a:pt x="164950" y="510718"/>
                  </a:moveTo>
                  <a:cubicBezTo>
                    <a:pt x="148440" y="469443"/>
                    <a:pt x="209400" y="428803"/>
                    <a:pt x="222735" y="484048"/>
                  </a:cubicBezTo>
                  <a:cubicBezTo>
                    <a:pt x="217020" y="511988"/>
                    <a:pt x="186540" y="543738"/>
                    <a:pt x="164950" y="510718"/>
                  </a:cubicBezTo>
                  <a:close/>
                  <a:moveTo>
                    <a:pt x="241150" y="477698"/>
                  </a:moveTo>
                  <a:cubicBezTo>
                    <a:pt x="247500" y="493573"/>
                    <a:pt x="240515" y="504368"/>
                    <a:pt x="241785" y="515163"/>
                  </a:cubicBezTo>
                  <a:cubicBezTo>
                    <a:pt x="240515" y="504368"/>
                    <a:pt x="236070" y="493573"/>
                    <a:pt x="241150" y="477698"/>
                  </a:cubicBezTo>
                  <a:close/>
                  <a:moveTo>
                    <a:pt x="242420" y="515163"/>
                  </a:moveTo>
                  <a:cubicBezTo>
                    <a:pt x="237975" y="520878"/>
                    <a:pt x="233530" y="526593"/>
                    <a:pt x="228450" y="532943"/>
                  </a:cubicBezTo>
                  <a:cubicBezTo>
                    <a:pt x="229085" y="513893"/>
                    <a:pt x="229085" y="513893"/>
                    <a:pt x="242420" y="515163"/>
                  </a:cubicBezTo>
                  <a:close/>
                  <a:moveTo>
                    <a:pt x="27155" y="113208"/>
                  </a:moveTo>
                  <a:cubicBezTo>
                    <a:pt x="65890" y="91618"/>
                    <a:pt x="171300" y="284658"/>
                    <a:pt x="220195" y="293548"/>
                  </a:cubicBezTo>
                  <a:lnTo>
                    <a:pt x="219560" y="300533"/>
                  </a:lnTo>
                  <a:cubicBezTo>
                    <a:pt x="140185" y="304978"/>
                    <a:pt x="221465" y="384353"/>
                    <a:pt x="237340" y="308788"/>
                  </a:cubicBezTo>
                  <a:cubicBezTo>
                    <a:pt x="257025" y="318313"/>
                    <a:pt x="270995" y="334188"/>
                    <a:pt x="287505" y="345618"/>
                  </a:cubicBezTo>
                  <a:cubicBezTo>
                    <a:pt x="250675" y="449123"/>
                    <a:pt x="-15390" y="171628"/>
                    <a:pt x="27155" y="113208"/>
                  </a:cubicBezTo>
                  <a:close/>
                  <a:moveTo>
                    <a:pt x="361165" y="474523"/>
                  </a:moveTo>
                  <a:cubicBezTo>
                    <a:pt x="306555" y="467538"/>
                    <a:pt x="248770" y="360858"/>
                    <a:pt x="328780" y="350063"/>
                  </a:cubicBezTo>
                  <a:cubicBezTo>
                    <a:pt x="400535" y="349428"/>
                    <a:pt x="460860" y="469443"/>
                    <a:pt x="361165" y="474523"/>
                  </a:cubicBezTo>
                  <a:close/>
                  <a:moveTo>
                    <a:pt x="305285" y="380543"/>
                  </a:moveTo>
                  <a:cubicBezTo>
                    <a:pt x="314810" y="401498"/>
                    <a:pt x="324970" y="421818"/>
                    <a:pt x="340845" y="439598"/>
                  </a:cubicBezTo>
                  <a:cubicBezTo>
                    <a:pt x="368785" y="464363"/>
                    <a:pt x="409425" y="441503"/>
                    <a:pt x="387835" y="405308"/>
                  </a:cubicBezTo>
                  <a:cubicBezTo>
                    <a:pt x="365610" y="382448"/>
                    <a:pt x="336400" y="346888"/>
                    <a:pt x="305285" y="380543"/>
                  </a:cubicBezTo>
                  <a:close/>
                  <a:moveTo>
                    <a:pt x="368785" y="429438"/>
                  </a:moveTo>
                  <a:cubicBezTo>
                    <a:pt x="350370" y="433248"/>
                    <a:pt x="342115" y="409118"/>
                    <a:pt x="336400" y="390068"/>
                  </a:cubicBezTo>
                  <a:cubicBezTo>
                    <a:pt x="355450" y="395148"/>
                    <a:pt x="378310" y="411658"/>
                    <a:pt x="368785" y="429438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5" name="Google Shape;52;p2">
              <a:extLst>
                <a:ext uri="{FF2B5EF4-FFF2-40B4-BE49-F238E27FC236}">
                  <a16:creationId xmlns:a16="http://schemas.microsoft.com/office/drawing/2014/main" id="{E0E7B5CB-3D65-4882-B5EF-91D6FB545DD2}"/>
                </a:ext>
              </a:extLst>
            </p:cNvPr>
            <p:cNvSpPr/>
            <p:nvPr/>
          </p:nvSpPr>
          <p:spPr>
            <a:xfrm>
              <a:off x="5960437" y="3855732"/>
              <a:ext cx="712864" cy="419317"/>
            </a:xfrm>
            <a:custGeom>
              <a:avLst/>
              <a:gdLst/>
              <a:ahLst/>
              <a:cxnLst/>
              <a:rect l="l" t="t" r="r" b="b"/>
              <a:pathLst>
                <a:path w="828912" h="487578" extrusionOk="0">
                  <a:moveTo>
                    <a:pt x="827267" y="15774"/>
                  </a:moveTo>
                  <a:cubicBezTo>
                    <a:pt x="786627" y="19584"/>
                    <a:pt x="770117" y="89434"/>
                    <a:pt x="721857" y="88164"/>
                  </a:cubicBezTo>
                  <a:cubicBezTo>
                    <a:pt x="653277" y="104674"/>
                    <a:pt x="606287" y="35459"/>
                    <a:pt x="552947" y="2438"/>
                  </a:cubicBezTo>
                  <a:cubicBezTo>
                    <a:pt x="500877" y="-14706"/>
                    <a:pt x="457697" y="63399"/>
                    <a:pt x="413882" y="85624"/>
                  </a:cubicBezTo>
                  <a:cubicBezTo>
                    <a:pt x="335142" y="62764"/>
                    <a:pt x="264657" y="16409"/>
                    <a:pt x="182107" y="6884"/>
                  </a:cubicBezTo>
                  <a:cubicBezTo>
                    <a:pt x="13832" y="196114"/>
                    <a:pt x="114797" y="109119"/>
                    <a:pt x="77332" y="279934"/>
                  </a:cubicBezTo>
                  <a:cubicBezTo>
                    <a:pt x="66537" y="291999"/>
                    <a:pt x="-29983" y="332004"/>
                    <a:pt x="9387" y="343434"/>
                  </a:cubicBezTo>
                  <a:cubicBezTo>
                    <a:pt x="50662" y="334544"/>
                    <a:pt x="84952" y="279934"/>
                    <a:pt x="129402" y="297079"/>
                  </a:cubicBezTo>
                  <a:cubicBezTo>
                    <a:pt x="176392" y="312319"/>
                    <a:pt x="222747" y="330099"/>
                    <a:pt x="265292" y="356134"/>
                  </a:cubicBezTo>
                  <a:cubicBezTo>
                    <a:pt x="276087" y="364389"/>
                    <a:pt x="284977" y="365024"/>
                    <a:pt x="293867" y="356134"/>
                  </a:cubicBezTo>
                  <a:cubicBezTo>
                    <a:pt x="393562" y="278029"/>
                    <a:pt x="442457" y="290094"/>
                    <a:pt x="533897" y="372644"/>
                  </a:cubicBezTo>
                  <a:cubicBezTo>
                    <a:pt x="545962" y="407569"/>
                    <a:pt x="526277" y="473609"/>
                    <a:pt x="568187" y="487579"/>
                  </a:cubicBezTo>
                  <a:cubicBezTo>
                    <a:pt x="606922" y="460909"/>
                    <a:pt x="664707" y="478054"/>
                    <a:pt x="703442" y="453289"/>
                  </a:cubicBezTo>
                  <a:cubicBezTo>
                    <a:pt x="697092" y="439954"/>
                    <a:pt x="694552" y="438049"/>
                    <a:pt x="685662" y="441224"/>
                  </a:cubicBezTo>
                  <a:cubicBezTo>
                    <a:pt x="647562" y="453924"/>
                    <a:pt x="608192" y="451384"/>
                    <a:pt x="565647" y="457099"/>
                  </a:cubicBezTo>
                  <a:cubicBezTo>
                    <a:pt x="530722" y="351054"/>
                    <a:pt x="638037" y="335179"/>
                    <a:pt x="681852" y="264059"/>
                  </a:cubicBezTo>
                  <a:cubicBezTo>
                    <a:pt x="669152" y="215164"/>
                    <a:pt x="663437" y="157379"/>
                    <a:pt x="683122" y="109754"/>
                  </a:cubicBezTo>
                  <a:cubicBezTo>
                    <a:pt x="714237" y="105309"/>
                    <a:pt x="751067" y="116104"/>
                    <a:pt x="774562" y="91339"/>
                  </a:cubicBezTo>
                  <a:cubicBezTo>
                    <a:pt x="787262" y="69114"/>
                    <a:pt x="838698" y="42444"/>
                    <a:pt x="827267" y="15774"/>
                  </a:cubicBezTo>
                  <a:close/>
                  <a:moveTo>
                    <a:pt x="291962" y="332004"/>
                  </a:moveTo>
                  <a:cubicBezTo>
                    <a:pt x="236082" y="338354"/>
                    <a:pt x="173217" y="285649"/>
                    <a:pt x="115432" y="270409"/>
                  </a:cubicBezTo>
                  <a:cubicBezTo>
                    <a:pt x="90032" y="159284"/>
                    <a:pt x="116067" y="100229"/>
                    <a:pt x="200522" y="26569"/>
                  </a:cubicBezTo>
                  <a:cubicBezTo>
                    <a:pt x="260847" y="58319"/>
                    <a:pt x="361177" y="58954"/>
                    <a:pt x="394832" y="119914"/>
                  </a:cubicBezTo>
                  <a:cubicBezTo>
                    <a:pt x="399912" y="261519"/>
                    <a:pt x="438012" y="269774"/>
                    <a:pt x="291962" y="332004"/>
                  </a:cubicBezTo>
                  <a:close/>
                  <a:moveTo>
                    <a:pt x="550407" y="352324"/>
                  </a:moveTo>
                  <a:cubicBezTo>
                    <a:pt x="510402" y="332004"/>
                    <a:pt x="466587" y="307874"/>
                    <a:pt x="431662" y="278664"/>
                  </a:cubicBezTo>
                  <a:cubicBezTo>
                    <a:pt x="443092" y="255804"/>
                    <a:pt x="535802" y="344069"/>
                    <a:pt x="563107" y="328194"/>
                  </a:cubicBezTo>
                  <a:cubicBezTo>
                    <a:pt x="563742" y="298349"/>
                    <a:pt x="504052" y="297079"/>
                    <a:pt x="486272" y="272949"/>
                  </a:cubicBezTo>
                  <a:cubicBezTo>
                    <a:pt x="462142" y="255169"/>
                    <a:pt x="461507" y="255804"/>
                    <a:pt x="428487" y="257709"/>
                  </a:cubicBezTo>
                  <a:cubicBezTo>
                    <a:pt x="400547" y="118644"/>
                    <a:pt x="415787" y="98324"/>
                    <a:pt x="533262" y="22124"/>
                  </a:cubicBezTo>
                  <a:cubicBezTo>
                    <a:pt x="578347" y="42444"/>
                    <a:pt x="611367" y="76099"/>
                    <a:pt x="651372" y="104039"/>
                  </a:cubicBezTo>
                  <a:cubicBezTo>
                    <a:pt x="649467" y="159284"/>
                    <a:pt x="643752" y="213259"/>
                    <a:pt x="653277" y="267234"/>
                  </a:cubicBezTo>
                  <a:cubicBezTo>
                    <a:pt x="625337" y="299619"/>
                    <a:pt x="599302" y="321209"/>
                    <a:pt x="550407" y="352324"/>
                  </a:cubicBezTo>
                  <a:close/>
                  <a:moveTo>
                    <a:pt x="362447" y="111024"/>
                  </a:moveTo>
                  <a:cubicBezTo>
                    <a:pt x="361812" y="137059"/>
                    <a:pt x="340222" y="276124"/>
                    <a:pt x="384037" y="261519"/>
                  </a:cubicBezTo>
                  <a:cubicBezTo>
                    <a:pt x="370702" y="227229"/>
                    <a:pt x="410072" y="110389"/>
                    <a:pt x="362447" y="111024"/>
                  </a:cubicBezTo>
                  <a:close/>
                  <a:moveTo>
                    <a:pt x="222112" y="274854"/>
                  </a:moveTo>
                  <a:cubicBezTo>
                    <a:pt x="194807" y="267234"/>
                    <a:pt x="166867" y="234849"/>
                    <a:pt x="138292" y="246279"/>
                  </a:cubicBezTo>
                  <a:cubicBezTo>
                    <a:pt x="140832" y="274219"/>
                    <a:pt x="241797" y="302159"/>
                    <a:pt x="269737" y="317399"/>
                  </a:cubicBezTo>
                  <a:cubicBezTo>
                    <a:pt x="303392" y="300254"/>
                    <a:pt x="234812" y="284379"/>
                    <a:pt x="222112" y="274854"/>
                  </a:cubicBezTo>
                  <a:close/>
                  <a:moveTo>
                    <a:pt x="199887" y="46889"/>
                  </a:moveTo>
                  <a:cubicBezTo>
                    <a:pt x="182107" y="69749"/>
                    <a:pt x="105272" y="126264"/>
                    <a:pt x="137657" y="151664"/>
                  </a:cubicBezTo>
                  <a:cubicBezTo>
                    <a:pt x="149722" y="130074"/>
                    <a:pt x="253227" y="46889"/>
                    <a:pt x="199887" y="46889"/>
                  </a:cubicBezTo>
                  <a:close/>
                  <a:moveTo>
                    <a:pt x="446267" y="123724"/>
                  </a:moveTo>
                  <a:cubicBezTo>
                    <a:pt x="410707" y="111659"/>
                    <a:pt x="443727" y="204369"/>
                    <a:pt x="440552" y="224054"/>
                  </a:cubicBezTo>
                  <a:cubicBezTo>
                    <a:pt x="449442" y="248184"/>
                    <a:pt x="468492" y="228499"/>
                    <a:pt x="462777" y="219609"/>
                  </a:cubicBezTo>
                  <a:cubicBezTo>
                    <a:pt x="455792" y="185319"/>
                    <a:pt x="462142" y="151664"/>
                    <a:pt x="446267" y="12372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36" name="Google Shape;53;p2">
              <a:extLst>
                <a:ext uri="{FF2B5EF4-FFF2-40B4-BE49-F238E27FC236}">
                  <a16:creationId xmlns:a16="http://schemas.microsoft.com/office/drawing/2014/main" id="{6E8FA8A2-6748-4033-9D1E-7C0954E44E32}"/>
                </a:ext>
              </a:extLst>
            </p:cNvPr>
            <p:cNvGrpSpPr/>
            <p:nvPr/>
          </p:nvGrpSpPr>
          <p:grpSpPr>
            <a:xfrm rot="891035">
              <a:off x="1165229" y="1691730"/>
              <a:ext cx="657771" cy="386113"/>
              <a:chOff x="1429156" y="1387535"/>
              <a:chExt cx="657769" cy="386112"/>
            </a:xfrm>
          </p:grpSpPr>
          <p:sp>
            <p:nvSpPr>
              <p:cNvPr id="90" name="Google Shape;54;p2">
                <a:extLst>
                  <a:ext uri="{FF2B5EF4-FFF2-40B4-BE49-F238E27FC236}">
                    <a16:creationId xmlns:a16="http://schemas.microsoft.com/office/drawing/2014/main" id="{00037E76-654A-469D-A0B6-022FCDB570C5}"/>
                  </a:ext>
                </a:extLst>
              </p:cNvPr>
              <p:cNvSpPr/>
              <p:nvPr/>
            </p:nvSpPr>
            <p:spPr>
              <a:xfrm>
                <a:off x="1429156" y="1387535"/>
                <a:ext cx="657769" cy="386112"/>
              </a:xfrm>
              <a:custGeom>
                <a:avLst/>
                <a:gdLst/>
                <a:ahLst/>
                <a:cxnLst/>
                <a:rect l="l" t="t" r="r" b="b"/>
                <a:pathLst>
                  <a:path w="764848" h="448968" extrusionOk="0">
                    <a:moveTo>
                      <a:pt x="741700" y="448969"/>
                    </a:moveTo>
                    <a:cubicBezTo>
                      <a:pt x="719475" y="440079"/>
                      <a:pt x="715030" y="440714"/>
                      <a:pt x="686455" y="443889"/>
                    </a:cubicBezTo>
                    <a:cubicBezTo>
                      <a:pt x="552470" y="455319"/>
                      <a:pt x="419120" y="428649"/>
                      <a:pt x="285770" y="436269"/>
                    </a:cubicBezTo>
                    <a:cubicBezTo>
                      <a:pt x="193060" y="430554"/>
                      <a:pt x="98445" y="428649"/>
                      <a:pt x="6370" y="441349"/>
                    </a:cubicBezTo>
                    <a:cubicBezTo>
                      <a:pt x="-45700" y="400709"/>
                      <a:pt x="237510" y="281329"/>
                      <a:pt x="273070" y="259739"/>
                    </a:cubicBezTo>
                    <a:cubicBezTo>
                      <a:pt x="431820" y="183539"/>
                      <a:pt x="582950" y="91464"/>
                      <a:pt x="735985" y="3834"/>
                    </a:cubicBezTo>
                    <a:cubicBezTo>
                      <a:pt x="748685" y="-3786"/>
                      <a:pt x="759480" y="24"/>
                      <a:pt x="761385" y="14629"/>
                    </a:cubicBezTo>
                    <a:cubicBezTo>
                      <a:pt x="772180" y="114324"/>
                      <a:pt x="753765" y="215924"/>
                      <a:pt x="759480" y="316889"/>
                    </a:cubicBezTo>
                    <a:cubicBezTo>
                      <a:pt x="752495" y="359434"/>
                      <a:pt x="769640" y="414044"/>
                      <a:pt x="741700" y="448969"/>
                    </a:cubicBezTo>
                    <a:close/>
                    <a:moveTo>
                      <a:pt x="615970" y="418489"/>
                    </a:moveTo>
                    <a:cubicBezTo>
                      <a:pt x="647720" y="425474"/>
                      <a:pt x="636290" y="413409"/>
                      <a:pt x="645815" y="393724"/>
                    </a:cubicBezTo>
                    <a:cubicBezTo>
                      <a:pt x="661690" y="396264"/>
                      <a:pt x="657880" y="414044"/>
                      <a:pt x="669945" y="421029"/>
                    </a:cubicBezTo>
                    <a:cubicBezTo>
                      <a:pt x="675660" y="420394"/>
                      <a:pt x="682645" y="420394"/>
                      <a:pt x="690900" y="419759"/>
                    </a:cubicBezTo>
                    <a:cubicBezTo>
                      <a:pt x="692170" y="410234"/>
                      <a:pt x="692805" y="402614"/>
                      <a:pt x="694075" y="394994"/>
                    </a:cubicBezTo>
                    <a:cubicBezTo>
                      <a:pt x="703600" y="394994"/>
                      <a:pt x="705505" y="401979"/>
                      <a:pt x="708680" y="407059"/>
                    </a:cubicBezTo>
                    <a:cubicBezTo>
                      <a:pt x="718205" y="421664"/>
                      <a:pt x="735350" y="405154"/>
                      <a:pt x="734080" y="391819"/>
                    </a:cubicBezTo>
                    <a:cubicBezTo>
                      <a:pt x="734715" y="274344"/>
                      <a:pt x="747415" y="153059"/>
                      <a:pt x="738525" y="37489"/>
                    </a:cubicBezTo>
                    <a:cubicBezTo>
                      <a:pt x="616605" y="87019"/>
                      <a:pt x="508020" y="171474"/>
                      <a:pt x="388005" y="229259"/>
                    </a:cubicBezTo>
                    <a:cubicBezTo>
                      <a:pt x="278785" y="288314"/>
                      <a:pt x="157500" y="328954"/>
                      <a:pt x="59710" y="406424"/>
                    </a:cubicBezTo>
                    <a:cubicBezTo>
                      <a:pt x="81300" y="415949"/>
                      <a:pt x="101620" y="415949"/>
                      <a:pt x="122575" y="412139"/>
                    </a:cubicBezTo>
                    <a:cubicBezTo>
                      <a:pt x="125115" y="401344"/>
                      <a:pt x="127020" y="392454"/>
                      <a:pt x="128925" y="383564"/>
                    </a:cubicBezTo>
                    <a:cubicBezTo>
                      <a:pt x="154325" y="379119"/>
                      <a:pt x="141625" y="432459"/>
                      <a:pt x="165120" y="404519"/>
                    </a:cubicBezTo>
                    <a:cubicBezTo>
                      <a:pt x="167025" y="400074"/>
                      <a:pt x="165755" y="393724"/>
                      <a:pt x="174010" y="391819"/>
                    </a:cubicBezTo>
                    <a:cubicBezTo>
                      <a:pt x="194965" y="416584"/>
                      <a:pt x="208935" y="421664"/>
                      <a:pt x="221000" y="386104"/>
                    </a:cubicBezTo>
                    <a:cubicBezTo>
                      <a:pt x="238145" y="394994"/>
                      <a:pt x="238780" y="428649"/>
                      <a:pt x="264180" y="408964"/>
                    </a:cubicBezTo>
                    <a:cubicBezTo>
                      <a:pt x="266085" y="401344"/>
                      <a:pt x="267990" y="393724"/>
                      <a:pt x="269895" y="385469"/>
                    </a:cubicBezTo>
                    <a:cubicBezTo>
                      <a:pt x="286405" y="388644"/>
                      <a:pt x="279420" y="407059"/>
                      <a:pt x="292755" y="414044"/>
                    </a:cubicBezTo>
                    <a:cubicBezTo>
                      <a:pt x="299105" y="413409"/>
                      <a:pt x="308630" y="412774"/>
                      <a:pt x="314345" y="412139"/>
                    </a:cubicBezTo>
                    <a:cubicBezTo>
                      <a:pt x="323870" y="404519"/>
                      <a:pt x="314980" y="392454"/>
                      <a:pt x="327045" y="388644"/>
                    </a:cubicBezTo>
                    <a:cubicBezTo>
                      <a:pt x="339745" y="400709"/>
                      <a:pt x="348635" y="422934"/>
                      <a:pt x="374670" y="409599"/>
                    </a:cubicBezTo>
                    <a:cubicBezTo>
                      <a:pt x="374035" y="400709"/>
                      <a:pt x="373400" y="391819"/>
                      <a:pt x="372765" y="379119"/>
                    </a:cubicBezTo>
                    <a:cubicBezTo>
                      <a:pt x="405785" y="384199"/>
                      <a:pt x="385465" y="430554"/>
                      <a:pt x="425470" y="414679"/>
                    </a:cubicBezTo>
                    <a:cubicBezTo>
                      <a:pt x="429915" y="409599"/>
                      <a:pt x="424200" y="399439"/>
                      <a:pt x="434360" y="394994"/>
                    </a:cubicBezTo>
                    <a:cubicBezTo>
                      <a:pt x="445790" y="408329"/>
                      <a:pt x="454045" y="430554"/>
                      <a:pt x="478810" y="416584"/>
                    </a:cubicBezTo>
                    <a:cubicBezTo>
                      <a:pt x="485160" y="407694"/>
                      <a:pt x="473730" y="396264"/>
                      <a:pt x="483890" y="386739"/>
                    </a:cubicBezTo>
                    <a:cubicBezTo>
                      <a:pt x="503575" y="401344"/>
                      <a:pt x="502940" y="441984"/>
                      <a:pt x="535325" y="421029"/>
                    </a:cubicBezTo>
                    <a:cubicBezTo>
                      <a:pt x="535960" y="410234"/>
                      <a:pt x="536595" y="398804"/>
                      <a:pt x="537865" y="386739"/>
                    </a:cubicBezTo>
                    <a:cubicBezTo>
                      <a:pt x="560090" y="389914"/>
                      <a:pt x="549295" y="410869"/>
                      <a:pt x="561360" y="421029"/>
                    </a:cubicBezTo>
                    <a:cubicBezTo>
                      <a:pt x="600730" y="433094"/>
                      <a:pt x="587395" y="409599"/>
                      <a:pt x="600095" y="388009"/>
                    </a:cubicBezTo>
                    <a:cubicBezTo>
                      <a:pt x="605810" y="398169"/>
                      <a:pt x="610255" y="407059"/>
                      <a:pt x="615970" y="418489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91" name="Google Shape;55;p2">
                <a:extLst>
                  <a:ext uri="{FF2B5EF4-FFF2-40B4-BE49-F238E27FC236}">
                    <a16:creationId xmlns:a16="http://schemas.microsoft.com/office/drawing/2014/main" id="{3D9B4B76-5127-4D96-8478-952301488486}"/>
                  </a:ext>
                </a:extLst>
              </p:cNvPr>
              <p:cNvSpPr/>
              <p:nvPr/>
            </p:nvSpPr>
            <p:spPr>
              <a:xfrm>
                <a:off x="1703617" y="1534561"/>
                <a:ext cx="308110" cy="146566"/>
              </a:xfrm>
              <a:custGeom>
                <a:avLst/>
                <a:gdLst/>
                <a:ahLst/>
                <a:cxnLst/>
                <a:rect l="l" t="t" r="r" b="b"/>
                <a:pathLst>
                  <a:path w="358267" h="170426" extrusionOk="0">
                    <a:moveTo>
                      <a:pt x="331351" y="0"/>
                    </a:moveTo>
                    <a:cubicBezTo>
                      <a:pt x="385326" y="29845"/>
                      <a:pt x="340241" y="100330"/>
                      <a:pt x="347226" y="149860"/>
                    </a:cubicBezTo>
                    <a:cubicBezTo>
                      <a:pt x="345956" y="186690"/>
                      <a:pt x="250706" y="162560"/>
                      <a:pt x="222766" y="163830"/>
                    </a:cubicBezTo>
                    <a:cubicBezTo>
                      <a:pt x="152281" y="173990"/>
                      <a:pt x="81796" y="159385"/>
                      <a:pt x="10676" y="165735"/>
                    </a:cubicBezTo>
                    <a:cubicBezTo>
                      <a:pt x="-67429" y="148590"/>
                      <a:pt x="307856" y="15240"/>
                      <a:pt x="331351" y="0"/>
                    </a:cubicBezTo>
                    <a:close/>
                    <a:moveTo>
                      <a:pt x="331986" y="27305"/>
                    </a:moveTo>
                    <a:cubicBezTo>
                      <a:pt x="281821" y="40005"/>
                      <a:pt x="86241" y="122555"/>
                      <a:pt x="64651" y="139700"/>
                    </a:cubicBezTo>
                    <a:cubicBezTo>
                      <a:pt x="146566" y="156845"/>
                      <a:pt x="236736" y="147955"/>
                      <a:pt x="321191" y="142875"/>
                    </a:cubicBezTo>
                    <a:cubicBezTo>
                      <a:pt x="327541" y="104140"/>
                      <a:pt x="333891" y="66675"/>
                      <a:pt x="331986" y="27305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37" name="Google Shape;56;p2">
              <a:extLst>
                <a:ext uri="{FF2B5EF4-FFF2-40B4-BE49-F238E27FC236}">
                  <a16:creationId xmlns:a16="http://schemas.microsoft.com/office/drawing/2014/main" id="{BCC50E44-D05B-4D2B-BFC7-9BFD74379BFC}"/>
                </a:ext>
              </a:extLst>
            </p:cNvPr>
            <p:cNvSpPr/>
            <p:nvPr/>
          </p:nvSpPr>
          <p:spPr>
            <a:xfrm rot="-1696692">
              <a:off x="7441723" y="1525254"/>
              <a:ext cx="760522" cy="200454"/>
            </a:xfrm>
            <a:custGeom>
              <a:avLst/>
              <a:gdLst/>
              <a:ahLst/>
              <a:cxnLst/>
              <a:rect l="l" t="t" r="r" b="b"/>
              <a:pathLst>
                <a:path w="884171" h="233045" extrusionOk="0">
                  <a:moveTo>
                    <a:pt x="857928" y="0"/>
                  </a:moveTo>
                  <a:cubicBezTo>
                    <a:pt x="574717" y="35560"/>
                    <a:pt x="287698" y="28575"/>
                    <a:pt x="3218" y="62230"/>
                  </a:cubicBezTo>
                  <a:cubicBezTo>
                    <a:pt x="6393" y="102870"/>
                    <a:pt x="-13927" y="213360"/>
                    <a:pt x="19727" y="233045"/>
                  </a:cubicBezTo>
                  <a:cubicBezTo>
                    <a:pt x="151173" y="226695"/>
                    <a:pt x="281348" y="213995"/>
                    <a:pt x="413427" y="214630"/>
                  </a:cubicBezTo>
                  <a:cubicBezTo>
                    <a:pt x="563923" y="219075"/>
                    <a:pt x="715053" y="208280"/>
                    <a:pt x="865548" y="195580"/>
                  </a:cubicBezTo>
                  <a:cubicBezTo>
                    <a:pt x="899203" y="207010"/>
                    <a:pt x="881423" y="5080"/>
                    <a:pt x="857928" y="0"/>
                  </a:cubicBezTo>
                  <a:close/>
                  <a:moveTo>
                    <a:pt x="860467" y="169545"/>
                  </a:moveTo>
                  <a:cubicBezTo>
                    <a:pt x="825542" y="180340"/>
                    <a:pt x="790617" y="177165"/>
                    <a:pt x="756328" y="185420"/>
                  </a:cubicBezTo>
                  <a:cubicBezTo>
                    <a:pt x="748707" y="175260"/>
                    <a:pt x="742357" y="167005"/>
                    <a:pt x="735373" y="157480"/>
                  </a:cubicBezTo>
                  <a:cubicBezTo>
                    <a:pt x="723942" y="175260"/>
                    <a:pt x="730928" y="186690"/>
                    <a:pt x="703623" y="183515"/>
                  </a:cubicBezTo>
                  <a:cubicBezTo>
                    <a:pt x="699813" y="175895"/>
                    <a:pt x="695367" y="168275"/>
                    <a:pt x="690923" y="160020"/>
                  </a:cubicBezTo>
                  <a:cubicBezTo>
                    <a:pt x="677588" y="164465"/>
                    <a:pt x="685842" y="179070"/>
                    <a:pt x="676317" y="184150"/>
                  </a:cubicBezTo>
                  <a:cubicBezTo>
                    <a:pt x="662982" y="182245"/>
                    <a:pt x="673778" y="159385"/>
                    <a:pt x="654092" y="161290"/>
                  </a:cubicBezTo>
                  <a:cubicBezTo>
                    <a:pt x="652188" y="168910"/>
                    <a:pt x="649648" y="177800"/>
                    <a:pt x="647742" y="186690"/>
                  </a:cubicBezTo>
                  <a:cubicBezTo>
                    <a:pt x="598213" y="209550"/>
                    <a:pt x="632503" y="132080"/>
                    <a:pt x="597578" y="128270"/>
                  </a:cubicBezTo>
                  <a:cubicBezTo>
                    <a:pt x="574717" y="146050"/>
                    <a:pt x="625517" y="198120"/>
                    <a:pt x="575988" y="194310"/>
                  </a:cubicBezTo>
                  <a:cubicBezTo>
                    <a:pt x="571542" y="184150"/>
                    <a:pt x="566463" y="172720"/>
                    <a:pt x="561382" y="160020"/>
                  </a:cubicBezTo>
                  <a:cubicBezTo>
                    <a:pt x="548682" y="168910"/>
                    <a:pt x="555667" y="180975"/>
                    <a:pt x="551223" y="189865"/>
                  </a:cubicBezTo>
                  <a:cubicBezTo>
                    <a:pt x="527727" y="199390"/>
                    <a:pt x="528363" y="180340"/>
                    <a:pt x="515663" y="167640"/>
                  </a:cubicBezTo>
                  <a:cubicBezTo>
                    <a:pt x="506138" y="172720"/>
                    <a:pt x="510582" y="179070"/>
                    <a:pt x="509948" y="184785"/>
                  </a:cubicBezTo>
                  <a:cubicBezTo>
                    <a:pt x="503598" y="211455"/>
                    <a:pt x="478832" y="184150"/>
                    <a:pt x="477563" y="168275"/>
                  </a:cubicBezTo>
                  <a:cubicBezTo>
                    <a:pt x="475657" y="168275"/>
                    <a:pt x="473118" y="168910"/>
                    <a:pt x="471213" y="168910"/>
                  </a:cubicBezTo>
                  <a:cubicBezTo>
                    <a:pt x="468673" y="176530"/>
                    <a:pt x="468038" y="185420"/>
                    <a:pt x="468673" y="192405"/>
                  </a:cubicBezTo>
                  <a:cubicBezTo>
                    <a:pt x="419143" y="222885"/>
                    <a:pt x="449623" y="139065"/>
                    <a:pt x="420413" y="134620"/>
                  </a:cubicBezTo>
                  <a:cubicBezTo>
                    <a:pt x="403268" y="157480"/>
                    <a:pt x="441368" y="204470"/>
                    <a:pt x="384852" y="194310"/>
                  </a:cubicBezTo>
                  <a:cubicBezTo>
                    <a:pt x="379773" y="186690"/>
                    <a:pt x="374057" y="178435"/>
                    <a:pt x="367707" y="168910"/>
                  </a:cubicBezTo>
                  <a:cubicBezTo>
                    <a:pt x="355643" y="175260"/>
                    <a:pt x="365802" y="188595"/>
                    <a:pt x="356277" y="194310"/>
                  </a:cubicBezTo>
                  <a:cubicBezTo>
                    <a:pt x="341038" y="190500"/>
                    <a:pt x="348023" y="171450"/>
                    <a:pt x="337227" y="164465"/>
                  </a:cubicBezTo>
                  <a:cubicBezTo>
                    <a:pt x="323893" y="161290"/>
                    <a:pt x="327702" y="179705"/>
                    <a:pt x="325798" y="187960"/>
                  </a:cubicBezTo>
                  <a:cubicBezTo>
                    <a:pt x="311827" y="185420"/>
                    <a:pt x="316907" y="161290"/>
                    <a:pt x="299763" y="167640"/>
                  </a:cubicBezTo>
                  <a:cubicBezTo>
                    <a:pt x="299127" y="175260"/>
                    <a:pt x="298493" y="183515"/>
                    <a:pt x="297857" y="193040"/>
                  </a:cubicBezTo>
                  <a:cubicBezTo>
                    <a:pt x="284523" y="198120"/>
                    <a:pt x="270552" y="196215"/>
                    <a:pt x="255313" y="193675"/>
                  </a:cubicBezTo>
                  <a:cubicBezTo>
                    <a:pt x="253407" y="123190"/>
                    <a:pt x="226102" y="121285"/>
                    <a:pt x="228643" y="193675"/>
                  </a:cubicBezTo>
                  <a:cubicBezTo>
                    <a:pt x="208957" y="210185"/>
                    <a:pt x="200068" y="191770"/>
                    <a:pt x="189907" y="181610"/>
                  </a:cubicBezTo>
                  <a:cubicBezTo>
                    <a:pt x="187368" y="183515"/>
                    <a:pt x="184827" y="184150"/>
                    <a:pt x="184193" y="185420"/>
                  </a:cubicBezTo>
                  <a:cubicBezTo>
                    <a:pt x="179748" y="215265"/>
                    <a:pt x="160063" y="195580"/>
                    <a:pt x="153713" y="178435"/>
                  </a:cubicBezTo>
                  <a:cubicBezTo>
                    <a:pt x="136568" y="176530"/>
                    <a:pt x="152443" y="219075"/>
                    <a:pt x="127043" y="200025"/>
                  </a:cubicBezTo>
                  <a:cubicBezTo>
                    <a:pt x="124502" y="193040"/>
                    <a:pt x="122598" y="184150"/>
                    <a:pt x="116248" y="179070"/>
                  </a:cubicBezTo>
                  <a:cubicBezTo>
                    <a:pt x="104818" y="182245"/>
                    <a:pt x="108627" y="191135"/>
                    <a:pt x="106088" y="197485"/>
                  </a:cubicBezTo>
                  <a:cubicBezTo>
                    <a:pt x="76877" y="236855"/>
                    <a:pt x="86402" y="157480"/>
                    <a:pt x="76877" y="144780"/>
                  </a:cubicBezTo>
                  <a:cubicBezTo>
                    <a:pt x="43857" y="125095"/>
                    <a:pt x="66718" y="187325"/>
                    <a:pt x="62273" y="203200"/>
                  </a:cubicBezTo>
                  <a:cubicBezTo>
                    <a:pt x="52113" y="213360"/>
                    <a:pt x="41318" y="208280"/>
                    <a:pt x="29888" y="208280"/>
                  </a:cubicBezTo>
                  <a:cubicBezTo>
                    <a:pt x="26077" y="177165"/>
                    <a:pt x="5123" y="95250"/>
                    <a:pt x="35602" y="78740"/>
                  </a:cubicBezTo>
                  <a:cubicBezTo>
                    <a:pt x="133393" y="58420"/>
                    <a:pt x="233723" y="57785"/>
                    <a:pt x="333418" y="53975"/>
                  </a:cubicBezTo>
                  <a:cubicBezTo>
                    <a:pt x="505502" y="41910"/>
                    <a:pt x="680763" y="26670"/>
                    <a:pt x="852213" y="30480"/>
                  </a:cubicBezTo>
                  <a:cubicBezTo>
                    <a:pt x="863007" y="74930"/>
                    <a:pt x="864913" y="125730"/>
                    <a:pt x="860467" y="169545"/>
                  </a:cubicBezTo>
                  <a:close/>
                  <a:moveTo>
                    <a:pt x="776648" y="102235"/>
                  </a:moveTo>
                  <a:cubicBezTo>
                    <a:pt x="776648" y="144780"/>
                    <a:pt x="831892" y="132080"/>
                    <a:pt x="839513" y="100965"/>
                  </a:cubicBezTo>
                  <a:cubicBezTo>
                    <a:pt x="838878" y="50800"/>
                    <a:pt x="779188" y="59055"/>
                    <a:pt x="776648" y="102235"/>
                  </a:cubicBezTo>
                  <a:close/>
                  <a:moveTo>
                    <a:pt x="796967" y="102235"/>
                  </a:moveTo>
                  <a:cubicBezTo>
                    <a:pt x="799507" y="89535"/>
                    <a:pt x="809032" y="91440"/>
                    <a:pt x="817288" y="101600"/>
                  </a:cubicBezTo>
                  <a:cubicBezTo>
                    <a:pt x="809032" y="107315"/>
                    <a:pt x="796332" y="116205"/>
                    <a:pt x="796967" y="10223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38" name="Google Shape;57;p2">
              <a:extLst>
                <a:ext uri="{FF2B5EF4-FFF2-40B4-BE49-F238E27FC236}">
                  <a16:creationId xmlns:a16="http://schemas.microsoft.com/office/drawing/2014/main" id="{59BF1B50-3F01-40E4-9920-78A3641A19BF}"/>
                </a:ext>
              </a:extLst>
            </p:cNvPr>
            <p:cNvSpPr/>
            <p:nvPr/>
          </p:nvSpPr>
          <p:spPr>
            <a:xfrm>
              <a:off x="1161548" y="2558031"/>
              <a:ext cx="665135" cy="522113"/>
            </a:xfrm>
            <a:custGeom>
              <a:avLst/>
              <a:gdLst/>
              <a:ahLst/>
              <a:cxnLst/>
              <a:rect l="l" t="t" r="r" b="b"/>
              <a:pathLst>
                <a:path w="773413" h="607108" extrusionOk="0">
                  <a:moveTo>
                    <a:pt x="330200" y="266676"/>
                  </a:moveTo>
                  <a:cubicBezTo>
                    <a:pt x="311785" y="287631"/>
                    <a:pt x="356870" y="297791"/>
                    <a:pt x="365125" y="312396"/>
                  </a:cubicBezTo>
                  <a:cubicBezTo>
                    <a:pt x="452120" y="383516"/>
                    <a:pt x="374650" y="271121"/>
                    <a:pt x="330200" y="266676"/>
                  </a:cubicBezTo>
                  <a:close/>
                  <a:moveTo>
                    <a:pt x="345440" y="379706"/>
                  </a:moveTo>
                  <a:cubicBezTo>
                    <a:pt x="343535" y="361291"/>
                    <a:pt x="321945" y="360021"/>
                    <a:pt x="318770" y="343511"/>
                  </a:cubicBezTo>
                  <a:cubicBezTo>
                    <a:pt x="320675" y="320016"/>
                    <a:pt x="302260" y="323826"/>
                    <a:pt x="288925" y="317476"/>
                  </a:cubicBezTo>
                  <a:cubicBezTo>
                    <a:pt x="288290" y="309856"/>
                    <a:pt x="287655" y="302871"/>
                    <a:pt x="287020" y="295886"/>
                  </a:cubicBezTo>
                  <a:cubicBezTo>
                    <a:pt x="256540" y="302871"/>
                    <a:pt x="237490" y="313031"/>
                    <a:pt x="245745" y="340336"/>
                  </a:cubicBezTo>
                  <a:cubicBezTo>
                    <a:pt x="258445" y="358116"/>
                    <a:pt x="277495" y="337796"/>
                    <a:pt x="294005" y="347956"/>
                  </a:cubicBezTo>
                  <a:cubicBezTo>
                    <a:pt x="292100" y="368911"/>
                    <a:pt x="304800" y="377801"/>
                    <a:pt x="325120" y="377801"/>
                  </a:cubicBezTo>
                  <a:cubicBezTo>
                    <a:pt x="336550" y="404471"/>
                    <a:pt x="335915" y="405106"/>
                    <a:pt x="358775" y="416536"/>
                  </a:cubicBezTo>
                  <a:cubicBezTo>
                    <a:pt x="372110" y="422251"/>
                    <a:pt x="386715" y="457176"/>
                    <a:pt x="400050" y="436221"/>
                  </a:cubicBezTo>
                  <a:cubicBezTo>
                    <a:pt x="391795" y="396851"/>
                    <a:pt x="360680" y="405106"/>
                    <a:pt x="345440" y="379706"/>
                  </a:cubicBezTo>
                  <a:close/>
                  <a:moveTo>
                    <a:pt x="507365" y="428601"/>
                  </a:moveTo>
                  <a:cubicBezTo>
                    <a:pt x="495935" y="401296"/>
                    <a:pt x="474345" y="382881"/>
                    <a:pt x="453390" y="364466"/>
                  </a:cubicBezTo>
                  <a:cubicBezTo>
                    <a:pt x="431165" y="346051"/>
                    <a:pt x="431165" y="391136"/>
                    <a:pt x="451485" y="393676"/>
                  </a:cubicBezTo>
                  <a:cubicBezTo>
                    <a:pt x="487045" y="408916"/>
                    <a:pt x="488315" y="451461"/>
                    <a:pt x="525145" y="467336"/>
                  </a:cubicBezTo>
                  <a:cubicBezTo>
                    <a:pt x="542925" y="447651"/>
                    <a:pt x="513715" y="441301"/>
                    <a:pt x="507365" y="428601"/>
                  </a:cubicBezTo>
                  <a:close/>
                  <a:moveTo>
                    <a:pt x="504825" y="315571"/>
                  </a:moveTo>
                  <a:cubicBezTo>
                    <a:pt x="500380" y="301601"/>
                    <a:pt x="481965" y="299061"/>
                    <a:pt x="480060" y="284456"/>
                  </a:cubicBezTo>
                  <a:cubicBezTo>
                    <a:pt x="474980" y="258421"/>
                    <a:pt x="442595" y="265406"/>
                    <a:pt x="434340" y="241276"/>
                  </a:cubicBezTo>
                  <a:cubicBezTo>
                    <a:pt x="421005" y="238101"/>
                    <a:pt x="410210" y="251436"/>
                    <a:pt x="398145" y="240006"/>
                  </a:cubicBezTo>
                  <a:cubicBezTo>
                    <a:pt x="403860" y="233656"/>
                    <a:pt x="408940" y="232386"/>
                    <a:pt x="417195" y="228576"/>
                  </a:cubicBezTo>
                  <a:cubicBezTo>
                    <a:pt x="400050" y="175871"/>
                    <a:pt x="313690" y="272391"/>
                    <a:pt x="419735" y="267311"/>
                  </a:cubicBezTo>
                  <a:cubicBezTo>
                    <a:pt x="422275" y="289536"/>
                    <a:pt x="445770" y="278741"/>
                    <a:pt x="461645" y="288266"/>
                  </a:cubicBezTo>
                  <a:cubicBezTo>
                    <a:pt x="460375" y="315571"/>
                    <a:pt x="490855" y="330176"/>
                    <a:pt x="508000" y="347321"/>
                  </a:cubicBezTo>
                  <a:cubicBezTo>
                    <a:pt x="532130" y="360656"/>
                    <a:pt x="526415" y="399391"/>
                    <a:pt x="563245" y="392406"/>
                  </a:cubicBezTo>
                  <a:cubicBezTo>
                    <a:pt x="560070" y="370181"/>
                    <a:pt x="537210" y="365101"/>
                    <a:pt x="537210" y="340971"/>
                  </a:cubicBezTo>
                  <a:cubicBezTo>
                    <a:pt x="524510" y="334621"/>
                    <a:pt x="509270" y="329541"/>
                    <a:pt x="504825" y="315571"/>
                  </a:cubicBezTo>
                  <a:close/>
                  <a:moveTo>
                    <a:pt x="744220" y="156186"/>
                  </a:moveTo>
                  <a:cubicBezTo>
                    <a:pt x="658495" y="119991"/>
                    <a:pt x="573405" y="78081"/>
                    <a:pt x="509270" y="8231"/>
                  </a:cubicBezTo>
                  <a:cubicBezTo>
                    <a:pt x="478155" y="-22249"/>
                    <a:pt x="454660" y="40616"/>
                    <a:pt x="430530" y="55856"/>
                  </a:cubicBezTo>
                  <a:cubicBezTo>
                    <a:pt x="309880" y="170156"/>
                    <a:pt x="172720" y="286361"/>
                    <a:pt x="0" y="294616"/>
                  </a:cubicBezTo>
                  <a:cubicBezTo>
                    <a:pt x="14605" y="319381"/>
                    <a:pt x="14605" y="318746"/>
                    <a:pt x="29845" y="328271"/>
                  </a:cubicBezTo>
                  <a:cubicBezTo>
                    <a:pt x="91440" y="365736"/>
                    <a:pt x="144780" y="415901"/>
                    <a:pt x="205740" y="454001"/>
                  </a:cubicBezTo>
                  <a:cubicBezTo>
                    <a:pt x="279400" y="483211"/>
                    <a:pt x="368935" y="638786"/>
                    <a:pt x="440690" y="601322"/>
                  </a:cubicBezTo>
                  <a:cubicBezTo>
                    <a:pt x="623570" y="562586"/>
                    <a:pt x="855980" y="342876"/>
                    <a:pt x="744220" y="156186"/>
                  </a:cubicBezTo>
                  <a:close/>
                  <a:moveTo>
                    <a:pt x="412750" y="585447"/>
                  </a:moveTo>
                  <a:cubicBezTo>
                    <a:pt x="372110" y="579731"/>
                    <a:pt x="340995" y="535916"/>
                    <a:pt x="308610" y="511786"/>
                  </a:cubicBezTo>
                  <a:cubicBezTo>
                    <a:pt x="229235" y="438761"/>
                    <a:pt x="133985" y="389866"/>
                    <a:pt x="57150" y="314301"/>
                  </a:cubicBezTo>
                  <a:cubicBezTo>
                    <a:pt x="231140" y="271756"/>
                    <a:pt x="370840" y="152376"/>
                    <a:pt x="493395" y="26646"/>
                  </a:cubicBezTo>
                  <a:cubicBezTo>
                    <a:pt x="561975" y="90781"/>
                    <a:pt x="644525" y="126976"/>
                    <a:pt x="723265" y="173966"/>
                  </a:cubicBezTo>
                  <a:cubicBezTo>
                    <a:pt x="699135" y="203176"/>
                    <a:pt x="664210" y="216511"/>
                    <a:pt x="643255" y="243816"/>
                  </a:cubicBezTo>
                  <a:cubicBezTo>
                    <a:pt x="660400" y="283186"/>
                    <a:pt x="710565" y="292076"/>
                    <a:pt x="733425" y="327636"/>
                  </a:cubicBezTo>
                  <a:cubicBezTo>
                    <a:pt x="689610" y="466701"/>
                    <a:pt x="548005" y="554966"/>
                    <a:pt x="412750" y="585447"/>
                  </a:cubicBezTo>
                  <a:close/>
                  <a:moveTo>
                    <a:pt x="674370" y="250166"/>
                  </a:moveTo>
                  <a:cubicBezTo>
                    <a:pt x="697865" y="229211"/>
                    <a:pt x="714375" y="205716"/>
                    <a:pt x="743585" y="197461"/>
                  </a:cubicBezTo>
                  <a:cubicBezTo>
                    <a:pt x="744855" y="232386"/>
                    <a:pt x="751205" y="265406"/>
                    <a:pt x="738505" y="299061"/>
                  </a:cubicBezTo>
                  <a:cubicBezTo>
                    <a:pt x="712470" y="288266"/>
                    <a:pt x="697865" y="265406"/>
                    <a:pt x="674370" y="250166"/>
                  </a:cubicBezTo>
                  <a:close/>
                  <a:moveTo>
                    <a:pt x="641985" y="310491"/>
                  </a:moveTo>
                  <a:cubicBezTo>
                    <a:pt x="619760" y="306681"/>
                    <a:pt x="605790" y="289536"/>
                    <a:pt x="589280" y="280011"/>
                  </a:cubicBezTo>
                  <a:cubicBezTo>
                    <a:pt x="587375" y="270486"/>
                    <a:pt x="586105" y="263501"/>
                    <a:pt x="584835" y="255881"/>
                  </a:cubicBezTo>
                  <a:cubicBezTo>
                    <a:pt x="541020" y="246356"/>
                    <a:pt x="568960" y="223496"/>
                    <a:pt x="506095" y="215241"/>
                  </a:cubicBezTo>
                  <a:cubicBezTo>
                    <a:pt x="534670" y="166346"/>
                    <a:pt x="490220" y="189841"/>
                    <a:pt x="461645" y="186031"/>
                  </a:cubicBezTo>
                  <a:cubicBezTo>
                    <a:pt x="436245" y="172061"/>
                    <a:pt x="474345" y="158726"/>
                    <a:pt x="487045" y="156186"/>
                  </a:cubicBezTo>
                  <a:cubicBezTo>
                    <a:pt x="502920" y="130786"/>
                    <a:pt x="456565" y="133961"/>
                    <a:pt x="447040" y="148566"/>
                  </a:cubicBezTo>
                  <a:cubicBezTo>
                    <a:pt x="419100" y="174601"/>
                    <a:pt x="444500" y="210796"/>
                    <a:pt x="478790" y="206986"/>
                  </a:cubicBezTo>
                  <a:cubicBezTo>
                    <a:pt x="490855" y="245086"/>
                    <a:pt x="502285" y="234291"/>
                    <a:pt x="534670" y="244451"/>
                  </a:cubicBezTo>
                  <a:cubicBezTo>
                    <a:pt x="539115" y="264771"/>
                    <a:pt x="565785" y="269851"/>
                    <a:pt x="571500" y="292711"/>
                  </a:cubicBezTo>
                  <a:cubicBezTo>
                    <a:pt x="590550" y="305411"/>
                    <a:pt x="613410" y="332081"/>
                    <a:pt x="638175" y="329541"/>
                  </a:cubicBezTo>
                  <a:cubicBezTo>
                    <a:pt x="647700" y="327636"/>
                    <a:pt x="648335" y="313666"/>
                    <a:pt x="641985" y="31049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39" name="Google Shape;58;p2">
              <a:extLst>
                <a:ext uri="{FF2B5EF4-FFF2-40B4-BE49-F238E27FC236}">
                  <a16:creationId xmlns:a16="http://schemas.microsoft.com/office/drawing/2014/main" id="{ECF2D44A-FB25-43C4-AFB2-097784CDC432}"/>
                </a:ext>
              </a:extLst>
            </p:cNvPr>
            <p:cNvGrpSpPr/>
            <p:nvPr/>
          </p:nvGrpSpPr>
          <p:grpSpPr>
            <a:xfrm>
              <a:off x="346827" y="3411153"/>
              <a:ext cx="376916" cy="455685"/>
              <a:chOff x="1010452" y="1144365"/>
              <a:chExt cx="376916" cy="455685"/>
            </a:xfrm>
          </p:grpSpPr>
          <p:sp>
            <p:nvSpPr>
              <p:cNvPr id="88" name="Google Shape;59;p2">
                <a:extLst>
                  <a:ext uri="{FF2B5EF4-FFF2-40B4-BE49-F238E27FC236}">
                    <a16:creationId xmlns:a16="http://schemas.microsoft.com/office/drawing/2014/main" id="{9DAA066F-D056-423F-BF3E-D6A24D45AEE9}"/>
                  </a:ext>
                </a:extLst>
              </p:cNvPr>
              <p:cNvSpPr/>
              <p:nvPr/>
            </p:nvSpPr>
            <p:spPr>
              <a:xfrm>
                <a:off x="1010452" y="1144365"/>
                <a:ext cx="376916" cy="455685"/>
              </a:xfrm>
              <a:custGeom>
                <a:avLst/>
                <a:gdLst/>
                <a:ahLst/>
                <a:cxnLst/>
                <a:rect l="l" t="t" r="r" b="b"/>
                <a:pathLst>
                  <a:path w="438274" h="529866" extrusionOk="0">
                    <a:moveTo>
                      <a:pt x="42669" y="358775"/>
                    </a:moveTo>
                    <a:cubicBezTo>
                      <a:pt x="32509" y="365760"/>
                      <a:pt x="24889" y="370840"/>
                      <a:pt x="16634" y="376555"/>
                    </a:cubicBezTo>
                    <a:cubicBezTo>
                      <a:pt x="759" y="367030"/>
                      <a:pt x="-511" y="353060"/>
                      <a:pt x="124" y="337820"/>
                    </a:cubicBezTo>
                    <a:cubicBezTo>
                      <a:pt x="25524" y="336550"/>
                      <a:pt x="44574" y="340360"/>
                      <a:pt x="69339" y="353060"/>
                    </a:cubicBezTo>
                    <a:cubicBezTo>
                      <a:pt x="81404" y="349250"/>
                      <a:pt x="94739" y="345440"/>
                      <a:pt x="107439" y="340995"/>
                    </a:cubicBezTo>
                    <a:cubicBezTo>
                      <a:pt x="139189" y="224155"/>
                      <a:pt x="129029" y="254000"/>
                      <a:pt x="172209" y="186055"/>
                    </a:cubicBezTo>
                    <a:cubicBezTo>
                      <a:pt x="136014" y="133985"/>
                      <a:pt x="101089" y="64770"/>
                      <a:pt x="130934" y="0"/>
                    </a:cubicBezTo>
                    <a:cubicBezTo>
                      <a:pt x="181099" y="8255"/>
                      <a:pt x="230629" y="101600"/>
                      <a:pt x="237614" y="151130"/>
                    </a:cubicBezTo>
                    <a:cubicBezTo>
                      <a:pt x="282699" y="160020"/>
                      <a:pt x="330324" y="148590"/>
                      <a:pt x="366519" y="186055"/>
                    </a:cubicBezTo>
                    <a:cubicBezTo>
                      <a:pt x="391284" y="211455"/>
                      <a:pt x="430654" y="226695"/>
                      <a:pt x="438274" y="264795"/>
                    </a:cubicBezTo>
                    <a:cubicBezTo>
                      <a:pt x="363344" y="320040"/>
                      <a:pt x="256029" y="259080"/>
                      <a:pt x="195704" y="205740"/>
                    </a:cubicBezTo>
                    <a:cubicBezTo>
                      <a:pt x="153794" y="228600"/>
                      <a:pt x="141094" y="292100"/>
                      <a:pt x="136649" y="332740"/>
                    </a:cubicBezTo>
                    <a:cubicBezTo>
                      <a:pt x="143634" y="339090"/>
                      <a:pt x="151889" y="345440"/>
                      <a:pt x="160779" y="353060"/>
                    </a:cubicBezTo>
                    <a:cubicBezTo>
                      <a:pt x="169669" y="349885"/>
                      <a:pt x="178559" y="346075"/>
                      <a:pt x="188084" y="342900"/>
                    </a:cubicBezTo>
                    <a:cubicBezTo>
                      <a:pt x="193799" y="347345"/>
                      <a:pt x="199514" y="351790"/>
                      <a:pt x="205864" y="357505"/>
                    </a:cubicBezTo>
                    <a:cubicBezTo>
                      <a:pt x="238249" y="346710"/>
                      <a:pt x="275079" y="366395"/>
                      <a:pt x="310004" y="365125"/>
                    </a:cubicBezTo>
                    <a:cubicBezTo>
                      <a:pt x="348104" y="407670"/>
                      <a:pt x="245869" y="379095"/>
                      <a:pt x="227454" y="375285"/>
                    </a:cubicBezTo>
                    <a:cubicBezTo>
                      <a:pt x="220469" y="379095"/>
                      <a:pt x="212849" y="384175"/>
                      <a:pt x="203959" y="388620"/>
                    </a:cubicBezTo>
                    <a:cubicBezTo>
                      <a:pt x="196974" y="386080"/>
                      <a:pt x="188719" y="381000"/>
                      <a:pt x="184274" y="375920"/>
                    </a:cubicBezTo>
                    <a:cubicBezTo>
                      <a:pt x="167129" y="374650"/>
                      <a:pt x="151889" y="373380"/>
                      <a:pt x="134744" y="372110"/>
                    </a:cubicBezTo>
                    <a:cubicBezTo>
                      <a:pt x="134744" y="381000"/>
                      <a:pt x="139189" y="389890"/>
                      <a:pt x="145539" y="395605"/>
                    </a:cubicBezTo>
                    <a:cubicBezTo>
                      <a:pt x="186179" y="433070"/>
                      <a:pt x="166494" y="499110"/>
                      <a:pt x="128394" y="528955"/>
                    </a:cubicBezTo>
                    <a:cubicBezTo>
                      <a:pt x="69974" y="541020"/>
                      <a:pt x="67434" y="429895"/>
                      <a:pt x="99819" y="396875"/>
                    </a:cubicBezTo>
                    <a:cubicBezTo>
                      <a:pt x="113154" y="386715"/>
                      <a:pt x="109979" y="361315"/>
                      <a:pt x="90294" y="370205"/>
                    </a:cubicBezTo>
                    <a:cubicBezTo>
                      <a:pt x="71244" y="380365"/>
                      <a:pt x="57909" y="368300"/>
                      <a:pt x="42669" y="358775"/>
                    </a:cubicBezTo>
                    <a:close/>
                    <a:moveTo>
                      <a:pt x="111884" y="481965"/>
                    </a:moveTo>
                    <a:cubicBezTo>
                      <a:pt x="107439" y="512445"/>
                      <a:pt x="133474" y="506095"/>
                      <a:pt x="111249" y="482600"/>
                    </a:cubicBezTo>
                    <a:cubicBezTo>
                      <a:pt x="110614" y="470535"/>
                      <a:pt x="109979" y="458470"/>
                      <a:pt x="108709" y="446405"/>
                    </a:cubicBezTo>
                    <a:cubicBezTo>
                      <a:pt x="105534" y="458470"/>
                      <a:pt x="99184" y="471805"/>
                      <a:pt x="111884" y="481965"/>
                    </a:cubicBezTo>
                    <a:close/>
                    <a:moveTo>
                      <a:pt x="200784" y="171450"/>
                    </a:moveTo>
                    <a:cubicBezTo>
                      <a:pt x="233804" y="126365"/>
                      <a:pt x="188084" y="57785"/>
                      <a:pt x="148079" y="34290"/>
                    </a:cubicBezTo>
                    <a:cubicBezTo>
                      <a:pt x="130934" y="70485"/>
                      <a:pt x="156334" y="168910"/>
                      <a:pt x="200784" y="171450"/>
                    </a:cubicBezTo>
                    <a:lnTo>
                      <a:pt x="200784" y="171450"/>
                    </a:lnTo>
                    <a:close/>
                    <a:moveTo>
                      <a:pt x="241424" y="220980"/>
                    </a:moveTo>
                    <a:lnTo>
                      <a:pt x="242059" y="219075"/>
                    </a:lnTo>
                    <a:lnTo>
                      <a:pt x="240154" y="220345"/>
                    </a:lnTo>
                    <a:cubicBezTo>
                      <a:pt x="289684" y="245110"/>
                      <a:pt x="363979" y="292100"/>
                      <a:pt x="412239" y="248920"/>
                    </a:cubicBezTo>
                    <a:cubicBezTo>
                      <a:pt x="370964" y="205740"/>
                      <a:pt x="304289" y="149860"/>
                      <a:pt x="243964" y="186690"/>
                    </a:cubicBezTo>
                    <a:cubicBezTo>
                      <a:pt x="269999" y="217170"/>
                      <a:pt x="344294" y="203835"/>
                      <a:pt x="353819" y="244475"/>
                    </a:cubicBezTo>
                    <a:cubicBezTo>
                      <a:pt x="318259" y="237490"/>
                      <a:pt x="280159" y="214630"/>
                      <a:pt x="241424" y="220980"/>
                    </a:cubicBezTo>
                    <a:close/>
                    <a:moveTo>
                      <a:pt x="139189" y="431165"/>
                    </a:moveTo>
                    <a:cubicBezTo>
                      <a:pt x="135379" y="450215"/>
                      <a:pt x="134744" y="450215"/>
                      <a:pt x="140459" y="465455"/>
                    </a:cubicBezTo>
                    <a:cubicBezTo>
                      <a:pt x="146809" y="453390"/>
                      <a:pt x="145539" y="443230"/>
                      <a:pt x="139189" y="431165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89" name="Google Shape;60;p2">
                <a:extLst>
                  <a:ext uri="{FF2B5EF4-FFF2-40B4-BE49-F238E27FC236}">
                    <a16:creationId xmlns:a16="http://schemas.microsoft.com/office/drawing/2014/main" id="{3D9CCD77-55C1-476F-8683-56ED66C7A90A}"/>
                  </a:ext>
                </a:extLst>
              </p:cNvPr>
              <p:cNvSpPr/>
              <p:nvPr/>
            </p:nvSpPr>
            <p:spPr>
              <a:xfrm>
                <a:off x="1151008" y="1222803"/>
                <a:ext cx="35003" cy="68520"/>
              </a:xfrm>
              <a:custGeom>
                <a:avLst/>
                <a:gdLst/>
                <a:ahLst/>
                <a:cxnLst/>
                <a:rect l="l" t="t" r="r" b="b"/>
                <a:pathLst>
                  <a:path w="40701" h="79674" extrusionOk="0">
                    <a:moveTo>
                      <a:pt x="38100" y="79674"/>
                    </a:moveTo>
                    <a:cubicBezTo>
                      <a:pt x="20320" y="56179"/>
                      <a:pt x="8255" y="30144"/>
                      <a:pt x="0" y="2840"/>
                    </a:cubicBezTo>
                    <a:cubicBezTo>
                      <a:pt x="24130" y="-16210"/>
                      <a:pt x="48895" y="66340"/>
                      <a:pt x="38100" y="79674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grpSp>
          <p:nvGrpSpPr>
            <p:cNvPr id="40" name="Google Shape;61;p2">
              <a:extLst>
                <a:ext uri="{FF2B5EF4-FFF2-40B4-BE49-F238E27FC236}">
                  <a16:creationId xmlns:a16="http://schemas.microsoft.com/office/drawing/2014/main" id="{4AF7C0F7-47FA-4AEE-B784-77502FF351F3}"/>
                </a:ext>
              </a:extLst>
            </p:cNvPr>
            <p:cNvGrpSpPr/>
            <p:nvPr/>
          </p:nvGrpSpPr>
          <p:grpSpPr>
            <a:xfrm>
              <a:off x="7439637" y="3918577"/>
              <a:ext cx="503800" cy="507307"/>
              <a:chOff x="7439637" y="3918577"/>
              <a:chExt cx="503800" cy="507307"/>
            </a:xfrm>
          </p:grpSpPr>
          <p:sp>
            <p:nvSpPr>
              <p:cNvPr id="86" name="Google Shape;62;p2">
                <a:extLst>
                  <a:ext uri="{FF2B5EF4-FFF2-40B4-BE49-F238E27FC236}">
                    <a16:creationId xmlns:a16="http://schemas.microsoft.com/office/drawing/2014/main" id="{46328B47-DA59-4652-A7F5-124DD21137EF}"/>
                  </a:ext>
                </a:extLst>
              </p:cNvPr>
              <p:cNvSpPr/>
              <p:nvPr/>
            </p:nvSpPr>
            <p:spPr>
              <a:xfrm>
                <a:off x="7547126" y="4133375"/>
                <a:ext cx="332324" cy="292506"/>
              </a:xfrm>
              <a:custGeom>
                <a:avLst/>
                <a:gdLst/>
                <a:ahLst/>
                <a:cxnLst/>
                <a:rect l="l" t="t" r="r" b="b"/>
                <a:pathLst>
                  <a:path w="23544" h="23844" extrusionOk="0">
                    <a:moveTo>
                      <a:pt x="12429" y="1"/>
                    </a:moveTo>
                    <a:lnTo>
                      <a:pt x="11234" y="120"/>
                    </a:lnTo>
                    <a:lnTo>
                      <a:pt x="10099" y="359"/>
                    </a:lnTo>
                    <a:lnTo>
                      <a:pt x="9023" y="718"/>
                    </a:lnTo>
                    <a:lnTo>
                      <a:pt x="7948" y="1136"/>
                    </a:lnTo>
                    <a:lnTo>
                      <a:pt x="6872" y="1614"/>
                    </a:lnTo>
                    <a:lnTo>
                      <a:pt x="5856" y="2212"/>
                    </a:lnTo>
                    <a:lnTo>
                      <a:pt x="4960" y="2869"/>
                    </a:lnTo>
                    <a:lnTo>
                      <a:pt x="4064" y="3586"/>
                    </a:lnTo>
                    <a:lnTo>
                      <a:pt x="3227" y="4363"/>
                    </a:lnTo>
                    <a:lnTo>
                      <a:pt x="2510" y="5259"/>
                    </a:lnTo>
                    <a:lnTo>
                      <a:pt x="1853" y="6156"/>
                    </a:lnTo>
                    <a:lnTo>
                      <a:pt x="1255" y="7112"/>
                    </a:lnTo>
                    <a:lnTo>
                      <a:pt x="777" y="8128"/>
                    </a:lnTo>
                    <a:lnTo>
                      <a:pt x="418" y="9203"/>
                    </a:lnTo>
                    <a:lnTo>
                      <a:pt x="179" y="10279"/>
                    </a:lnTo>
                    <a:lnTo>
                      <a:pt x="0" y="11414"/>
                    </a:lnTo>
                    <a:lnTo>
                      <a:pt x="0" y="12609"/>
                    </a:lnTo>
                    <a:lnTo>
                      <a:pt x="179" y="13804"/>
                    </a:lnTo>
                    <a:lnTo>
                      <a:pt x="418" y="14999"/>
                    </a:lnTo>
                    <a:lnTo>
                      <a:pt x="777" y="16075"/>
                    </a:lnTo>
                    <a:lnTo>
                      <a:pt x="1315" y="17151"/>
                    </a:lnTo>
                    <a:lnTo>
                      <a:pt x="1912" y="18166"/>
                    </a:lnTo>
                    <a:lnTo>
                      <a:pt x="2570" y="19063"/>
                    </a:lnTo>
                    <a:lnTo>
                      <a:pt x="3346" y="19959"/>
                    </a:lnTo>
                    <a:lnTo>
                      <a:pt x="4243" y="20736"/>
                    </a:lnTo>
                    <a:lnTo>
                      <a:pt x="5139" y="21453"/>
                    </a:lnTo>
                    <a:lnTo>
                      <a:pt x="6155" y="22110"/>
                    </a:lnTo>
                    <a:lnTo>
                      <a:pt x="7171" y="22648"/>
                    </a:lnTo>
                    <a:lnTo>
                      <a:pt x="8306" y="23066"/>
                    </a:lnTo>
                    <a:lnTo>
                      <a:pt x="9382" y="23425"/>
                    </a:lnTo>
                    <a:lnTo>
                      <a:pt x="10517" y="23664"/>
                    </a:lnTo>
                    <a:lnTo>
                      <a:pt x="11712" y="23783"/>
                    </a:lnTo>
                    <a:lnTo>
                      <a:pt x="12848" y="23843"/>
                    </a:lnTo>
                    <a:lnTo>
                      <a:pt x="14043" y="23724"/>
                    </a:lnTo>
                    <a:lnTo>
                      <a:pt x="15238" y="23485"/>
                    </a:lnTo>
                    <a:lnTo>
                      <a:pt x="16373" y="23066"/>
                    </a:lnTo>
                    <a:lnTo>
                      <a:pt x="17449" y="22588"/>
                    </a:lnTo>
                    <a:lnTo>
                      <a:pt x="18465" y="21991"/>
                    </a:lnTo>
                    <a:lnTo>
                      <a:pt x="19421" y="21274"/>
                    </a:lnTo>
                    <a:lnTo>
                      <a:pt x="20317" y="20497"/>
                    </a:lnTo>
                    <a:lnTo>
                      <a:pt x="21094" y="19660"/>
                    </a:lnTo>
                    <a:lnTo>
                      <a:pt x="21751" y="18704"/>
                    </a:lnTo>
                    <a:lnTo>
                      <a:pt x="22349" y="17688"/>
                    </a:lnTo>
                    <a:lnTo>
                      <a:pt x="22827" y="16673"/>
                    </a:lnTo>
                    <a:lnTo>
                      <a:pt x="23185" y="15537"/>
                    </a:lnTo>
                    <a:lnTo>
                      <a:pt x="23424" y="14402"/>
                    </a:lnTo>
                    <a:lnTo>
                      <a:pt x="23544" y="13207"/>
                    </a:lnTo>
                    <a:lnTo>
                      <a:pt x="23544" y="12071"/>
                    </a:lnTo>
                    <a:lnTo>
                      <a:pt x="23484" y="11474"/>
                    </a:lnTo>
                    <a:lnTo>
                      <a:pt x="23364" y="10876"/>
                    </a:lnTo>
                    <a:lnTo>
                      <a:pt x="23185" y="10279"/>
                    </a:lnTo>
                    <a:lnTo>
                      <a:pt x="23006" y="9681"/>
                    </a:lnTo>
                    <a:lnTo>
                      <a:pt x="23006" y="9024"/>
                    </a:lnTo>
                    <a:lnTo>
                      <a:pt x="22946" y="8426"/>
                    </a:lnTo>
                    <a:lnTo>
                      <a:pt x="22827" y="7889"/>
                    </a:lnTo>
                    <a:lnTo>
                      <a:pt x="22707" y="7291"/>
                    </a:lnTo>
                    <a:lnTo>
                      <a:pt x="22528" y="6753"/>
                    </a:lnTo>
                    <a:lnTo>
                      <a:pt x="22349" y="6215"/>
                    </a:lnTo>
                    <a:lnTo>
                      <a:pt x="21811" y="5200"/>
                    </a:lnTo>
                    <a:lnTo>
                      <a:pt x="21213" y="4243"/>
                    </a:lnTo>
                    <a:lnTo>
                      <a:pt x="20496" y="3407"/>
                    </a:lnTo>
                    <a:lnTo>
                      <a:pt x="19719" y="2630"/>
                    </a:lnTo>
                    <a:lnTo>
                      <a:pt x="18823" y="1973"/>
                    </a:lnTo>
                    <a:lnTo>
                      <a:pt x="17867" y="1375"/>
                    </a:lnTo>
                    <a:lnTo>
                      <a:pt x="16851" y="837"/>
                    </a:lnTo>
                    <a:lnTo>
                      <a:pt x="15776" y="479"/>
                    </a:lnTo>
                    <a:lnTo>
                      <a:pt x="14700" y="180"/>
                    </a:lnTo>
                    <a:lnTo>
                      <a:pt x="13565" y="61"/>
                    </a:lnTo>
                    <a:lnTo>
                      <a:pt x="12429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" name="Google Shape;63;p2">
                <a:extLst>
                  <a:ext uri="{FF2B5EF4-FFF2-40B4-BE49-F238E27FC236}">
                    <a16:creationId xmlns:a16="http://schemas.microsoft.com/office/drawing/2014/main" id="{9199EEDB-BB7B-4A6E-ADD8-4E3E159896F8}"/>
                  </a:ext>
                </a:extLst>
              </p:cNvPr>
              <p:cNvSpPr/>
              <p:nvPr/>
            </p:nvSpPr>
            <p:spPr>
              <a:xfrm rot="-1109260">
                <a:off x="7493180" y="3971096"/>
                <a:ext cx="396713" cy="402269"/>
              </a:xfrm>
              <a:custGeom>
                <a:avLst/>
                <a:gdLst/>
                <a:ahLst/>
                <a:cxnLst/>
                <a:rect l="l" t="t" r="r" b="b"/>
                <a:pathLst>
                  <a:path w="461644" h="468109" extrusionOk="0">
                    <a:moveTo>
                      <a:pt x="313055" y="28998"/>
                    </a:moveTo>
                    <a:cubicBezTo>
                      <a:pt x="261620" y="-13547"/>
                      <a:pt x="187960" y="-4022"/>
                      <a:pt x="131445" y="23918"/>
                    </a:cubicBezTo>
                    <a:cubicBezTo>
                      <a:pt x="158750" y="209973"/>
                      <a:pt x="74295" y="277918"/>
                      <a:pt x="0" y="435398"/>
                    </a:cubicBezTo>
                    <a:cubicBezTo>
                      <a:pt x="26670" y="495088"/>
                      <a:pt x="107314" y="453178"/>
                      <a:pt x="158750" y="461433"/>
                    </a:cubicBezTo>
                    <a:cubicBezTo>
                      <a:pt x="257810" y="439208"/>
                      <a:pt x="367664" y="470323"/>
                      <a:pt x="461645" y="435398"/>
                    </a:cubicBezTo>
                    <a:cubicBezTo>
                      <a:pt x="369570" y="280458"/>
                      <a:pt x="297814" y="222038"/>
                      <a:pt x="313055" y="28998"/>
                    </a:cubicBezTo>
                    <a:close/>
                    <a:moveTo>
                      <a:pt x="270510" y="39158"/>
                    </a:moveTo>
                    <a:cubicBezTo>
                      <a:pt x="237489" y="54398"/>
                      <a:pt x="205105" y="51858"/>
                      <a:pt x="172085" y="38523"/>
                    </a:cubicBezTo>
                    <a:cubicBezTo>
                      <a:pt x="197485" y="14393"/>
                      <a:pt x="243205" y="16933"/>
                      <a:pt x="270510" y="39158"/>
                    </a:cubicBezTo>
                    <a:close/>
                    <a:moveTo>
                      <a:pt x="160655" y="63923"/>
                    </a:moveTo>
                    <a:cubicBezTo>
                      <a:pt x="203835" y="69638"/>
                      <a:pt x="242570" y="70273"/>
                      <a:pt x="287020" y="64558"/>
                    </a:cubicBezTo>
                    <a:cubicBezTo>
                      <a:pt x="301625" y="119803"/>
                      <a:pt x="283845" y="182033"/>
                      <a:pt x="306070" y="232833"/>
                    </a:cubicBezTo>
                    <a:cubicBezTo>
                      <a:pt x="314325" y="244898"/>
                      <a:pt x="330835" y="258868"/>
                      <a:pt x="321310" y="274743"/>
                    </a:cubicBezTo>
                    <a:cubicBezTo>
                      <a:pt x="258445" y="376978"/>
                      <a:pt x="194310" y="273473"/>
                      <a:pt x="116839" y="281728"/>
                    </a:cubicBezTo>
                    <a:cubicBezTo>
                      <a:pt x="172085" y="168063"/>
                      <a:pt x="155575" y="180763"/>
                      <a:pt x="160655" y="63923"/>
                    </a:cubicBezTo>
                    <a:close/>
                    <a:moveTo>
                      <a:pt x="350520" y="430318"/>
                    </a:moveTo>
                    <a:cubicBezTo>
                      <a:pt x="243839" y="425238"/>
                      <a:pt x="137795" y="444923"/>
                      <a:pt x="31750" y="441113"/>
                    </a:cubicBezTo>
                    <a:cubicBezTo>
                      <a:pt x="123189" y="141393"/>
                      <a:pt x="212089" y="450003"/>
                      <a:pt x="340360" y="284903"/>
                    </a:cubicBezTo>
                    <a:cubicBezTo>
                      <a:pt x="373380" y="329353"/>
                      <a:pt x="400685" y="368088"/>
                      <a:pt x="425450" y="415713"/>
                    </a:cubicBezTo>
                    <a:cubicBezTo>
                      <a:pt x="418464" y="425238"/>
                      <a:pt x="368935" y="431588"/>
                      <a:pt x="350520" y="430318"/>
                    </a:cubicBezTo>
                    <a:close/>
                    <a:moveTo>
                      <a:pt x="275589" y="413173"/>
                    </a:moveTo>
                    <a:cubicBezTo>
                      <a:pt x="280670" y="396663"/>
                      <a:pt x="275589" y="382058"/>
                      <a:pt x="274320" y="363643"/>
                    </a:cubicBezTo>
                    <a:cubicBezTo>
                      <a:pt x="203200" y="347768"/>
                      <a:pt x="209550" y="449368"/>
                      <a:pt x="275589" y="413173"/>
                    </a:cubicBezTo>
                    <a:close/>
                    <a:moveTo>
                      <a:pt x="250189" y="403648"/>
                    </a:moveTo>
                    <a:cubicBezTo>
                      <a:pt x="236855" y="403013"/>
                      <a:pt x="242570" y="390313"/>
                      <a:pt x="252095" y="387773"/>
                    </a:cubicBezTo>
                    <a:cubicBezTo>
                      <a:pt x="264160" y="389678"/>
                      <a:pt x="259714" y="403013"/>
                      <a:pt x="250189" y="403648"/>
                    </a:cubicBezTo>
                    <a:close/>
                    <a:moveTo>
                      <a:pt x="160020" y="336338"/>
                    </a:moveTo>
                    <a:cubicBezTo>
                      <a:pt x="121920" y="334433"/>
                      <a:pt x="120014" y="387138"/>
                      <a:pt x="158750" y="385233"/>
                    </a:cubicBezTo>
                    <a:cubicBezTo>
                      <a:pt x="191770" y="387773"/>
                      <a:pt x="194310" y="335703"/>
                      <a:pt x="160020" y="336338"/>
                    </a:cubicBezTo>
                    <a:close/>
                    <a:moveTo>
                      <a:pt x="153035" y="363008"/>
                    </a:moveTo>
                    <a:cubicBezTo>
                      <a:pt x="160020" y="361103"/>
                      <a:pt x="163830" y="354118"/>
                      <a:pt x="167639" y="365548"/>
                    </a:cubicBezTo>
                    <a:cubicBezTo>
                      <a:pt x="161289" y="366183"/>
                      <a:pt x="155575" y="370628"/>
                      <a:pt x="153035" y="363008"/>
                    </a:cubicBezTo>
                    <a:close/>
                    <a:moveTo>
                      <a:pt x="235585" y="262678"/>
                    </a:moveTo>
                    <a:cubicBezTo>
                      <a:pt x="268605" y="265218"/>
                      <a:pt x="281305" y="215053"/>
                      <a:pt x="240030" y="211243"/>
                    </a:cubicBezTo>
                    <a:cubicBezTo>
                      <a:pt x="203200" y="206798"/>
                      <a:pt x="203835" y="257598"/>
                      <a:pt x="235585" y="262678"/>
                    </a:cubicBezTo>
                    <a:close/>
                    <a:moveTo>
                      <a:pt x="248285" y="235373"/>
                    </a:moveTo>
                    <a:cubicBezTo>
                      <a:pt x="242570" y="240453"/>
                      <a:pt x="237489" y="246803"/>
                      <a:pt x="232410" y="238548"/>
                    </a:cubicBezTo>
                    <a:cubicBezTo>
                      <a:pt x="231139" y="228388"/>
                      <a:pt x="240664" y="230293"/>
                      <a:pt x="248285" y="235373"/>
                    </a:cubicBezTo>
                    <a:close/>
                    <a:moveTo>
                      <a:pt x="224155" y="133138"/>
                    </a:moveTo>
                    <a:cubicBezTo>
                      <a:pt x="224789" y="115993"/>
                      <a:pt x="196214" y="108373"/>
                      <a:pt x="193675" y="129328"/>
                    </a:cubicBezTo>
                    <a:cubicBezTo>
                      <a:pt x="190500" y="154093"/>
                      <a:pt x="222250" y="155998"/>
                      <a:pt x="224155" y="133138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41" name="Google Shape;64;p2">
              <a:extLst>
                <a:ext uri="{FF2B5EF4-FFF2-40B4-BE49-F238E27FC236}">
                  <a16:creationId xmlns:a16="http://schemas.microsoft.com/office/drawing/2014/main" id="{E59F448A-21CE-4C24-B920-61BB83D212B2}"/>
                </a:ext>
              </a:extLst>
            </p:cNvPr>
            <p:cNvSpPr/>
            <p:nvPr/>
          </p:nvSpPr>
          <p:spPr>
            <a:xfrm>
              <a:off x="6255960" y="791694"/>
              <a:ext cx="453103" cy="511439"/>
            </a:xfrm>
            <a:custGeom>
              <a:avLst/>
              <a:gdLst/>
              <a:ahLst/>
              <a:cxnLst/>
              <a:rect l="l" t="t" r="r" b="b"/>
              <a:pathLst>
                <a:path w="526864" h="594697" extrusionOk="0">
                  <a:moveTo>
                    <a:pt x="476936" y="348155"/>
                  </a:moveTo>
                  <a:cubicBezTo>
                    <a:pt x="414706" y="390065"/>
                    <a:pt x="352476" y="373555"/>
                    <a:pt x="427406" y="306880"/>
                  </a:cubicBezTo>
                  <a:cubicBezTo>
                    <a:pt x="588696" y="206550"/>
                    <a:pt x="435661" y="-15065"/>
                    <a:pt x="280086" y="810"/>
                  </a:cubicBezTo>
                  <a:cubicBezTo>
                    <a:pt x="137211" y="13510"/>
                    <a:pt x="14656" y="153845"/>
                    <a:pt x="51" y="293545"/>
                  </a:cubicBezTo>
                  <a:cubicBezTo>
                    <a:pt x="-3759" y="510080"/>
                    <a:pt x="205791" y="675815"/>
                    <a:pt x="402641" y="552625"/>
                  </a:cubicBezTo>
                  <a:cubicBezTo>
                    <a:pt x="461061" y="528495"/>
                    <a:pt x="601396" y="353870"/>
                    <a:pt x="476936" y="348155"/>
                  </a:cubicBezTo>
                  <a:close/>
                  <a:moveTo>
                    <a:pt x="205156" y="568500"/>
                  </a:moveTo>
                  <a:cubicBezTo>
                    <a:pt x="39421" y="529765"/>
                    <a:pt x="-27254" y="296085"/>
                    <a:pt x="67996" y="162735"/>
                  </a:cubicBezTo>
                  <a:cubicBezTo>
                    <a:pt x="139116" y="53515"/>
                    <a:pt x="294691" y="-44275"/>
                    <a:pt x="410896" y="59865"/>
                  </a:cubicBezTo>
                  <a:cubicBezTo>
                    <a:pt x="457251" y="97965"/>
                    <a:pt x="501066" y="170990"/>
                    <a:pt x="469316" y="230045"/>
                  </a:cubicBezTo>
                  <a:cubicBezTo>
                    <a:pt x="447726" y="280845"/>
                    <a:pt x="340411" y="315135"/>
                    <a:pt x="379146" y="376095"/>
                  </a:cubicBezTo>
                  <a:cubicBezTo>
                    <a:pt x="412801" y="414830"/>
                    <a:pt x="457886" y="371650"/>
                    <a:pt x="497256" y="369745"/>
                  </a:cubicBezTo>
                  <a:cubicBezTo>
                    <a:pt x="507416" y="503095"/>
                    <a:pt x="323901" y="594535"/>
                    <a:pt x="205156" y="568500"/>
                  </a:cubicBezTo>
                  <a:close/>
                  <a:moveTo>
                    <a:pt x="132766" y="332915"/>
                  </a:moveTo>
                  <a:cubicBezTo>
                    <a:pt x="154991" y="341805"/>
                    <a:pt x="200076" y="333550"/>
                    <a:pt x="181026" y="301165"/>
                  </a:cubicBezTo>
                  <a:cubicBezTo>
                    <a:pt x="172136" y="286560"/>
                    <a:pt x="167691" y="270050"/>
                    <a:pt x="172771" y="252270"/>
                  </a:cubicBezTo>
                  <a:cubicBezTo>
                    <a:pt x="176581" y="210995"/>
                    <a:pt x="122606" y="217345"/>
                    <a:pt x="95936" y="212900"/>
                  </a:cubicBezTo>
                  <a:cubicBezTo>
                    <a:pt x="30531" y="204645"/>
                    <a:pt x="20371" y="327200"/>
                    <a:pt x="76886" y="346885"/>
                  </a:cubicBezTo>
                  <a:cubicBezTo>
                    <a:pt x="96571" y="336090"/>
                    <a:pt x="109906" y="322755"/>
                    <a:pt x="132766" y="332915"/>
                  </a:cubicBezTo>
                  <a:close/>
                  <a:moveTo>
                    <a:pt x="283261" y="118920"/>
                  </a:moveTo>
                  <a:cubicBezTo>
                    <a:pt x="299771" y="35735"/>
                    <a:pt x="146101" y="25575"/>
                    <a:pt x="179756" y="118920"/>
                  </a:cubicBezTo>
                  <a:cubicBezTo>
                    <a:pt x="116256" y="200835"/>
                    <a:pt x="250241" y="230045"/>
                    <a:pt x="283261" y="118920"/>
                  </a:cubicBezTo>
                  <a:close/>
                  <a:moveTo>
                    <a:pt x="263576" y="96695"/>
                  </a:moveTo>
                  <a:cubicBezTo>
                    <a:pt x="261671" y="99870"/>
                    <a:pt x="260401" y="101775"/>
                    <a:pt x="259766" y="103045"/>
                  </a:cubicBezTo>
                  <a:cubicBezTo>
                    <a:pt x="249606" y="96060"/>
                    <a:pt x="253416" y="87170"/>
                    <a:pt x="263576" y="96695"/>
                  </a:cubicBezTo>
                  <a:close/>
                  <a:moveTo>
                    <a:pt x="229286" y="144320"/>
                  </a:moveTo>
                  <a:cubicBezTo>
                    <a:pt x="232461" y="131620"/>
                    <a:pt x="239446" y="126540"/>
                    <a:pt x="255321" y="121460"/>
                  </a:cubicBezTo>
                  <a:cubicBezTo>
                    <a:pt x="248336" y="136065"/>
                    <a:pt x="245161" y="146225"/>
                    <a:pt x="229286" y="144320"/>
                  </a:cubicBezTo>
                  <a:close/>
                  <a:moveTo>
                    <a:pt x="201346" y="404035"/>
                  </a:moveTo>
                  <a:cubicBezTo>
                    <a:pt x="199441" y="358315"/>
                    <a:pt x="131496" y="364030"/>
                    <a:pt x="106731" y="386890"/>
                  </a:cubicBezTo>
                  <a:cubicBezTo>
                    <a:pt x="81331" y="451660"/>
                    <a:pt x="128956" y="520240"/>
                    <a:pt x="190551" y="461185"/>
                  </a:cubicBezTo>
                  <a:cubicBezTo>
                    <a:pt x="208966" y="445945"/>
                    <a:pt x="200076" y="424355"/>
                    <a:pt x="201346" y="404035"/>
                  </a:cubicBezTo>
                  <a:close/>
                  <a:moveTo>
                    <a:pt x="424866" y="139875"/>
                  </a:moveTo>
                  <a:cubicBezTo>
                    <a:pt x="413436" y="53515"/>
                    <a:pt x="334696" y="68120"/>
                    <a:pt x="334061" y="151305"/>
                  </a:cubicBezTo>
                  <a:cubicBezTo>
                    <a:pt x="334061" y="216075"/>
                    <a:pt x="445821" y="205915"/>
                    <a:pt x="424866" y="139875"/>
                  </a:cubicBezTo>
                  <a:close/>
                  <a:moveTo>
                    <a:pt x="259131" y="467535"/>
                  </a:moveTo>
                  <a:cubicBezTo>
                    <a:pt x="194361" y="477060"/>
                    <a:pt x="205156" y="565960"/>
                    <a:pt x="274371" y="560880"/>
                  </a:cubicBezTo>
                  <a:cubicBezTo>
                    <a:pt x="332791" y="531035"/>
                    <a:pt x="342316" y="461185"/>
                    <a:pt x="259131" y="467535"/>
                  </a:cubicBezTo>
                  <a:close/>
                  <a:moveTo>
                    <a:pt x="410261" y="407210"/>
                  </a:moveTo>
                  <a:cubicBezTo>
                    <a:pt x="370891" y="406575"/>
                    <a:pt x="327711" y="466265"/>
                    <a:pt x="364541" y="497380"/>
                  </a:cubicBezTo>
                  <a:cubicBezTo>
                    <a:pt x="418516" y="538655"/>
                    <a:pt x="504876" y="406575"/>
                    <a:pt x="410261" y="407210"/>
                  </a:cubicBezTo>
                  <a:close/>
                  <a:moveTo>
                    <a:pt x="390576" y="483410"/>
                  </a:moveTo>
                  <a:cubicBezTo>
                    <a:pt x="351206" y="484680"/>
                    <a:pt x="389306" y="425625"/>
                    <a:pt x="413436" y="428165"/>
                  </a:cubicBezTo>
                  <a:cubicBezTo>
                    <a:pt x="455346" y="434515"/>
                    <a:pt x="410261" y="476425"/>
                    <a:pt x="390576" y="48341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2" name="Google Shape;65;p2">
              <a:extLst>
                <a:ext uri="{FF2B5EF4-FFF2-40B4-BE49-F238E27FC236}">
                  <a16:creationId xmlns:a16="http://schemas.microsoft.com/office/drawing/2014/main" id="{527558DB-1967-464C-A148-6CC493D60684}"/>
                </a:ext>
              </a:extLst>
            </p:cNvPr>
            <p:cNvSpPr/>
            <p:nvPr/>
          </p:nvSpPr>
          <p:spPr>
            <a:xfrm rot="1799564">
              <a:off x="7155158" y="4556613"/>
              <a:ext cx="351219" cy="440001"/>
            </a:xfrm>
            <a:custGeom>
              <a:avLst/>
              <a:gdLst/>
              <a:ahLst/>
              <a:cxnLst/>
              <a:rect l="l" t="t" r="r" b="b"/>
              <a:pathLst>
                <a:path w="408305" h="511517" extrusionOk="0">
                  <a:moveTo>
                    <a:pt x="89536" y="14843"/>
                  </a:moveTo>
                  <a:cubicBezTo>
                    <a:pt x="68580" y="20558"/>
                    <a:pt x="76200" y="45323"/>
                    <a:pt x="70486" y="61198"/>
                  </a:cubicBezTo>
                  <a:cubicBezTo>
                    <a:pt x="48261" y="207248"/>
                    <a:pt x="12700" y="352663"/>
                    <a:pt x="0" y="499348"/>
                  </a:cubicBezTo>
                  <a:cubicBezTo>
                    <a:pt x="80011" y="540623"/>
                    <a:pt x="333375" y="470138"/>
                    <a:pt x="377190" y="389493"/>
                  </a:cubicBezTo>
                  <a:cubicBezTo>
                    <a:pt x="321945" y="291068"/>
                    <a:pt x="245111" y="207248"/>
                    <a:pt x="178436" y="117078"/>
                  </a:cubicBezTo>
                  <a:cubicBezTo>
                    <a:pt x="146050" y="88503"/>
                    <a:pt x="130811" y="26273"/>
                    <a:pt x="89536" y="14843"/>
                  </a:cubicBezTo>
                  <a:close/>
                  <a:moveTo>
                    <a:pt x="344805" y="390763"/>
                  </a:moveTo>
                  <a:cubicBezTo>
                    <a:pt x="313055" y="461248"/>
                    <a:pt x="111761" y="499348"/>
                    <a:pt x="36830" y="494268"/>
                  </a:cubicBezTo>
                  <a:cubicBezTo>
                    <a:pt x="33655" y="423148"/>
                    <a:pt x="287655" y="318373"/>
                    <a:pt x="344805" y="390763"/>
                  </a:cubicBezTo>
                  <a:close/>
                  <a:moveTo>
                    <a:pt x="184150" y="362188"/>
                  </a:moveTo>
                  <a:cubicBezTo>
                    <a:pt x="176530" y="351393"/>
                    <a:pt x="170180" y="341868"/>
                    <a:pt x="161290" y="329803"/>
                  </a:cubicBezTo>
                  <a:cubicBezTo>
                    <a:pt x="150495" y="343773"/>
                    <a:pt x="154305" y="353933"/>
                    <a:pt x="156211" y="369808"/>
                  </a:cubicBezTo>
                  <a:cubicBezTo>
                    <a:pt x="114300" y="394573"/>
                    <a:pt x="70486" y="415528"/>
                    <a:pt x="33655" y="447913"/>
                  </a:cubicBezTo>
                  <a:cubicBezTo>
                    <a:pt x="18415" y="439023"/>
                    <a:pt x="32386" y="417433"/>
                    <a:pt x="31750" y="403463"/>
                  </a:cubicBezTo>
                  <a:cubicBezTo>
                    <a:pt x="55880" y="288528"/>
                    <a:pt x="65405" y="170418"/>
                    <a:pt x="95886" y="57388"/>
                  </a:cubicBezTo>
                  <a:cubicBezTo>
                    <a:pt x="111125" y="52308"/>
                    <a:pt x="112395" y="68183"/>
                    <a:pt x="118111" y="78978"/>
                  </a:cubicBezTo>
                  <a:cubicBezTo>
                    <a:pt x="111761" y="80883"/>
                    <a:pt x="104775" y="82153"/>
                    <a:pt x="97155" y="84693"/>
                  </a:cubicBezTo>
                  <a:cubicBezTo>
                    <a:pt x="99695" y="98663"/>
                    <a:pt x="100330" y="123428"/>
                    <a:pt x="120015" y="112633"/>
                  </a:cubicBezTo>
                  <a:cubicBezTo>
                    <a:pt x="121286" y="104378"/>
                    <a:pt x="123190" y="96123"/>
                    <a:pt x="124461" y="87233"/>
                  </a:cubicBezTo>
                  <a:cubicBezTo>
                    <a:pt x="189230" y="173593"/>
                    <a:pt x="263525" y="252968"/>
                    <a:pt x="317500" y="346948"/>
                  </a:cubicBezTo>
                  <a:cubicBezTo>
                    <a:pt x="271780" y="346313"/>
                    <a:pt x="229870" y="353933"/>
                    <a:pt x="184150" y="362188"/>
                  </a:cubicBezTo>
                  <a:close/>
                  <a:moveTo>
                    <a:pt x="326390" y="268208"/>
                  </a:moveTo>
                  <a:cubicBezTo>
                    <a:pt x="326390" y="285988"/>
                    <a:pt x="349250" y="302498"/>
                    <a:pt x="354330" y="321548"/>
                  </a:cubicBezTo>
                  <a:cubicBezTo>
                    <a:pt x="360680" y="330438"/>
                    <a:pt x="370205" y="339328"/>
                    <a:pt x="382270" y="330438"/>
                  </a:cubicBezTo>
                  <a:cubicBezTo>
                    <a:pt x="373380" y="307578"/>
                    <a:pt x="350520" y="297418"/>
                    <a:pt x="344805" y="272018"/>
                  </a:cubicBezTo>
                  <a:cubicBezTo>
                    <a:pt x="341630" y="264398"/>
                    <a:pt x="332740" y="265033"/>
                    <a:pt x="326390" y="268208"/>
                  </a:cubicBezTo>
                  <a:close/>
                  <a:moveTo>
                    <a:pt x="160020" y="26908"/>
                  </a:moveTo>
                  <a:cubicBezTo>
                    <a:pt x="147320" y="1508"/>
                    <a:pt x="137161" y="-8652"/>
                    <a:pt x="119380" y="8493"/>
                  </a:cubicBezTo>
                  <a:cubicBezTo>
                    <a:pt x="132715" y="18653"/>
                    <a:pt x="144145" y="46593"/>
                    <a:pt x="160020" y="26908"/>
                  </a:cubicBezTo>
                  <a:close/>
                  <a:moveTo>
                    <a:pt x="280670" y="188198"/>
                  </a:moveTo>
                  <a:cubicBezTo>
                    <a:pt x="285115" y="164068"/>
                    <a:pt x="281305" y="158353"/>
                    <a:pt x="252730" y="155813"/>
                  </a:cubicBezTo>
                  <a:cubicBezTo>
                    <a:pt x="259080" y="172323"/>
                    <a:pt x="266700" y="182483"/>
                    <a:pt x="280670" y="188198"/>
                  </a:cubicBezTo>
                  <a:close/>
                  <a:moveTo>
                    <a:pt x="245111" y="131683"/>
                  </a:moveTo>
                  <a:cubicBezTo>
                    <a:pt x="254636" y="116443"/>
                    <a:pt x="235586" y="105648"/>
                    <a:pt x="218440" y="110093"/>
                  </a:cubicBezTo>
                  <a:cubicBezTo>
                    <a:pt x="226061" y="126603"/>
                    <a:pt x="231775" y="138033"/>
                    <a:pt x="245111" y="131683"/>
                  </a:cubicBezTo>
                  <a:close/>
                  <a:moveTo>
                    <a:pt x="290830" y="209788"/>
                  </a:moveTo>
                  <a:cubicBezTo>
                    <a:pt x="284480" y="219313"/>
                    <a:pt x="295275" y="227568"/>
                    <a:pt x="300990" y="234553"/>
                  </a:cubicBezTo>
                  <a:cubicBezTo>
                    <a:pt x="328295" y="239633"/>
                    <a:pt x="310515" y="205343"/>
                    <a:pt x="290830" y="209788"/>
                  </a:cubicBezTo>
                  <a:close/>
                  <a:moveTo>
                    <a:pt x="202565" y="76438"/>
                  </a:moveTo>
                  <a:cubicBezTo>
                    <a:pt x="202565" y="63103"/>
                    <a:pt x="183515" y="56118"/>
                    <a:pt x="176530" y="65643"/>
                  </a:cubicBezTo>
                  <a:cubicBezTo>
                    <a:pt x="174625" y="77708"/>
                    <a:pt x="193040" y="87233"/>
                    <a:pt x="202565" y="76438"/>
                  </a:cubicBezTo>
                  <a:close/>
                  <a:moveTo>
                    <a:pt x="389890" y="366633"/>
                  </a:moveTo>
                  <a:cubicBezTo>
                    <a:pt x="393700" y="375523"/>
                    <a:pt x="399415" y="371078"/>
                    <a:pt x="408305" y="366633"/>
                  </a:cubicBezTo>
                  <a:cubicBezTo>
                    <a:pt x="398145" y="357743"/>
                    <a:pt x="395605" y="355838"/>
                    <a:pt x="389890" y="366633"/>
                  </a:cubicBezTo>
                  <a:close/>
                  <a:moveTo>
                    <a:pt x="119380" y="157718"/>
                  </a:moveTo>
                  <a:cubicBezTo>
                    <a:pt x="102870" y="164703"/>
                    <a:pt x="128905" y="203438"/>
                    <a:pt x="139700" y="179308"/>
                  </a:cubicBezTo>
                  <a:cubicBezTo>
                    <a:pt x="134620" y="170418"/>
                    <a:pt x="132715" y="155178"/>
                    <a:pt x="119380" y="157718"/>
                  </a:cubicBezTo>
                  <a:close/>
                  <a:moveTo>
                    <a:pt x="146686" y="244078"/>
                  </a:moveTo>
                  <a:cubicBezTo>
                    <a:pt x="157480" y="238998"/>
                    <a:pt x="151130" y="216773"/>
                    <a:pt x="139700" y="214868"/>
                  </a:cubicBezTo>
                  <a:cubicBezTo>
                    <a:pt x="126365" y="219313"/>
                    <a:pt x="131445" y="247888"/>
                    <a:pt x="146686" y="244078"/>
                  </a:cubicBezTo>
                  <a:close/>
                  <a:moveTo>
                    <a:pt x="142875" y="287258"/>
                  </a:moveTo>
                  <a:cubicBezTo>
                    <a:pt x="142875" y="305673"/>
                    <a:pt x="164465" y="305673"/>
                    <a:pt x="163195" y="289798"/>
                  </a:cubicBezTo>
                  <a:cubicBezTo>
                    <a:pt x="161290" y="275828"/>
                    <a:pt x="147320" y="277098"/>
                    <a:pt x="142875" y="287258"/>
                  </a:cubicBezTo>
                  <a:close/>
                  <a:moveTo>
                    <a:pt x="172086" y="402193"/>
                  </a:moveTo>
                  <a:cubicBezTo>
                    <a:pt x="160655" y="407908"/>
                    <a:pt x="168911" y="423783"/>
                    <a:pt x="180975" y="426323"/>
                  </a:cubicBezTo>
                  <a:cubicBezTo>
                    <a:pt x="191136" y="415528"/>
                    <a:pt x="185420" y="402193"/>
                    <a:pt x="172086" y="402193"/>
                  </a:cubicBezTo>
                  <a:close/>
                  <a:moveTo>
                    <a:pt x="187961" y="447913"/>
                  </a:moveTo>
                  <a:cubicBezTo>
                    <a:pt x="184786" y="451088"/>
                    <a:pt x="182245" y="453628"/>
                    <a:pt x="180340" y="456168"/>
                  </a:cubicBezTo>
                  <a:cubicBezTo>
                    <a:pt x="187961" y="468868"/>
                    <a:pt x="201930" y="458073"/>
                    <a:pt x="187961" y="44791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43" name="Google Shape;66;p2">
              <a:extLst>
                <a:ext uri="{FF2B5EF4-FFF2-40B4-BE49-F238E27FC236}">
                  <a16:creationId xmlns:a16="http://schemas.microsoft.com/office/drawing/2014/main" id="{6696EF14-D5CC-40FA-AFFE-9EE05B54F2CD}"/>
                </a:ext>
              </a:extLst>
            </p:cNvPr>
            <p:cNvGrpSpPr/>
            <p:nvPr/>
          </p:nvGrpSpPr>
          <p:grpSpPr>
            <a:xfrm>
              <a:off x="7413193" y="740389"/>
              <a:ext cx="289739" cy="482318"/>
              <a:chOff x="4912930" y="846902"/>
              <a:chExt cx="289739" cy="482318"/>
            </a:xfrm>
          </p:grpSpPr>
          <p:sp>
            <p:nvSpPr>
              <p:cNvPr id="84" name="Google Shape;67;p2">
                <a:extLst>
                  <a:ext uri="{FF2B5EF4-FFF2-40B4-BE49-F238E27FC236}">
                    <a16:creationId xmlns:a16="http://schemas.microsoft.com/office/drawing/2014/main" id="{B789A9D7-7032-492B-8E88-FAAFF213085F}"/>
                  </a:ext>
                </a:extLst>
              </p:cNvPr>
              <p:cNvSpPr/>
              <p:nvPr/>
            </p:nvSpPr>
            <p:spPr>
              <a:xfrm rot="-539734">
                <a:off x="4946894" y="1102828"/>
                <a:ext cx="216728" cy="210745"/>
              </a:xfrm>
              <a:custGeom>
                <a:avLst/>
                <a:gdLst/>
                <a:ahLst/>
                <a:cxnLst/>
                <a:rect l="l" t="t" r="r" b="b"/>
                <a:pathLst>
                  <a:path w="15179" h="14760" extrusionOk="0">
                    <a:moveTo>
                      <a:pt x="9741" y="0"/>
                    </a:moveTo>
                    <a:lnTo>
                      <a:pt x="8306" y="60"/>
                    </a:lnTo>
                    <a:lnTo>
                      <a:pt x="7649" y="179"/>
                    </a:lnTo>
                    <a:lnTo>
                      <a:pt x="7052" y="299"/>
                    </a:lnTo>
                    <a:lnTo>
                      <a:pt x="6514" y="478"/>
                    </a:lnTo>
                    <a:lnTo>
                      <a:pt x="5916" y="777"/>
                    </a:lnTo>
                    <a:lnTo>
                      <a:pt x="5319" y="1135"/>
                    </a:lnTo>
                    <a:lnTo>
                      <a:pt x="4721" y="1613"/>
                    </a:lnTo>
                    <a:lnTo>
                      <a:pt x="3765" y="2510"/>
                    </a:lnTo>
                    <a:lnTo>
                      <a:pt x="2809" y="3585"/>
                    </a:lnTo>
                    <a:lnTo>
                      <a:pt x="1913" y="4840"/>
                    </a:lnTo>
                    <a:lnTo>
                      <a:pt x="1494" y="5557"/>
                    </a:lnTo>
                    <a:lnTo>
                      <a:pt x="1076" y="6215"/>
                    </a:lnTo>
                    <a:lnTo>
                      <a:pt x="777" y="6932"/>
                    </a:lnTo>
                    <a:lnTo>
                      <a:pt x="478" y="7649"/>
                    </a:lnTo>
                    <a:lnTo>
                      <a:pt x="239" y="8366"/>
                    </a:lnTo>
                    <a:lnTo>
                      <a:pt x="60" y="9023"/>
                    </a:lnTo>
                    <a:lnTo>
                      <a:pt x="0" y="9740"/>
                    </a:lnTo>
                    <a:lnTo>
                      <a:pt x="0" y="10457"/>
                    </a:lnTo>
                    <a:lnTo>
                      <a:pt x="120" y="11115"/>
                    </a:lnTo>
                    <a:lnTo>
                      <a:pt x="299" y="11772"/>
                    </a:lnTo>
                    <a:lnTo>
                      <a:pt x="419" y="12071"/>
                    </a:lnTo>
                    <a:lnTo>
                      <a:pt x="598" y="12429"/>
                    </a:lnTo>
                    <a:lnTo>
                      <a:pt x="1076" y="12907"/>
                    </a:lnTo>
                    <a:lnTo>
                      <a:pt x="1554" y="13385"/>
                    </a:lnTo>
                    <a:lnTo>
                      <a:pt x="2152" y="13684"/>
                    </a:lnTo>
                    <a:lnTo>
                      <a:pt x="2749" y="13983"/>
                    </a:lnTo>
                    <a:lnTo>
                      <a:pt x="3406" y="14222"/>
                    </a:lnTo>
                    <a:lnTo>
                      <a:pt x="4721" y="14640"/>
                    </a:lnTo>
                    <a:lnTo>
                      <a:pt x="5378" y="14760"/>
                    </a:lnTo>
                    <a:lnTo>
                      <a:pt x="6036" y="14760"/>
                    </a:lnTo>
                    <a:lnTo>
                      <a:pt x="6753" y="14700"/>
                    </a:lnTo>
                    <a:lnTo>
                      <a:pt x="7410" y="14521"/>
                    </a:lnTo>
                    <a:lnTo>
                      <a:pt x="8067" y="14222"/>
                    </a:lnTo>
                    <a:lnTo>
                      <a:pt x="8665" y="13923"/>
                    </a:lnTo>
                    <a:lnTo>
                      <a:pt x="9262" y="13505"/>
                    </a:lnTo>
                    <a:lnTo>
                      <a:pt x="9741" y="13086"/>
                    </a:lnTo>
                    <a:lnTo>
                      <a:pt x="10756" y="12130"/>
                    </a:lnTo>
                    <a:lnTo>
                      <a:pt x="11832" y="10935"/>
                    </a:lnTo>
                    <a:lnTo>
                      <a:pt x="12908" y="9561"/>
                    </a:lnTo>
                    <a:lnTo>
                      <a:pt x="13445" y="8844"/>
                    </a:lnTo>
                    <a:lnTo>
                      <a:pt x="13923" y="8067"/>
                    </a:lnTo>
                    <a:lnTo>
                      <a:pt x="14342" y="7290"/>
                    </a:lnTo>
                    <a:lnTo>
                      <a:pt x="14700" y="6513"/>
                    </a:lnTo>
                    <a:lnTo>
                      <a:pt x="14939" y="5737"/>
                    </a:lnTo>
                    <a:lnTo>
                      <a:pt x="15118" y="4960"/>
                    </a:lnTo>
                    <a:lnTo>
                      <a:pt x="15178" y="4183"/>
                    </a:lnTo>
                    <a:lnTo>
                      <a:pt x="15178" y="3466"/>
                    </a:lnTo>
                    <a:lnTo>
                      <a:pt x="15059" y="3107"/>
                    </a:lnTo>
                    <a:lnTo>
                      <a:pt x="14999" y="2749"/>
                    </a:lnTo>
                    <a:lnTo>
                      <a:pt x="14820" y="2390"/>
                    </a:lnTo>
                    <a:lnTo>
                      <a:pt x="14640" y="2092"/>
                    </a:lnTo>
                    <a:lnTo>
                      <a:pt x="14222" y="1494"/>
                    </a:lnTo>
                    <a:lnTo>
                      <a:pt x="13684" y="1076"/>
                    </a:lnTo>
                    <a:lnTo>
                      <a:pt x="13147" y="657"/>
                    </a:lnTo>
                    <a:lnTo>
                      <a:pt x="12489" y="418"/>
                    </a:lnTo>
                    <a:lnTo>
                      <a:pt x="11832" y="179"/>
                    </a:lnTo>
                    <a:lnTo>
                      <a:pt x="11115" y="60"/>
                    </a:lnTo>
                    <a:lnTo>
                      <a:pt x="10458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" name="Google Shape;68;p2">
                <a:extLst>
                  <a:ext uri="{FF2B5EF4-FFF2-40B4-BE49-F238E27FC236}">
                    <a16:creationId xmlns:a16="http://schemas.microsoft.com/office/drawing/2014/main" id="{04D6CFDC-9538-4D9F-8FF0-4602FECC44E8}"/>
                  </a:ext>
                </a:extLst>
              </p:cNvPr>
              <p:cNvSpPr/>
              <p:nvPr/>
            </p:nvSpPr>
            <p:spPr>
              <a:xfrm>
                <a:off x="4912930" y="846902"/>
                <a:ext cx="289739" cy="456235"/>
              </a:xfrm>
              <a:custGeom>
                <a:avLst/>
                <a:gdLst/>
                <a:ahLst/>
                <a:cxnLst/>
                <a:rect l="l" t="t" r="r" b="b"/>
                <a:pathLst>
                  <a:path w="336906" h="530506" extrusionOk="0">
                    <a:moveTo>
                      <a:pt x="136525" y="96168"/>
                    </a:moveTo>
                    <a:cubicBezTo>
                      <a:pt x="113030" y="223803"/>
                      <a:pt x="24130" y="329848"/>
                      <a:pt x="0" y="458118"/>
                    </a:cubicBezTo>
                    <a:cubicBezTo>
                      <a:pt x="60960" y="713388"/>
                      <a:pt x="264795" y="217453"/>
                      <a:pt x="278765" y="141253"/>
                    </a:cubicBezTo>
                    <a:cubicBezTo>
                      <a:pt x="291465" y="75213"/>
                      <a:pt x="152400" y="18698"/>
                      <a:pt x="136525" y="96168"/>
                    </a:cubicBezTo>
                    <a:close/>
                    <a:moveTo>
                      <a:pt x="69850" y="504473"/>
                    </a:moveTo>
                    <a:cubicBezTo>
                      <a:pt x="-16510" y="531778"/>
                      <a:pt x="43815" y="378743"/>
                      <a:pt x="63500" y="342548"/>
                    </a:cubicBezTo>
                    <a:cubicBezTo>
                      <a:pt x="111760" y="336833"/>
                      <a:pt x="138430" y="339373"/>
                      <a:pt x="164465" y="352073"/>
                    </a:cubicBezTo>
                    <a:cubicBezTo>
                      <a:pt x="137795" y="404778"/>
                      <a:pt x="107315" y="458753"/>
                      <a:pt x="69850" y="504473"/>
                    </a:cubicBezTo>
                    <a:close/>
                    <a:moveTo>
                      <a:pt x="182245" y="318418"/>
                    </a:moveTo>
                    <a:cubicBezTo>
                      <a:pt x="149860" y="327308"/>
                      <a:pt x="116205" y="321593"/>
                      <a:pt x="80645" y="319053"/>
                    </a:cubicBezTo>
                    <a:cubicBezTo>
                      <a:pt x="100330" y="253013"/>
                      <a:pt x="133350" y="192053"/>
                      <a:pt x="159385" y="127918"/>
                    </a:cubicBezTo>
                    <a:cubicBezTo>
                      <a:pt x="189230" y="139348"/>
                      <a:pt x="217170" y="150143"/>
                      <a:pt x="245110" y="161573"/>
                    </a:cubicBezTo>
                    <a:cubicBezTo>
                      <a:pt x="244475" y="190148"/>
                      <a:pt x="216535" y="259998"/>
                      <a:pt x="182245" y="318418"/>
                    </a:cubicBezTo>
                    <a:close/>
                    <a:moveTo>
                      <a:pt x="248285" y="134268"/>
                    </a:moveTo>
                    <a:cubicBezTo>
                      <a:pt x="222885" y="140618"/>
                      <a:pt x="121920" y="93628"/>
                      <a:pt x="187960" y="80928"/>
                    </a:cubicBezTo>
                    <a:cubicBezTo>
                      <a:pt x="208915" y="83468"/>
                      <a:pt x="281940" y="105693"/>
                      <a:pt x="248285" y="134268"/>
                    </a:cubicBezTo>
                    <a:close/>
                    <a:moveTo>
                      <a:pt x="295275" y="283"/>
                    </a:moveTo>
                    <a:cubicBezTo>
                      <a:pt x="224155" y="-6067"/>
                      <a:pt x="259715" y="96803"/>
                      <a:pt x="311785" y="73308"/>
                    </a:cubicBezTo>
                    <a:cubicBezTo>
                      <a:pt x="353695" y="53623"/>
                      <a:pt x="339725" y="-1622"/>
                      <a:pt x="295275" y="283"/>
                    </a:cubicBezTo>
                    <a:close/>
                    <a:moveTo>
                      <a:pt x="274320" y="30763"/>
                    </a:moveTo>
                    <a:cubicBezTo>
                      <a:pt x="290830" y="26318"/>
                      <a:pt x="303530" y="14253"/>
                      <a:pt x="317500" y="26318"/>
                    </a:cubicBezTo>
                    <a:cubicBezTo>
                      <a:pt x="329565" y="56163"/>
                      <a:pt x="273685" y="75848"/>
                      <a:pt x="274320" y="30763"/>
                    </a:cubicBezTo>
                    <a:close/>
                    <a:moveTo>
                      <a:pt x="210820" y="187608"/>
                    </a:moveTo>
                    <a:cubicBezTo>
                      <a:pt x="212090" y="151413"/>
                      <a:pt x="158115" y="146333"/>
                      <a:pt x="156210" y="186338"/>
                    </a:cubicBezTo>
                    <a:cubicBezTo>
                      <a:pt x="155575" y="216183"/>
                      <a:pt x="209550" y="217453"/>
                      <a:pt x="210820" y="187608"/>
                    </a:cubicBezTo>
                    <a:close/>
                    <a:moveTo>
                      <a:pt x="187960" y="180623"/>
                    </a:moveTo>
                    <a:cubicBezTo>
                      <a:pt x="193040" y="185068"/>
                      <a:pt x="189230" y="186973"/>
                      <a:pt x="186055" y="190783"/>
                    </a:cubicBezTo>
                    <a:cubicBezTo>
                      <a:pt x="179705" y="185068"/>
                      <a:pt x="183515" y="184433"/>
                      <a:pt x="187960" y="180623"/>
                    </a:cubicBezTo>
                    <a:close/>
                    <a:moveTo>
                      <a:pt x="167005" y="229518"/>
                    </a:moveTo>
                    <a:cubicBezTo>
                      <a:pt x="139700" y="230153"/>
                      <a:pt x="128270" y="275873"/>
                      <a:pt x="164465" y="276508"/>
                    </a:cubicBezTo>
                    <a:cubicBezTo>
                      <a:pt x="196215" y="277143"/>
                      <a:pt x="193675" y="232058"/>
                      <a:pt x="167005" y="229518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44" name="Google Shape;69;p2">
              <a:extLst>
                <a:ext uri="{FF2B5EF4-FFF2-40B4-BE49-F238E27FC236}">
                  <a16:creationId xmlns:a16="http://schemas.microsoft.com/office/drawing/2014/main" id="{FF13580C-CB14-4338-9AB3-16D33D789C93}"/>
                </a:ext>
              </a:extLst>
            </p:cNvPr>
            <p:cNvSpPr/>
            <p:nvPr/>
          </p:nvSpPr>
          <p:spPr>
            <a:xfrm>
              <a:off x="7082287" y="-53997"/>
              <a:ext cx="602898" cy="641121"/>
            </a:xfrm>
            <a:custGeom>
              <a:avLst/>
              <a:gdLst/>
              <a:ahLst/>
              <a:cxnLst/>
              <a:rect l="l" t="t" r="r" b="b"/>
              <a:pathLst>
                <a:path w="701044" h="745490" extrusionOk="0">
                  <a:moveTo>
                    <a:pt x="690343" y="116840"/>
                  </a:moveTo>
                  <a:cubicBezTo>
                    <a:pt x="663037" y="55245"/>
                    <a:pt x="674468" y="90170"/>
                    <a:pt x="624302" y="72390"/>
                  </a:cubicBezTo>
                  <a:cubicBezTo>
                    <a:pt x="483968" y="55880"/>
                    <a:pt x="352522" y="0"/>
                    <a:pt x="209647" y="0"/>
                  </a:cubicBezTo>
                  <a:cubicBezTo>
                    <a:pt x="-38003" y="735330"/>
                    <a:pt x="-186592" y="579120"/>
                    <a:pt x="475712" y="745490"/>
                  </a:cubicBezTo>
                  <a:cubicBezTo>
                    <a:pt x="548102" y="622935"/>
                    <a:pt x="579218" y="475615"/>
                    <a:pt x="631922" y="342900"/>
                  </a:cubicBezTo>
                  <a:cubicBezTo>
                    <a:pt x="640812" y="299720"/>
                    <a:pt x="731618" y="134620"/>
                    <a:pt x="690343" y="116840"/>
                  </a:cubicBezTo>
                  <a:close/>
                  <a:moveTo>
                    <a:pt x="219172" y="41275"/>
                  </a:moveTo>
                  <a:cubicBezTo>
                    <a:pt x="230602" y="-11430"/>
                    <a:pt x="585568" y="92075"/>
                    <a:pt x="641447" y="107950"/>
                  </a:cubicBezTo>
                  <a:cubicBezTo>
                    <a:pt x="585568" y="295910"/>
                    <a:pt x="517622" y="479425"/>
                    <a:pt x="438247" y="658495"/>
                  </a:cubicBezTo>
                  <a:cubicBezTo>
                    <a:pt x="294102" y="639445"/>
                    <a:pt x="169643" y="583565"/>
                    <a:pt x="30577" y="553085"/>
                  </a:cubicBezTo>
                  <a:cubicBezTo>
                    <a:pt x="79472" y="377190"/>
                    <a:pt x="160118" y="213995"/>
                    <a:pt x="219172" y="41275"/>
                  </a:cubicBezTo>
                  <a:close/>
                  <a:moveTo>
                    <a:pt x="612872" y="333375"/>
                  </a:moveTo>
                  <a:cubicBezTo>
                    <a:pt x="569058" y="462280"/>
                    <a:pt x="518893" y="588010"/>
                    <a:pt x="469997" y="715645"/>
                  </a:cubicBezTo>
                  <a:cubicBezTo>
                    <a:pt x="320772" y="690245"/>
                    <a:pt x="174087" y="657860"/>
                    <a:pt x="30577" y="610235"/>
                  </a:cubicBezTo>
                  <a:cubicBezTo>
                    <a:pt x="24227" y="600710"/>
                    <a:pt x="22958" y="591820"/>
                    <a:pt x="30577" y="581660"/>
                  </a:cubicBezTo>
                  <a:cubicBezTo>
                    <a:pt x="151227" y="589915"/>
                    <a:pt x="265527" y="648335"/>
                    <a:pt x="384272" y="674370"/>
                  </a:cubicBezTo>
                  <a:cubicBezTo>
                    <a:pt x="461108" y="708025"/>
                    <a:pt x="464283" y="661035"/>
                    <a:pt x="487143" y="600710"/>
                  </a:cubicBezTo>
                  <a:cubicBezTo>
                    <a:pt x="563343" y="445770"/>
                    <a:pt x="599537" y="280035"/>
                    <a:pt x="664943" y="121920"/>
                  </a:cubicBezTo>
                  <a:cubicBezTo>
                    <a:pt x="691612" y="187960"/>
                    <a:pt x="622397" y="264795"/>
                    <a:pt x="612872" y="333375"/>
                  </a:cubicBezTo>
                  <a:close/>
                  <a:moveTo>
                    <a:pt x="533497" y="298450"/>
                  </a:moveTo>
                  <a:cubicBezTo>
                    <a:pt x="540483" y="255270"/>
                    <a:pt x="596362" y="196850"/>
                    <a:pt x="565883" y="157480"/>
                  </a:cubicBezTo>
                  <a:cubicBezTo>
                    <a:pt x="503018" y="130810"/>
                    <a:pt x="431262" y="120650"/>
                    <a:pt x="363952" y="105410"/>
                  </a:cubicBezTo>
                  <a:cubicBezTo>
                    <a:pt x="329662" y="93980"/>
                    <a:pt x="291562" y="78105"/>
                    <a:pt x="254733" y="90805"/>
                  </a:cubicBezTo>
                  <a:cubicBezTo>
                    <a:pt x="231872" y="146685"/>
                    <a:pt x="221712" y="208280"/>
                    <a:pt x="191233" y="264160"/>
                  </a:cubicBezTo>
                  <a:cubicBezTo>
                    <a:pt x="285847" y="318135"/>
                    <a:pt x="410308" y="321310"/>
                    <a:pt x="511908" y="368300"/>
                  </a:cubicBezTo>
                  <a:cubicBezTo>
                    <a:pt x="534768" y="354965"/>
                    <a:pt x="522702" y="320040"/>
                    <a:pt x="533497" y="298450"/>
                  </a:cubicBezTo>
                  <a:close/>
                  <a:moveTo>
                    <a:pt x="224252" y="257175"/>
                  </a:moveTo>
                  <a:cubicBezTo>
                    <a:pt x="268702" y="73025"/>
                    <a:pt x="257272" y="105410"/>
                    <a:pt x="427452" y="140335"/>
                  </a:cubicBezTo>
                  <a:cubicBezTo>
                    <a:pt x="619222" y="183515"/>
                    <a:pt x="536037" y="178435"/>
                    <a:pt x="504287" y="334010"/>
                  </a:cubicBezTo>
                  <a:cubicBezTo>
                    <a:pt x="408402" y="320040"/>
                    <a:pt x="312518" y="288290"/>
                    <a:pt x="224252" y="257175"/>
                  </a:cubicBezTo>
                  <a:close/>
                  <a:moveTo>
                    <a:pt x="297912" y="153670"/>
                  </a:moveTo>
                  <a:cubicBezTo>
                    <a:pt x="239493" y="175260"/>
                    <a:pt x="427452" y="197485"/>
                    <a:pt x="442693" y="207645"/>
                  </a:cubicBezTo>
                  <a:cubicBezTo>
                    <a:pt x="456662" y="171450"/>
                    <a:pt x="325218" y="168275"/>
                    <a:pt x="297912" y="153670"/>
                  </a:cubicBezTo>
                  <a:close/>
                  <a:moveTo>
                    <a:pt x="280768" y="226060"/>
                  </a:moveTo>
                  <a:cubicBezTo>
                    <a:pt x="305533" y="227965"/>
                    <a:pt x="325852" y="247650"/>
                    <a:pt x="348077" y="226695"/>
                  </a:cubicBezTo>
                  <a:cubicBezTo>
                    <a:pt x="327122" y="221615"/>
                    <a:pt x="259812" y="190500"/>
                    <a:pt x="280768" y="22606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5" name="Google Shape;70;p2">
              <a:extLst>
                <a:ext uri="{FF2B5EF4-FFF2-40B4-BE49-F238E27FC236}">
                  <a16:creationId xmlns:a16="http://schemas.microsoft.com/office/drawing/2014/main" id="{E5A5B5C8-FD14-4385-AE28-FC4CE101CBF1}"/>
                </a:ext>
              </a:extLst>
            </p:cNvPr>
            <p:cNvSpPr/>
            <p:nvPr/>
          </p:nvSpPr>
          <p:spPr>
            <a:xfrm>
              <a:off x="4981978" y="271723"/>
              <a:ext cx="738779" cy="460515"/>
            </a:xfrm>
            <a:custGeom>
              <a:avLst/>
              <a:gdLst/>
              <a:ahLst/>
              <a:cxnLst/>
              <a:rect l="l" t="t" r="r" b="b"/>
              <a:pathLst>
                <a:path w="859045" h="535482" extrusionOk="0">
                  <a:moveTo>
                    <a:pt x="588002" y="328160"/>
                  </a:moveTo>
                  <a:cubicBezTo>
                    <a:pt x="447667" y="234815"/>
                    <a:pt x="414647" y="298950"/>
                    <a:pt x="312412" y="268470"/>
                  </a:cubicBezTo>
                  <a:cubicBezTo>
                    <a:pt x="254627" y="231640"/>
                    <a:pt x="209542" y="179570"/>
                    <a:pt x="135247" y="175760"/>
                  </a:cubicBezTo>
                  <a:cubicBezTo>
                    <a:pt x="168267" y="137660"/>
                    <a:pt x="314952" y="51935"/>
                    <a:pt x="353052" y="104640"/>
                  </a:cubicBezTo>
                  <a:cubicBezTo>
                    <a:pt x="377182" y="131310"/>
                    <a:pt x="401947" y="37965"/>
                    <a:pt x="394962" y="25265"/>
                  </a:cubicBezTo>
                  <a:cubicBezTo>
                    <a:pt x="337812" y="-50935"/>
                    <a:pt x="224782" y="67175"/>
                    <a:pt x="161282" y="91940"/>
                  </a:cubicBezTo>
                  <a:cubicBezTo>
                    <a:pt x="116832" y="124325"/>
                    <a:pt x="52697" y="142105"/>
                    <a:pt x="22852" y="189730"/>
                  </a:cubicBezTo>
                  <a:cubicBezTo>
                    <a:pt x="10787" y="253230"/>
                    <a:pt x="-31758" y="349115"/>
                    <a:pt x="43807" y="387215"/>
                  </a:cubicBezTo>
                  <a:cubicBezTo>
                    <a:pt x="95877" y="407535"/>
                    <a:pt x="179697" y="445000"/>
                    <a:pt x="226052" y="402455"/>
                  </a:cubicBezTo>
                  <a:cubicBezTo>
                    <a:pt x="252087" y="370070"/>
                    <a:pt x="276852" y="313555"/>
                    <a:pt x="325747" y="344035"/>
                  </a:cubicBezTo>
                  <a:cubicBezTo>
                    <a:pt x="344162" y="391660"/>
                    <a:pt x="297807" y="450715"/>
                    <a:pt x="356227" y="485640"/>
                  </a:cubicBezTo>
                  <a:cubicBezTo>
                    <a:pt x="408932" y="513580"/>
                    <a:pt x="501642" y="562475"/>
                    <a:pt x="552442" y="516755"/>
                  </a:cubicBezTo>
                  <a:cubicBezTo>
                    <a:pt x="594352" y="462145"/>
                    <a:pt x="588002" y="377690"/>
                    <a:pt x="659122" y="346575"/>
                  </a:cubicBezTo>
                  <a:cubicBezTo>
                    <a:pt x="711827" y="330065"/>
                    <a:pt x="769612" y="267200"/>
                    <a:pt x="825492" y="298315"/>
                  </a:cubicBezTo>
                  <a:cubicBezTo>
                    <a:pt x="836922" y="307205"/>
                    <a:pt x="850892" y="301490"/>
                    <a:pt x="857242" y="288155"/>
                  </a:cubicBezTo>
                  <a:cubicBezTo>
                    <a:pt x="881372" y="103370"/>
                    <a:pt x="656582" y="314825"/>
                    <a:pt x="588002" y="328160"/>
                  </a:cubicBezTo>
                  <a:close/>
                  <a:moveTo>
                    <a:pt x="367022" y="24630"/>
                  </a:moveTo>
                  <a:cubicBezTo>
                    <a:pt x="374007" y="56380"/>
                    <a:pt x="374007" y="56380"/>
                    <a:pt x="363847" y="76065"/>
                  </a:cubicBezTo>
                  <a:cubicBezTo>
                    <a:pt x="287647" y="35425"/>
                    <a:pt x="214622" y="112260"/>
                    <a:pt x="141597" y="130040"/>
                  </a:cubicBezTo>
                  <a:cubicBezTo>
                    <a:pt x="214622" y="91305"/>
                    <a:pt x="285742" y="15740"/>
                    <a:pt x="367022" y="24630"/>
                  </a:cubicBezTo>
                  <a:close/>
                  <a:moveTo>
                    <a:pt x="114927" y="142740"/>
                  </a:moveTo>
                  <a:cubicBezTo>
                    <a:pt x="123182" y="139565"/>
                    <a:pt x="130802" y="135755"/>
                    <a:pt x="139057" y="131945"/>
                  </a:cubicBezTo>
                  <a:cubicBezTo>
                    <a:pt x="133977" y="141470"/>
                    <a:pt x="125087" y="142740"/>
                    <a:pt x="114927" y="142740"/>
                  </a:cubicBezTo>
                  <a:cubicBezTo>
                    <a:pt x="111117" y="162425"/>
                    <a:pt x="99687" y="173220"/>
                    <a:pt x="76192" y="178300"/>
                  </a:cubicBezTo>
                  <a:cubicBezTo>
                    <a:pt x="84447" y="156710"/>
                    <a:pt x="105402" y="156075"/>
                    <a:pt x="114927" y="142740"/>
                  </a:cubicBezTo>
                  <a:close/>
                  <a:moveTo>
                    <a:pt x="506087" y="512310"/>
                  </a:moveTo>
                  <a:cubicBezTo>
                    <a:pt x="448937" y="504690"/>
                    <a:pt x="340352" y="490720"/>
                    <a:pt x="348607" y="414520"/>
                  </a:cubicBezTo>
                  <a:cubicBezTo>
                    <a:pt x="352417" y="388485"/>
                    <a:pt x="363212" y="354195"/>
                    <a:pt x="344797" y="331970"/>
                  </a:cubicBezTo>
                  <a:cubicBezTo>
                    <a:pt x="315587" y="307840"/>
                    <a:pt x="266057" y="301490"/>
                    <a:pt x="245102" y="338955"/>
                  </a:cubicBezTo>
                  <a:cubicBezTo>
                    <a:pt x="208272" y="420235"/>
                    <a:pt x="116832" y="403090"/>
                    <a:pt x="50792" y="366895"/>
                  </a:cubicBezTo>
                  <a:cubicBezTo>
                    <a:pt x="5072" y="335145"/>
                    <a:pt x="26662" y="269105"/>
                    <a:pt x="39362" y="224655"/>
                  </a:cubicBezTo>
                  <a:cubicBezTo>
                    <a:pt x="88892" y="175125"/>
                    <a:pt x="194302" y="201795"/>
                    <a:pt x="245102" y="244975"/>
                  </a:cubicBezTo>
                  <a:cubicBezTo>
                    <a:pt x="356227" y="360545"/>
                    <a:pt x="455922" y="237355"/>
                    <a:pt x="593717" y="359275"/>
                  </a:cubicBezTo>
                  <a:cubicBezTo>
                    <a:pt x="570857" y="410710"/>
                    <a:pt x="568317" y="499610"/>
                    <a:pt x="506087" y="512310"/>
                  </a:cubicBezTo>
                  <a:close/>
                  <a:moveTo>
                    <a:pt x="680077" y="302760"/>
                  </a:moveTo>
                  <a:cubicBezTo>
                    <a:pt x="680077" y="302125"/>
                    <a:pt x="680077" y="302125"/>
                    <a:pt x="679442" y="301490"/>
                  </a:cubicBezTo>
                  <a:cubicBezTo>
                    <a:pt x="679442" y="301490"/>
                    <a:pt x="680077" y="301490"/>
                    <a:pt x="680077" y="300855"/>
                  </a:cubicBezTo>
                  <a:cubicBezTo>
                    <a:pt x="680077" y="302125"/>
                    <a:pt x="680077" y="302760"/>
                    <a:pt x="680077" y="302760"/>
                  </a:cubicBezTo>
                  <a:close/>
                  <a:moveTo>
                    <a:pt x="680712" y="300855"/>
                  </a:moveTo>
                  <a:cubicBezTo>
                    <a:pt x="687697" y="296410"/>
                    <a:pt x="694682" y="291965"/>
                    <a:pt x="702302" y="289425"/>
                  </a:cubicBezTo>
                  <a:cubicBezTo>
                    <a:pt x="697857" y="303395"/>
                    <a:pt x="695952" y="304665"/>
                    <a:pt x="680712" y="300855"/>
                  </a:cubicBezTo>
                  <a:close/>
                  <a:moveTo>
                    <a:pt x="704842" y="288155"/>
                  </a:moveTo>
                  <a:cubicBezTo>
                    <a:pt x="709922" y="286885"/>
                    <a:pt x="715002" y="285615"/>
                    <a:pt x="720082" y="285615"/>
                  </a:cubicBezTo>
                  <a:cubicBezTo>
                    <a:pt x="715637" y="291965"/>
                    <a:pt x="709922" y="289425"/>
                    <a:pt x="704842" y="288155"/>
                  </a:cubicBezTo>
                  <a:close/>
                  <a:moveTo>
                    <a:pt x="836922" y="272280"/>
                  </a:moveTo>
                  <a:cubicBezTo>
                    <a:pt x="797552" y="259580"/>
                    <a:pt x="761357" y="271645"/>
                    <a:pt x="722622" y="284980"/>
                  </a:cubicBezTo>
                  <a:cubicBezTo>
                    <a:pt x="744847" y="262755"/>
                    <a:pt x="803902" y="229735"/>
                    <a:pt x="835017" y="242435"/>
                  </a:cubicBezTo>
                  <a:cubicBezTo>
                    <a:pt x="842002" y="251960"/>
                    <a:pt x="836287" y="262120"/>
                    <a:pt x="836922" y="272280"/>
                  </a:cubicBezTo>
                  <a:close/>
                  <a:moveTo>
                    <a:pt x="412107" y="311015"/>
                  </a:moveTo>
                  <a:cubicBezTo>
                    <a:pt x="310507" y="396105"/>
                    <a:pt x="406392" y="528185"/>
                    <a:pt x="519422" y="475480"/>
                  </a:cubicBezTo>
                  <a:cubicBezTo>
                    <a:pt x="629277" y="409440"/>
                    <a:pt x="504817" y="293235"/>
                    <a:pt x="412107" y="311015"/>
                  </a:cubicBezTo>
                  <a:close/>
                  <a:moveTo>
                    <a:pt x="479417" y="346575"/>
                  </a:moveTo>
                  <a:cubicBezTo>
                    <a:pt x="475607" y="357370"/>
                    <a:pt x="476877" y="367530"/>
                    <a:pt x="487672" y="376420"/>
                  </a:cubicBezTo>
                  <a:cubicBezTo>
                    <a:pt x="499737" y="386580"/>
                    <a:pt x="502912" y="401185"/>
                    <a:pt x="503547" y="416425"/>
                  </a:cubicBezTo>
                  <a:cubicBezTo>
                    <a:pt x="528312" y="451985"/>
                    <a:pt x="511802" y="373245"/>
                    <a:pt x="508627" y="362450"/>
                  </a:cubicBezTo>
                  <a:cubicBezTo>
                    <a:pt x="570857" y="377055"/>
                    <a:pt x="538472" y="462780"/>
                    <a:pt x="480687" y="465320"/>
                  </a:cubicBezTo>
                  <a:cubicBezTo>
                    <a:pt x="398772" y="478020"/>
                    <a:pt x="358767" y="380865"/>
                    <a:pt x="427347" y="333875"/>
                  </a:cubicBezTo>
                  <a:cubicBezTo>
                    <a:pt x="443857" y="336415"/>
                    <a:pt x="462907" y="330065"/>
                    <a:pt x="479417" y="346575"/>
                  </a:cubicBezTo>
                  <a:close/>
                  <a:moveTo>
                    <a:pt x="45712" y="274820"/>
                  </a:moveTo>
                  <a:cubicBezTo>
                    <a:pt x="15232" y="385945"/>
                    <a:pt x="243197" y="432935"/>
                    <a:pt x="235577" y="303395"/>
                  </a:cubicBezTo>
                  <a:cubicBezTo>
                    <a:pt x="240657" y="208780"/>
                    <a:pt x="60317" y="177665"/>
                    <a:pt x="45712" y="274820"/>
                  </a:cubicBezTo>
                  <a:close/>
                  <a:moveTo>
                    <a:pt x="97147" y="342130"/>
                  </a:moveTo>
                  <a:cubicBezTo>
                    <a:pt x="50157" y="326255"/>
                    <a:pt x="55872" y="255135"/>
                    <a:pt x="99687" y="242435"/>
                  </a:cubicBezTo>
                  <a:cubicBezTo>
                    <a:pt x="121277" y="242435"/>
                    <a:pt x="143502" y="232910"/>
                    <a:pt x="166362" y="242435"/>
                  </a:cubicBezTo>
                  <a:cubicBezTo>
                    <a:pt x="167632" y="272915"/>
                    <a:pt x="187317" y="281805"/>
                    <a:pt x="186682" y="314190"/>
                  </a:cubicBezTo>
                  <a:cubicBezTo>
                    <a:pt x="215892" y="327525"/>
                    <a:pt x="198112" y="269740"/>
                    <a:pt x="187317" y="258310"/>
                  </a:cubicBezTo>
                  <a:cubicBezTo>
                    <a:pt x="256532" y="269105"/>
                    <a:pt x="208907" y="416425"/>
                    <a:pt x="97147" y="342130"/>
                  </a:cubicBezTo>
                  <a:close/>
                  <a:moveTo>
                    <a:pt x="476242" y="414520"/>
                  </a:moveTo>
                  <a:cubicBezTo>
                    <a:pt x="494657" y="408170"/>
                    <a:pt x="478782" y="377690"/>
                    <a:pt x="459732" y="378325"/>
                  </a:cubicBezTo>
                  <a:cubicBezTo>
                    <a:pt x="465447" y="395470"/>
                    <a:pt x="461637" y="409440"/>
                    <a:pt x="476242" y="414520"/>
                  </a:cubicBezTo>
                  <a:close/>
                  <a:moveTo>
                    <a:pt x="145407" y="286250"/>
                  </a:moveTo>
                  <a:cubicBezTo>
                    <a:pt x="154297" y="305300"/>
                    <a:pt x="148582" y="333240"/>
                    <a:pt x="172077" y="340860"/>
                  </a:cubicBezTo>
                  <a:cubicBezTo>
                    <a:pt x="175887" y="321810"/>
                    <a:pt x="168267" y="265930"/>
                    <a:pt x="145407" y="28625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46" name="Google Shape;71;p2">
              <a:extLst>
                <a:ext uri="{FF2B5EF4-FFF2-40B4-BE49-F238E27FC236}">
                  <a16:creationId xmlns:a16="http://schemas.microsoft.com/office/drawing/2014/main" id="{EF0497D5-034D-4BED-B2FD-96D861FDF618}"/>
                </a:ext>
              </a:extLst>
            </p:cNvPr>
            <p:cNvGrpSpPr/>
            <p:nvPr/>
          </p:nvGrpSpPr>
          <p:grpSpPr>
            <a:xfrm>
              <a:off x="7801268" y="2011644"/>
              <a:ext cx="583849" cy="670195"/>
              <a:chOff x="7801268" y="2011644"/>
              <a:chExt cx="583849" cy="670195"/>
            </a:xfrm>
          </p:grpSpPr>
          <p:sp>
            <p:nvSpPr>
              <p:cNvPr id="82" name="Google Shape;72;p2">
                <a:extLst>
                  <a:ext uri="{FF2B5EF4-FFF2-40B4-BE49-F238E27FC236}">
                    <a16:creationId xmlns:a16="http://schemas.microsoft.com/office/drawing/2014/main" id="{17A26FFC-8348-4ABC-A812-F6E26FDB1B85}"/>
                  </a:ext>
                </a:extLst>
              </p:cNvPr>
              <p:cNvSpPr/>
              <p:nvPr/>
            </p:nvSpPr>
            <p:spPr>
              <a:xfrm rot="6678441">
                <a:off x="7840657" y="2123048"/>
                <a:ext cx="518922" cy="409425"/>
              </a:xfrm>
              <a:custGeom>
                <a:avLst/>
                <a:gdLst/>
                <a:ahLst/>
                <a:cxnLst/>
                <a:rect l="l" t="t" r="r" b="b"/>
                <a:pathLst>
                  <a:path w="15179" h="14760" extrusionOk="0">
                    <a:moveTo>
                      <a:pt x="9741" y="0"/>
                    </a:moveTo>
                    <a:lnTo>
                      <a:pt x="8306" y="60"/>
                    </a:lnTo>
                    <a:lnTo>
                      <a:pt x="7649" y="179"/>
                    </a:lnTo>
                    <a:lnTo>
                      <a:pt x="7052" y="299"/>
                    </a:lnTo>
                    <a:lnTo>
                      <a:pt x="6514" y="478"/>
                    </a:lnTo>
                    <a:lnTo>
                      <a:pt x="5916" y="777"/>
                    </a:lnTo>
                    <a:lnTo>
                      <a:pt x="5319" y="1135"/>
                    </a:lnTo>
                    <a:lnTo>
                      <a:pt x="4721" y="1613"/>
                    </a:lnTo>
                    <a:lnTo>
                      <a:pt x="3765" y="2510"/>
                    </a:lnTo>
                    <a:lnTo>
                      <a:pt x="2809" y="3585"/>
                    </a:lnTo>
                    <a:lnTo>
                      <a:pt x="1913" y="4840"/>
                    </a:lnTo>
                    <a:lnTo>
                      <a:pt x="1494" y="5557"/>
                    </a:lnTo>
                    <a:lnTo>
                      <a:pt x="1076" y="6215"/>
                    </a:lnTo>
                    <a:lnTo>
                      <a:pt x="777" y="6932"/>
                    </a:lnTo>
                    <a:lnTo>
                      <a:pt x="478" y="7649"/>
                    </a:lnTo>
                    <a:lnTo>
                      <a:pt x="239" y="8366"/>
                    </a:lnTo>
                    <a:lnTo>
                      <a:pt x="60" y="9023"/>
                    </a:lnTo>
                    <a:lnTo>
                      <a:pt x="0" y="9740"/>
                    </a:lnTo>
                    <a:lnTo>
                      <a:pt x="0" y="10457"/>
                    </a:lnTo>
                    <a:lnTo>
                      <a:pt x="120" y="11115"/>
                    </a:lnTo>
                    <a:lnTo>
                      <a:pt x="299" y="11772"/>
                    </a:lnTo>
                    <a:lnTo>
                      <a:pt x="419" y="12071"/>
                    </a:lnTo>
                    <a:lnTo>
                      <a:pt x="598" y="12429"/>
                    </a:lnTo>
                    <a:lnTo>
                      <a:pt x="1076" y="12907"/>
                    </a:lnTo>
                    <a:lnTo>
                      <a:pt x="1554" y="13385"/>
                    </a:lnTo>
                    <a:lnTo>
                      <a:pt x="2152" y="13684"/>
                    </a:lnTo>
                    <a:lnTo>
                      <a:pt x="2749" y="13983"/>
                    </a:lnTo>
                    <a:lnTo>
                      <a:pt x="3406" y="14222"/>
                    </a:lnTo>
                    <a:lnTo>
                      <a:pt x="4721" y="14640"/>
                    </a:lnTo>
                    <a:lnTo>
                      <a:pt x="5378" y="14760"/>
                    </a:lnTo>
                    <a:lnTo>
                      <a:pt x="6036" y="14760"/>
                    </a:lnTo>
                    <a:lnTo>
                      <a:pt x="6753" y="14700"/>
                    </a:lnTo>
                    <a:lnTo>
                      <a:pt x="7410" y="14521"/>
                    </a:lnTo>
                    <a:lnTo>
                      <a:pt x="8067" y="14222"/>
                    </a:lnTo>
                    <a:lnTo>
                      <a:pt x="8665" y="13923"/>
                    </a:lnTo>
                    <a:lnTo>
                      <a:pt x="9262" y="13505"/>
                    </a:lnTo>
                    <a:lnTo>
                      <a:pt x="9741" y="13086"/>
                    </a:lnTo>
                    <a:lnTo>
                      <a:pt x="10756" y="12130"/>
                    </a:lnTo>
                    <a:lnTo>
                      <a:pt x="11832" y="10935"/>
                    </a:lnTo>
                    <a:lnTo>
                      <a:pt x="12908" y="9561"/>
                    </a:lnTo>
                    <a:lnTo>
                      <a:pt x="13445" y="8844"/>
                    </a:lnTo>
                    <a:lnTo>
                      <a:pt x="13923" y="8067"/>
                    </a:lnTo>
                    <a:lnTo>
                      <a:pt x="14342" y="7290"/>
                    </a:lnTo>
                    <a:lnTo>
                      <a:pt x="14700" y="6513"/>
                    </a:lnTo>
                    <a:lnTo>
                      <a:pt x="14939" y="5737"/>
                    </a:lnTo>
                    <a:lnTo>
                      <a:pt x="15118" y="4960"/>
                    </a:lnTo>
                    <a:lnTo>
                      <a:pt x="15178" y="4183"/>
                    </a:lnTo>
                    <a:lnTo>
                      <a:pt x="15178" y="3466"/>
                    </a:lnTo>
                    <a:lnTo>
                      <a:pt x="15059" y="3107"/>
                    </a:lnTo>
                    <a:lnTo>
                      <a:pt x="14999" y="2749"/>
                    </a:lnTo>
                    <a:lnTo>
                      <a:pt x="14820" y="2390"/>
                    </a:lnTo>
                    <a:lnTo>
                      <a:pt x="14640" y="2092"/>
                    </a:lnTo>
                    <a:lnTo>
                      <a:pt x="14222" y="1494"/>
                    </a:lnTo>
                    <a:lnTo>
                      <a:pt x="13684" y="1076"/>
                    </a:lnTo>
                    <a:lnTo>
                      <a:pt x="13147" y="657"/>
                    </a:lnTo>
                    <a:lnTo>
                      <a:pt x="12489" y="418"/>
                    </a:lnTo>
                    <a:lnTo>
                      <a:pt x="11832" y="179"/>
                    </a:lnTo>
                    <a:lnTo>
                      <a:pt x="11115" y="60"/>
                    </a:lnTo>
                    <a:lnTo>
                      <a:pt x="10458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" name="Google Shape;73;p2">
                <a:extLst>
                  <a:ext uri="{FF2B5EF4-FFF2-40B4-BE49-F238E27FC236}">
                    <a16:creationId xmlns:a16="http://schemas.microsoft.com/office/drawing/2014/main" id="{5BD01DDA-6970-4AD9-88E1-5EC430ADC778}"/>
                  </a:ext>
                </a:extLst>
              </p:cNvPr>
              <p:cNvSpPr/>
              <p:nvPr/>
            </p:nvSpPr>
            <p:spPr>
              <a:xfrm rot="-1245048">
                <a:off x="7884626" y="2097617"/>
                <a:ext cx="363919" cy="537176"/>
              </a:xfrm>
              <a:custGeom>
                <a:avLst/>
                <a:gdLst/>
                <a:ahLst/>
                <a:cxnLst/>
                <a:rect l="l" t="t" r="r" b="b"/>
                <a:pathLst>
                  <a:path w="422747" h="624012" extrusionOk="0">
                    <a:moveTo>
                      <a:pt x="410845" y="259621"/>
                    </a:moveTo>
                    <a:cubicBezTo>
                      <a:pt x="398145" y="183421"/>
                      <a:pt x="422275" y="81821"/>
                      <a:pt x="377825" y="18321"/>
                    </a:cubicBezTo>
                    <a:cubicBezTo>
                      <a:pt x="294640" y="-22319"/>
                      <a:pt x="191770" y="15781"/>
                      <a:pt x="103505" y="26576"/>
                    </a:cubicBezTo>
                    <a:cubicBezTo>
                      <a:pt x="76836" y="36101"/>
                      <a:pt x="38100" y="32291"/>
                      <a:pt x="17780" y="51976"/>
                    </a:cubicBezTo>
                    <a:cubicBezTo>
                      <a:pt x="17145" y="62771"/>
                      <a:pt x="5715" y="62771"/>
                      <a:pt x="0" y="72931"/>
                    </a:cubicBezTo>
                    <a:cubicBezTo>
                      <a:pt x="19686" y="229776"/>
                      <a:pt x="7620" y="389161"/>
                      <a:pt x="13970" y="547276"/>
                    </a:cubicBezTo>
                    <a:cubicBezTo>
                      <a:pt x="-6350" y="657766"/>
                      <a:pt x="162561" y="615856"/>
                      <a:pt x="227330" y="617761"/>
                    </a:cubicBezTo>
                    <a:cubicBezTo>
                      <a:pt x="270511" y="592361"/>
                      <a:pt x="426086" y="628556"/>
                      <a:pt x="422275" y="570771"/>
                    </a:cubicBezTo>
                    <a:cubicBezTo>
                      <a:pt x="424815" y="467266"/>
                      <a:pt x="416561" y="363126"/>
                      <a:pt x="410845" y="259621"/>
                    </a:cubicBezTo>
                    <a:close/>
                    <a:moveTo>
                      <a:pt x="353061" y="579026"/>
                    </a:moveTo>
                    <a:cubicBezTo>
                      <a:pt x="288925" y="577121"/>
                      <a:pt x="60961" y="637446"/>
                      <a:pt x="38736" y="575851"/>
                    </a:cubicBezTo>
                    <a:cubicBezTo>
                      <a:pt x="143511" y="579026"/>
                      <a:pt x="248286" y="572676"/>
                      <a:pt x="353061" y="574581"/>
                    </a:cubicBezTo>
                    <a:cubicBezTo>
                      <a:pt x="353061" y="575851"/>
                      <a:pt x="353061" y="577121"/>
                      <a:pt x="353061" y="579026"/>
                    </a:cubicBezTo>
                    <a:close/>
                    <a:moveTo>
                      <a:pt x="361315" y="547911"/>
                    </a:moveTo>
                    <a:cubicBezTo>
                      <a:pt x="252095" y="555531"/>
                      <a:pt x="144145" y="561881"/>
                      <a:pt x="35561" y="551086"/>
                    </a:cubicBezTo>
                    <a:cubicBezTo>
                      <a:pt x="39370" y="392971"/>
                      <a:pt x="33020" y="236761"/>
                      <a:pt x="27305" y="79281"/>
                    </a:cubicBezTo>
                    <a:cubicBezTo>
                      <a:pt x="112395" y="27846"/>
                      <a:pt x="231775" y="25941"/>
                      <a:pt x="329565" y="25941"/>
                    </a:cubicBezTo>
                    <a:cubicBezTo>
                      <a:pt x="369570" y="197391"/>
                      <a:pt x="365761" y="373286"/>
                      <a:pt x="361315" y="547911"/>
                    </a:cubicBezTo>
                    <a:close/>
                    <a:moveTo>
                      <a:pt x="377190" y="141511"/>
                    </a:moveTo>
                    <a:cubicBezTo>
                      <a:pt x="360045" y="110396"/>
                      <a:pt x="364490" y="76106"/>
                      <a:pt x="356870" y="41816"/>
                    </a:cubicBezTo>
                    <a:cubicBezTo>
                      <a:pt x="381000" y="13241"/>
                      <a:pt x="381000" y="121826"/>
                      <a:pt x="377190" y="141511"/>
                    </a:cubicBezTo>
                    <a:close/>
                    <a:moveTo>
                      <a:pt x="397511" y="544736"/>
                    </a:moveTo>
                    <a:cubicBezTo>
                      <a:pt x="372745" y="497746"/>
                      <a:pt x="394336" y="431071"/>
                      <a:pt x="387350" y="376461"/>
                    </a:cubicBezTo>
                    <a:cubicBezTo>
                      <a:pt x="401955" y="370746"/>
                      <a:pt x="402590" y="530766"/>
                      <a:pt x="397511" y="544736"/>
                    </a:cubicBezTo>
                    <a:close/>
                    <a:moveTo>
                      <a:pt x="302895" y="182786"/>
                    </a:moveTo>
                    <a:cubicBezTo>
                      <a:pt x="313690" y="183421"/>
                      <a:pt x="331470" y="173896"/>
                      <a:pt x="320675" y="162466"/>
                    </a:cubicBezTo>
                    <a:cubicBezTo>
                      <a:pt x="297180" y="138336"/>
                      <a:pt x="309880" y="104046"/>
                      <a:pt x="300355" y="74836"/>
                    </a:cubicBezTo>
                    <a:cubicBezTo>
                      <a:pt x="307340" y="35466"/>
                      <a:pt x="90170" y="76741"/>
                      <a:pt x="59690" y="81821"/>
                    </a:cubicBezTo>
                    <a:cubicBezTo>
                      <a:pt x="48261" y="119921"/>
                      <a:pt x="77470" y="152941"/>
                      <a:pt x="62865" y="194851"/>
                    </a:cubicBezTo>
                    <a:cubicBezTo>
                      <a:pt x="148590" y="206916"/>
                      <a:pt x="211455" y="177071"/>
                      <a:pt x="302895" y="182786"/>
                    </a:cubicBezTo>
                    <a:close/>
                    <a:moveTo>
                      <a:pt x="282575" y="83091"/>
                    </a:moveTo>
                    <a:cubicBezTo>
                      <a:pt x="292100" y="105316"/>
                      <a:pt x="287655" y="127541"/>
                      <a:pt x="290830" y="149131"/>
                    </a:cubicBezTo>
                    <a:cubicBezTo>
                      <a:pt x="227965" y="172626"/>
                      <a:pt x="154940" y="172626"/>
                      <a:pt x="87630" y="174531"/>
                    </a:cubicBezTo>
                    <a:cubicBezTo>
                      <a:pt x="75565" y="151671"/>
                      <a:pt x="83820" y="128176"/>
                      <a:pt x="72390" y="104046"/>
                    </a:cubicBezTo>
                    <a:cubicBezTo>
                      <a:pt x="140970" y="86266"/>
                      <a:pt x="212725" y="81821"/>
                      <a:pt x="282575" y="83091"/>
                    </a:cubicBezTo>
                    <a:close/>
                    <a:moveTo>
                      <a:pt x="274955" y="383446"/>
                    </a:moveTo>
                    <a:cubicBezTo>
                      <a:pt x="257811" y="411386"/>
                      <a:pt x="281305" y="441866"/>
                      <a:pt x="268605" y="477426"/>
                    </a:cubicBezTo>
                    <a:cubicBezTo>
                      <a:pt x="244475" y="452026"/>
                      <a:pt x="215900" y="479331"/>
                      <a:pt x="189865" y="461551"/>
                    </a:cubicBezTo>
                    <a:cubicBezTo>
                      <a:pt x="175261" y="454566"/>
                      <a:pt x="163195" y="458376"/>
                      <a:pt x="153036" y="471076"/>
                    </a:cubicBezTo>
                    <a:cubicBezTo>
                      <a:pt x="159386" y="509176"/>
                      <a:pt x="156845" y="525686"/>
                      <a:pt x="204470" y="518066"/>
                    </a:cubicBezTo>
                    <a:cubicBezTo>
                      <a:pt x="208280" y="509811"/>
                      <a:pt x="212725" y="500921"/>
                      <a:pt x="218440" y="490761"/>
                    </a:cubicBezTo>
                    <a:cubicBezTo>
                      <a:pt x="223520" y="501556"/>
                      <a:pt x="227330" y="510446"/>
                      <a:pt x="232411" y="521241"/>
                    </a:cubicBezTo>
                    <a:cubicBezTo>
                      <a:pt x="243840" y="517431"/>
                      <a:pt x="253365" y="513621"/>
                      <a:pt x="263525" y="510446"/>
                    </a:cubicBezTo>
                    <a:cubicBezTo>
                      <a:pt x="290195" y="526321"/>
                      <a:pt x="290195" y="526321"/>
                      <a:pt x="328295" y="509811"/>
                    </a:cubicBezTo>
                    <a:cubicBezTo>
                      <a:pt x="327661" y="468536"/>
                      <a:pt x="347345" y="349791"/>
                      <a:pt x="274955" y="383446"/>
                    </a:cubicBezTo>
                    <a:close/>
                    <a:moveTo>
                      <a:pt x="193040" y="500921"/>
                    </a:moveTo>
                    <a:cubicBezTo>
                      <a:pt x="177800" y="500921"/>
                      <a:pt x="173990" y="498381"/>
                      <a:pt x="173355" y="489491"/>
                    </a:cubicBezTo>
                    <a:cubicBezTo>
                      <a:pt x="176530" y="469806"/>
                      <a:pt x="203836" y="475521"/>
                      <a:pt x="193040" y="500921"/>
                    </a:cubicBezTo>
                    <a:close/>
                    <a:moveTo>
                      <a:pt x="309245" y="497111"/>
                    </a:moveTo>
                    <a:cubicBezTo>
                      <a:pt x="302261" y="498381"/>
                      <a:pt x="296545" y="499016"/>
                      <a:pt x="290830" y="499651"/>
                    </a:cubicBezTo>
                    <a:cubicBezTo>
                      <a:pt x="267970" y="379636"/>
                      <a:pt x="323215" y="357411"/>
                      <a:pt x="309245" y="497111"/>
                    </a:cubicBezTo>
                    <a:close/>
                    <a:moveTo>
                      <a:pt x="296545" y="210091"/>
                    </a:moveTo>
                    <a:cubicBezTo>
                      <a:pt x="233680" y="208186"/>
                      <a:pt x="267970" y="301531"/>
                      <a:pt x="319405" y="275496"/>
                    </a:cubicBezTo>
                    <a:cubicBezTo>
                      <a:pt x="336550" y="264066"/>
                      <a:pt x="332740" y="203741"/>
                      <a:pt x="296545" y="210091"/>
                    </a:cubicBezTo>
                    <a:close/>
                    <a:moveTo>
                      <a:pt x="297815" y="259621"/>
                    </a:moveTo>
                    <a:cubicBezTo>
                      <a:pt x="281940" y="260891"/>
                      <a:pt x="273050" y="230411"/>
                      <a:pt x="294640" y="229141"/>
                    </a:cubicBezTo>
                    <a:cubicBezTo>
                      <a:pt x="314961" y="225331"/>
                      <a:pt x="313690" y="259621"/>
                      <a:pt x="297815" y="259621"/>
                    </a:cubicBezTo>
                    <a:close/>
                    <a:moveTo>
                      <a:pt x="244475" y="359316"/>
                    </a:moveTo>
                    <a:cubicBezTo>
                      <a:pt x="244475" y="342171"/>
                      <a:pt x="245111" y="327566"/>
                      <a:pt x="244475" y="312961"/>
                    </a:cubicBezTo>
                    <a:cubicBezTo>
                      <a:pt x="243205" y="288196"/>
                      <a:pt x="198120" y="286926"/>
                      <a:pt x="201930" y="315501"/>
                    </a:cubicBezTo>
                    <a:cubicBezTo>
                      <a:pt x="203836" y="344076"/>
                      <a:pt x="207645" y="372651"/>
                      <a:pt x="244475" y="359316"/>
                    </a:cubicBezTo>
                    <a:close/>
                    <a:moveTo>
                      <a:pt x="89536" y="305976"/>
                    </a:moveTo>
                    <a:cubicBezTo>
                      <a:pt x="83186" y="326296"/>
                      <a:pt x="95886" y="344711"/>
                      <a:pt x="95250" y="365666"/>
                    </a:cubicBezTo>
                    <a:cubicBezTo>
                      <a:pt x="164465" y="385986"/>
                      <a:pt x="142240" y="276131"/>
                      <a:pt x="89536" y="305976"/>
                    </a:cubicBezTo>
                    <a:close/>
                    <a:moveTo>
                      <a:pt x="111125" y="321851"/>
                    </a:moveTo>
                    <a:cubicBezTo>
                      <a:pt x="123190" y="324391"/>
                      <a:pt x="117475" y="335186"/>
                      <a:pt x="118745" y="345346"/>
                    </a:cubicBezTo>
                    <a:cubicBezTo>
                      <a:pt x="105411" y="341536"/>
                      <a:pt x="100965" y="326931"/>
                      <a:pt x="111125" y="321851"/>
                    </a:cubicBezTo>
                    <a:close/>
                    <a:moveTo>
                      <a:pt x="136525" y="446946"/>
                    </a:moveTo>
                    <a:cubicBezTo>
                      <a:pt x="143511" y="375191"/>
                      <a:pt x="60961" y="365031"/>
                      <a:pt x="86995" y="447581"/>
                    </a:cubicBezTo>
                    <a:cubicBezTo>
                      <a:pt x="114300" y="460916"/>
                      <a:pt x="114300" y="460916"/>
                      <a:pt x="136525" y="446946"/>
                    </a:cubicBezTo>
                    <a:close/>
                    <a:moveTo>
                      <a:pt x="100330" y="420911"/>
                    </a:moveTo>
                    <a:cubicBezTo>
                      <a:pt x="104775" y="394876"/>
                      <a:pt x="135255" y="420276"/>
                      <a:pt x="120650" y="436151"/>
                    </a:cubicBezTo>
                    <a:cubicBezTo>
                      <a:pt x="109220" y="446946"/>
                      <a:pt x="99061" y="432976"/>
                      <a:pt x="100330" y="420911"/>
                    </a:cubicBezTo>
                    <a:close/>
                    <a:moveTo>
                      <a:pt x="195580" y="443136"/>
                    </a:moveTo>
                    <a:cubicBezTo>
                      <a:pt x="203200" y="439961"/>
                      <a:pt x="205105" y="432341"/>
                      <a:pt x="201295" y="418371"/>
                    </a:cubicBezTo>
                    <a:cubicBezTo>
                      <a:pt x="196850" y="387891"/>
                      <a:pt x="176530" y="387891"/>
                      <a:pt x="149861" y="392336"/>
                    </a:cubicBezTo>
                    <a:cubicBezTo>
                      <a:pt x="140336" y="422181"/>
                      <a:pt x="160655" y="461551"/>
                      <a:pt x="195580" y="443136"/>
                    </a:cubicBezTo>
                    <a:close/>
                    <a:moveTo>
                      <a:pt x="167640" y="418371"/>
                    </a:moveTo>
                    <a:cubicBezTo>
                      <a:pt x="172086" y="406306"/>
                      <a:pt x="187961" y="408846"/>
                      <a:pt x="187961" y="424086"/>
                    </a:cubicBezTo>
                    <a:cubicBezTo>
                      <a:pt x="182245" y="432341"/>
                      <a:pt x="165736" y="429801"/>
                      <a:pt x="167640" y="418371"/>
                    </a:cubicBezTo>
                    <a:close/>
                    <a:moveTo>
                      <a:pt x="153670" y="298356"/>
                    </a:moveTo>
                    <a:cubicBezTo>
                      <a:pt x="156211" y="323756"/>
                      <a:pt x="149861" y="351696"/>
                      <a:pt x="179705" y="368206"/>
                    </a:cubicBezTo>
                    <a:cubicBezTo>
                      <a:pt x="205105" y="341536"/>
                      <a:pt x="201930" y="284386"/>
                      <a:pt x="153670" y="298356"/>
                    </a:cubicBezTo>
                    <a:close/>
                    <a:moveTo>
                      <a:pt x="281940" y="293276"/>
                    </a:moveTo>
                    <a:cubicBezTo>
                      <a:pt x="253365" y="305341"/>
                      <a:pt x="274955" y="359951"/>
                      <a:pt x="304165" y="356141"/>
                    </a:cubicBezTo>
                    <a:cubicBezTo>
                      <a:pt x="340995" y="335186"/>
                      <a:pt x="321311" y="295181"/>
                      <a:pt x="281940" y="293276"/>
                    </a:cubicBezTo>
                    <a:close/>
                    <a:moveTo>
                      <a:pt x="295911" y="331376"/>
                    </a:moveTo>
                    <a:cubicBezTo>
                      <a:pt x="282575" y="330741"/>
                      <a:pt x="287020" y="317406"/>
                      <a:pt x="297180" y="311691"/>
                    </a:cubicBezTo>
                    <a:cubicBezTo>
                      <a:pt x="304800" y="321216"/>
                      <a:pt x="306070" y="326931"/>
                      <a:pt x="295911" y="331376"/>
                    </a:cubicBezTo>
                    <a:close/>
                    <a:moveTo>
                      <a:pt x="123825" y="282481"/>
                    </a:moveTo>
                    <a:cubicBezTo>
                      <a:pt x="137795" y="226601"/>
                      <a:pt x="78740" y="200566"/>
                      <a:pt x="79375" y="252001"/>
                    </a:cubicBezTo>
                    <a:cubicBezTo>
                      <a:pt x="79375" y="279306"/>
                      <a:pt x="96520" y="290101"/>
                      <a:pt x="123825" y="282481"/>
                    </a:cubicBezTo>
                    <a:close/>
                    <a:moveTo>
                      <a:pt x="98425" y="248826"/>
                    </a:moveTo>
                    <a:cubicBezTo>
                      <a:pt x="99695" y="250096"/>
                      <a:pt x="100330" y="251366"/>
                      <a:pt x="101600" y="252636"/>
                    </a:cubicBezTo>
                    <a:cubicBezTo>
                      <a:pt x="100330" y="253906"/>
                      <a:pt x="99061" y="254541"/>
                      <a:pt x="97155" y="255811"/>
                    </a:cubicBezTo>
                    <a:cubicBezTo>
                      <a:pt x="94615" y="252636"/>
                      <a:pt x="97155" y="250731"/>
                      <a:pt x="98425" y="248826"/>
                    </a:cubicBezTo>
                    <a:close/>
                    <a:moveTo>
                      <a:pt x="92075" y="494571"/>
                    </a:moveTo>
                    <a:cubicBezTo>
                      <a:pt x="85090" y="528861"/>
                      <a:pt x="130811" y="542831"/>
                      <a:pt x="140336" y="509176"/>
                    </a:cubicBezTo>
                    <a:cubicBezTo>
                      <a:pt x="157480" y="470441"/>
                      <a:pt x="92075" y="442501"/>
                      <a:pt x="92075" y="494571"/>
                    </a:cubicBezTo>
                    <a:close/>
                    <a:moveTo>
                      <a:pt x="120650" y="509176"/>
                    </a:moveTo>
                    <a:cubicBezTo>
                      <a:pt x="103505" y="511081"/>
                      <a:pt x="111125" y="487586"/>
                      <a:pt x="123190" y="483141"/>
                    </a:cubicBezTo>
                    <a:cubicBezTo>
                      <a:pt x="133986" y="490126"/>
                      <a:pt x="130811" y="503461"/>
                      <a:pt x="120650" y="509176"/>
                    </a:cubicBezTo>
                    <a:close/>
                    <a:moveTo>
                      <a:pt x="202565" y="236126"/>
                    </a:moveTo>
                    <a:cubicBezTo>
                      <a:pt x="179070" y="285656"/>
                      <a:pt x="231140" y="297721"/>
                      <a:pt x="239395" y="257716"/>
                    </a:cubicBezTo>
                    <a:cubicBezTo>
                      <a:pt x="245111" y="238666"/>
                      <a:pt x="234315" y="207551"/>
                      <a:pt x="211455" y="216441"/>
                    </a:cubicBezTo>
                    <a:cubicBezTo>
                      <a:pt x="207011" y="231046"/>
                      <a:pt x="232411" y="231046"/>
                      <a:pt x="218440" y="250731"/>
                    </a:cubicBezTo>
                    <a:cubicBezTo>
                      <a:pt x="213995" y="245651"/>
                      <a:pt x="210186" y="242476"/>
                      <a:pt x="202565" y="236126"/>
                    </a:cubicBezTo>
                    <a:close/>
                    <a:moveTo>
                      <a:pt x="168911" y="271686"/>
                    </a:moveTo>
                    <a:cubicBezTo>
                      <a:pt x="217805" y="236126"/>
                      <a:pt x="125730" y="175801"/>
                      <a:pt x="143511" y="248826"/>
                    </a:cubicBezTo>
                    <a:cubicBezTo>
                      <a:pt x="134620" y="267241"/>
                      <a:pt x="151765" y="288831"/>
                      <a:pt x="168911" y="271686"/>
                    </a:cubicBezTo>
                    <a:close/>
                    <a:moveTo>
                      <a:pt x="161925" y="243111"/>
                    </a:moveTo>
                    <a:cubicBezTo>
                      <a:pt x="161290" y="244381"/>
                      <a:pt x="161290" y="245016"/>
                      <a:pt x="160655" y="246921"/>
                    </a:cubicBezTo>
                    <a:cubicBezTo>
                      <a:pt x="159386" y="243746"/>
                      <a:pt x="158750" y="243111"/>
                      <a:pt x="161925" y="243111"/>
                    </a:cubicBezTo>
                    <a:close/>
                    <a:moveTo>
                      <a:pt x="238125" y="450121"/>
                    </a:moveTo>
                    <a:cubicBezTo>
                      <a:pt x="280036" y="441866"/>
                      <a:pt x="257811" y="388526"/>
                      <a:pt x="221615" y="387256"/>
                    </a:cubicBezTo>
                    <a:cubicBezTo>
                      <a:pt x="212725" y="409481"/>
                      <a:pt x="210820" y="448216"/>
                      <a:pt x="238125" y="450121"/>
                    </a:cubicBezTo>
                    <a:close/>
                    <a:moveTo>
                      <a:pt x="241936" y="415831"/>
                    </a:moveTo>
                    <a:cubicBezTo>
                      <a:pt x="243840" y="417736"/>
                      <a:pt x="245745" y="419641"/>
                      <a:pt x="248920" y="422816"/>
                    </a:cubicBezTo>
                    <a:cubicBezTo>
                      <a:pt x="245111" y="425991"/>
                      <a:pt x="241936" y="427896"/>
                      <a:pt x="239395" y="429801"/>
                    </a:cubicBezTo>
                    <a:cubicBezTo>
                      <a:pt x="235586" y="424086"/>
                      <a:pt x="235586" y="420276"/>
                      <a:pt x="241936" y="415831"/>
                    </a:cubicBezTo>
                    <a:close/>
                    <a:moveTo>
                      <a:pt x="272415" y="107856"/>
                    </a:moveTo>
                    <a:cubicBezTo>
                      <a:pt x="263525" y="83091"/>
                      <a:pt x="234315" y="98966"/>
                      <a:pt x="234950" y="120556"/>
                    </a:cubicBezTo>
                    <a:cubicBezTo>
                      <a:pt x="233045" y="161196"/>
                      <a:pt x="292736" y="142781"/>
                      <a:pt x="272415" y="107856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grpSp>
          <p:nvGrpSpPr>
            <p:cNvPr id="47" name="Google Shape;74;p2">
              <a:extLst>
                <a:ext uri="{FF2B5EF4-FFF2-40B4-BE49-F238E27FC236}">
                  <a16:creationId xmlns:a16="http://schemas.microsoft.com/office/drawing/2014/main" id="{659C0682-6BC4-4294-943E-0123E3492480}"/>
                </a:ext>
              </a:extLst>
            </p:cNvPr>
            <p:cNvGrpSpPr/>
            <p:nvPr/>
          </p:nvGrpSpPr>
          <p:grpSpPr>
            <a:xfrm>
              <a:off x="286734" y="1360788"/>
              <a:ext cx="437027" cy="515682"/>
              <a:chOff x="286734" y="1360788"/>
              <a:chExt cx="437027" cy="515682"/>
            </a:xfrm>
          </p:grpSpPr>
          <p:sp>
            <p:nvSpPr>
              <p:cNvPr id="80" name="Google Shape;75;p2">
                <a:extLst>
                  <a:ext uri="{FF2B5EF4-FFF2-40B4-BE49-F238E27FC236}">
                    <a16:creationId xmlns:a16="http://schemas.microsoft.com/office/drawing/2014/main" id="{73DCC9B3-C9C8-4AA7-A179-BC5D1EFCFE34}"/>
                  </a:ext>
                </a:extLst>
              </p:cNvPr>
              <p:cNvSpPr/>
              <p:nvPr/>
            </p:nvSpPr>
            <p:spPr>
              <a:xfrm>
                <a:off x="286734" y="1396113"/>
                <a:ext cx="288826" cy="292506"/>
              </a:xfrm>
              <a:custGeom>
                <a:avLst/>
                <a:gdLst/>
                <a:ahLst/>
                <a:cxnLst/>
                <a:rect l="l" t="t" r="r" b="b"/>
                <a:pathLst>
                  <a:path w="23544" h="23844" extrusionOk="0">
                    <a:moveTo>
                      <a:pt x="12429" y="1"/>
                    </a:moveTo>
                    <a:lnTo>
                      <a:pt x="11234" y="120"/>
                    </a:lnTo>
                    <a:lnTo>
                      <a:pt x="10099" y="359"/>
                    </a:lnTo>
                    <a:lnTo>
                      <a:pt x="9023" y="718"/>
                    </a:lnTo>
                    <a:lnTo>
                      <a:pt x="7948" y="1136"/>
                    </a:lnTo>
                    <a:lnTo>
                      <a:pt x="6872" y="1614"/>
                    </a:lnTo>
                    <a:lnTo>
                      <a:pt x="5856" y="2212"/>
                    </a:lnTo>
                    <a:lnTo>
                      <a:pt x="4960" y="2869"/>
                    </a:lnTo>
                    <a:lnTo>
                      <a:pt x="4064" y="3586"/>
                    </a:lnTo>
                    <a:lnTo>
                      <a:pt x="3227" y="4363"/>
                    </a:lnTo>
                    <a:lnTo>
                      <a:pt x="2510" y="5259"/>
                    </a:lnTo>
                    <a:lnTo>
                      <a:pt x="1853" y="6156"/>
                    </a:lnTo>
                    <a:lnTo>
                      <a:pt x="1255" y="7112"/>
                    </a:lnTo>
                    <a:lnTo>
                      <a:pt x="777" y="8128"/>
                    </a:lnTo>
                    <a:lnTo>
                      <a:pt x="418" y="9203"/>
                    </a:lnTo>
                    <a:lnTo>
                      <a:pt x="179" y="10279"/>
                    </a:lnTo>
                    <a:lnTo>
                      <a:pt x="0" y="11414"/>
                    </a:lnTo>
                    <a:lnTo>
                      <a:pt x="0" y="12609"/>
                    </a:lnTo>
                    <a:lnTo>
                      <a:pt x="179" y="13804"/>
                    </a:lnTo>
                    <a:lnTo>
                      <a:pt x="418" y="14999"/>
                    </a:lnTo>
                    <a:lnTo>
                      <a:pt x="777" y="16075"/>
                    </a:lnTo>
                    <a:lnTo>
                      <a:pt x="1315" y="17151"/>
                    </a:lnTo>
                    <a:lnTo>
                      <a:pt x="1912" y="18166"/>
                    </a:lnTo>
                    <a:lnTo>
                      <a:pt x="2570" y="19063"/>
                    </a:lnTo>
                    <a:lnTo>
                      <a:pt x="3346" y="19959"/>
                    </a:lnTo>
                    <a:lnTo>
                      <a:pt x="4243" y="20736"/>
                    </a:lnTo>
                    <a:lnTo>
                      <a:pt x="5139" y="21453"/>
                    </a:lnTo>
                    <a:lnTo>
                      <a:pt x="6155" y="22110"/>
                    </a:lnTo>
                    <a:lnTo>
                      <a:pt x="7171" y="22648"/>
                    </a:lnTo>
                    <a:lnTo>
                      <a:pt x="8306" y="23066"/>
                    </a:lnTo>
                    <a:lnTo>
                      <a:pt x="9382" y="23425"/>
                    </a:lnTo>
                    <a:lnTo>
                      <a:pt x="10517" y="23664"/>
                    </a:lnTo>
                    <a:lnTo>
                      <a:pt x="11712" y="23783"/>
                    </a:lnTo>
                    <a:lnTo>
                      <a:pt x="12848" y="23843"/>
                    </a:lnTo>
                    <a:lnTo>
                      <a:pt x="14043" y="23724"/>
                    </a:lnTo>
                    <a:lnTo>
                      <a:pt x="15238" y="23485"/>
                    </a:lnTo>
                    <a:lnTo>
                      <a:pt x="16373" y="23066"/>
                    </a:lnTo>
                    <a:lnTo>
                      <a:pt x="17449" y="22588"/>
                    </a:lnTo>
                    <a:lnTo>
                      <a:pt x="18465" y="21991"/>
                    </a:lnTo>
                    <a:lnTo>
                      <a:pt x="19421" y="21274"/>
                    </a:lnTo>
                    <a:lnTo>
                      <a:pt x="20317" y="20497"/>
                    </a:lnTo>
                    <a:lnTo>
                      <a:pt x="21094" y="19660"/>
                    </a:lnTo>
                    <a:lnTo>
                      <a:pt x="21751" y="18704"/>
                    </a:lnTo>
                    <a:lnTo>
                      <a:pt x="22349" y="17688"/>
                    </a:lnTo>
                    <a:lnTo>
                      <a:pt x="22827" y="16673"/>
                    </a:lnTo>
                    <a:lnTo>
                      <a:pt x="23185" y="15537"/>
                    </a:lnTo>
                    <a:lnTo>
                      <a:pt x="23424" y="14402"/>
                    </a:lnTo>
                    <a:lnTo>
                      <a:pt x="23544" y="13207"/>
                    </a:lnTo>
                    <a:lnTo>
                      <a:pt x="23544" y="12071"/>
                    </a:lnTo>
                    <a:lnTo>
                      <a:pt x="23484" y="11474"/>
                    </a:lnTo>
                    <a:lnTo>
                      <a:pt x="23364" y="10876"/>
                    </a:lnTo>
                    <a:lnTo>
                      <a:pt x="23185" y="10279"/>
                    </a:lnTo>
                    <a:lnTo>
                      <a:pt x="23006" y="9681"/>
                    </a:lnTo>
                    <a:lnTo>
                      <a:pt x="23006" y="9024"/>
                    </a:lnTo>
                    <a:lnTo>
                      <a:pt x="22946" y="8426"/>
                    </a:lnTo>
                    <a:lnTo>
                      <a:pt x="22827" y="7889"/>
                    </a:lnTo>
                    <a:lnTo>
                      <a:pt x="22707" y="7291"/>
                    </a:lnTo>
                    <a:lnTo>
                      <a:pt x="22528" y="6753"/>
                    </a:lnTo>
                    <a:lnTo>
                      <a:pt x="22349" y="6215"/>
                    </a:lnTo>
                    <a:lnTo>
                      <a:pt x="21811" y="5200"/>
                    </a:lnTo>
                    <a:lnTo>
                      <a:pt x="21213" y="4243"/>
                    </a:lnTo>
                    <a:lnTo>
                      <a:pt x="20496" y="3407"/>
                    </a:lnTo>
                    <a:lnTo>
                      <a:pt x="19719" y="2630"/>
                    </a:lnTo>
                    <a:lnTo>
                      <a:pt x="18823" y="1973"/>
                    </a:lnTo>
                    <a:lnTo>
                      <a:pt x="17867" y="1375"/>
                    </a:lnTo>
                    <a:lnTo>
                      <a:pt x="16851" y="837"/>
                    </a:lnTo>
                    <a:lnTo>
                      <a:pt x="15776" y="479"/>
                    </a:lnTo>
                    <a:lnTo>
                      <a:pt x="14700" y="180"/>
                    </a:lnTo>
                    <a:lnTo>
                      <a:pt x="13565" y="61"/>
                    </a:lnTo>
                    <a:lnTo>
                      <a:pt x="12429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" name="Google Shape;76;p2">
                <a:extLst>
                  <a:ext uri="{FF2B5EF4-FFF2-40B4-BE49-F238E27FC236}">
                    <a16:creationId xmlns:a16="http://schemas.microsoft.com/office/drawing/2014/main" id="{126F0858-6408-4050-BBCE-F70FADA594F6}"/>
                  </a:ext>
                </a:extLst>
              </p:cNvPr>
              <p:cNvSpPr/>
              <p:nvPr/>
            </p:nvSpPr>
            <p:spPr>
              <a:xfrm>
                <a:off x="313599" y="1360788"/>
                <a:ext cx="410163" cy="515682"/>
              </a:xfrm>
              <a:custGeom>
                <a:avLst/>
                <a:gdLst/>
                <a:ahLst/>
                <a:cxnLst/>
                <a:rect l="l" t="t" r="r" b="b"/>
                <a:pathLst>
                  <a:path w="556153" h="699230" extrusionOk="0">
                    <a:moveTo>
                      <a:pt x="410424" y="391256"/>
                    </a:moveTo>
                    <a:cubicBezTo>
                      <a:pt x="574889" y="156941"/>
                      <a:pt x="291679" y="-137064"/>
                      <a:pt x="71334" y="70581"/>
                    </a:cubicBezTo>
                    <a:cubicBezTo>
                      <a:pt x="-104561" y="236316"/>
                      <a:pt x="73239" y="511271"/>
                      <a:pt x="296759" y="455391"/>
                    </a:cubicBezTo>
                    <a:cubicBezTo>
                      <a:pt x="352639" y="534131"/>
                      <a:pt x="400899" y="617316"/>
                      <a:pt x="452969" y="699231"/>
                    </a:cubicBezTo>
                    <a:cubicBezTo>
                      <a:pt x="687919" y="695421"/>
                      <a:pt x="454239" y="483331"/>
                      <a:pt x="410424" y="391256"/>
                    </a:cubicBezTo>
                    <a:close/>
                    <a:moveTo>
                      <a:pt x="33234" y="166466"/>
                    </a:moveTo>
                    <a:cubicBezTo>
                      <a:pt x="120864" y="-48164"/>
                      <a:pt x="449794" y="-11334"/>
                      <a:pt x="437094" y="238856"/>
                    </a:cubicBezTo>
                    <a:cubicBezTo>
                      <a:pt x="427569" y="553181"/>
                      <a:pt x="-57571" y="469996"/>
                      <a:pt x="33234" y="166466"/>
                    </a:cubicBezTo>
                    <a:close/>
                    <a:moveTo>
                      <a:pt x="440904" y="631286"/>
                    </a:moveTo>
                    <a:cubicBezTo>
                      <a:pt x="404074" y="569056"/>
                      <a:pt x="351369" y="511271"/>
                      <a:pt x="325969" y="443961"/>
                    </a:cubicBezTo>
                    <a:cubicBezTo>
                      <a:pt x="345654" y="433166"/>
                      <a:pt x="365974" y="422371"/>
                      <a:pt x="389469" y="410306"/>
                    </a:cubicBezTo>
                    <a:cubicBezTo>
                      <a:pt x="429474" y="468091"/>
                      <a:pt x="590129" y="620491"/>
                      <a:pt x="440904" y="631286"/>
                    </a:cubicBezTo>
                    <a:close/>
                    <a:moveTo>
                      <a:pt x="459954" y="661131"/>
                    </a:moveTo>
                    <a:cubicBezTo>
                      <a:pt x="480909" y="647796"/>
                      <a:pt x="502499" y="634461"/>
                      <a:pt x="523454" y="620491"/>
                    </a:cubicBezTo>
                    <a:cubicBezTo>
                      <a:pt x="559649" y="647161"/>
                      <a:pt x="464399" y="711931"/>
                      <a:pt x="459954" y="661131"/>
                    </a:cubicBezTo>
                    <a:close/>
                    <a:moveTo>
                      <a:pt x="233259" y="64231"/>
                    </a:moveTo>
                    <a:cubicBezTo>
                      <a:pt x="-27726" y="91536"/>
                      <a:pt x="43394" y="449676"/>
                      <a:pt x="284694" y="393161"/>
                    </a:cubicBezTo>
                    <a:cubicBezTo>
                      <a:pt x="475194" y="323311"/>
                      <a:pt x="433284" y="80106"/>
                      <a:pt x="233259" y="64231"/>
                    </a:cubicBezTo>
                    <a:close/>
                    <a:moveTo>
                      <a:pt x="242784" y="379826"/>
                    </a:moveTo>
                    <a:cubicBezTo>
                      <a:pt x="26249" y="375381"/>
                      <a:pt x="54824" y="54071"/>
                      <a:pt x="264374" y="97251"/>
                    </a:cubicBezTo>
                    <a:cubicBezTo>
                      <a:pt x="449159" y="111221"/>
                      <a:pt x="402804" y="363316"/>
                      <a:pt x="242784" y="379826"/>
                    </a:cubicBezTo>
                    <a:close/>
                    <a:moveTo>
                      <a:pt x="225639" y="156306"/>
                    </a:moveTo>
                    <a:cubicBezTo>
                      <a:pt x="252944" y="146146"/>
                      <a:pt x="271359" y="166466"/>
                      <a:pt x="297394" y="166466"/>
                    </a:cubicBezTo>
                    <a:cubicBezTo>
                      <a:pt x="308824" y="120111"/>
                      <a:pt x="169759" y="120111"/>
                      <a:pt x="225639" y="156306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48" name="Google Shape;77;p2">
              <a:extLst>
                <a:ext uri="{FF2B5EF4-FFF2-40B4-BE49-F238E27FC236}">
                  <a16:creationId xmlns:a16="http://schemas.microsoft.com/office/drawing/2014/main" id="{A3AA01DC-6A07-4C85-B5EF-4D5A93B2A10D}"/>
                </a:ext>
              </a:extLst>
            </p:cNvPr>
            <p:cNvSpPr/>
            <p:nvPr/>
          </p:nvSpPr>
          <p:spPr>
            <a:xfrm>
              <a:off x="2688787" y="4098763"/>
              <a:ext cx="455682" cy="432729"/>
            </a:xfrm>
            <a:custGeom>
              <a:avLst/>
              <a:gdLst/>
              <a:ahLst/>
              <a:cxnLst/>
              <a:rect l="l" t="t" r="r" b="b"/>
              <a:pathLst>
                <a:path w="529863" h="503173" extrusionOk="0">
                  <a:moveTo>
                    <a:pt x="284791" y="7"/>
                  </a:moveTo>
                  <a:cubicBezTo>
                    <a:pt x="128581" y="-1263"/>
                    <a:pt x="-16834" y="165107"/>
                    <a:pt x="1581" y="320047"/>
                  </a:cubicBezTo>
                  <a:cubicBezTo>
                    <a:pt x="39046" y="421647"/>
                    <a:pt x="142551" y="523247"/>
                    <a:pt x="258756" y="499752"/>
                  </a:cubicBezTo>
                  <a:cubicBezTo>
                    <a:pt x="592766" y="480702"/>
                    <a:pt x="637216" y="23502"/>
                    <a:pt x="284791" y="7"/>
                  </a:cubicBezTo>
                  <a:close/>
                  <a:moveTo>
                    <a:pt x="19996" y="279407"/>
                  </a:moveTo>
                  <a:cubicBezTo>
                    <a:pt x="54921" y="-23488"/>
                    <a:pt x="481641" y="-98418"/>
                    <a:pt x="510216" y="240037"/>
                  </a:cubicBezTo>
                  <a:cubicBezTo>
                    <a:pt x="498786" y="520707"/>
                    <a:pt x="47936" y="583572"/>
                    <a:pt x="19996" y="279407"/>
                  </a:cubicBezTo>
                  <a:close/>
                  <a:moveTo>
                    <a:pt x="420681" y="98432"/>
                  </a:moveTo>
                  <a:cubicBezTo>
                    <a:pt x="381311" y="71127"/>
                    <a:pt x="348926" y="18422"/>
                    <a:pt x="295586" y="25407"/>
                  </a:cubicBezTo>
                  <a:cubicBezTo>
                    <a:pt x="53651" y="36837"/>
                    <a:pt x="-66364" y="403867"/>
                    <a:pt x="216211" y="458477"/>
                  </a:cubicBezTo>
                  <a:cubicBezTo>
                    <a:pt x="395916" y="493402"/>
                    <a:pt x="611181" y="219082"/>
                    <a:pt x="420681" y="98432"/>
                  </a:cubicBezTo>
                  <a:close/>
                  <a:moveTo>
                    <a:pt x="448621" y="292742"/>
                  </a:moveTo>
                  <a:cubicBezTo>
                    <a:pt x="448621" y="321952"/>
                    <a:pt x="428301" y="340367"/>
                    <a:pt x="413061" y="361957"/>
                  </a:cubicBezTo>
                  <a:cubicBezTo>
                    <a:pt x="404171" y="358782"/>
                    <a:pt x="396551" y="356242"/>
                    <a:pt x="385756" y="353067"/>
                  </a:cubicBezTo>
                  <a:cubicBezTo>
                    <a:pt x="387026" y="363227"/>
                    <a:pt x="387661" y="371482"/>
                    <a:pt x="388931" y="381007"/>
                  </a:cubicBezTo>
                  <a:cubicBezTo>
                    <a:pt x="376866" y="389262"/>
                    <a:pt x="363531" y="398152"/>
                    <a:pt x="354006" y="405137"/>
                  </a:cubicBezTo>
                  <a:cubicBezTo>
                    <a:pt x="338131" y="406407"/>
                    <a:pt x="337496" y="387357"/>
                    <a:pt x="321621" y="391167"/>
                  </a:cubicBezTo>
                  <a:cubicBezTo>
                    <a:pt x="324796" y="427362"/>
                    <a:pt x="291776" y="441967"/>
                    <a:pt x="249231" y="436887"/>
                  </a:cubicBezTo>
                  <a:cubicBezTo>
                    <a:pt x="251771" y="392437"/>
                    <a:pt x="220656" y="385452"/>
                    <a:pt x="220656" y="434982"/>
                  </a:cubicBezTo>
                  <a:cubicBezTo>
                    <a:pt x="184461" y="439427"/>
                    <a:pt x="133661" y="422917"/>
                    <a:pt x="131121" y="384182"/>
                  </a:cubicBezTo>
                  <a:cubicBezTo>
                    <a:pt x="123501" y="374022"/>
                    <a:pt x="104451" y="381007"/>
                    <a:pt x="100641" y="363862"/>
                  </a:cubicBezTo>
                  <a:cubicBezTo>
                    <a:pt x="126676" y="342907"/>
                    <a:pt x="106356" y="340367"/>
                    <a:pt x="84131" y="337192"/>
                  </a:cubicBezTo>
                  <a:cubicBezTo>
                    <a:pt x="71431" y="309887"/>
                    <a:pt x="63176" y="283217"/>
                    <a:pt x="75241" y="253372"/>
                  </a:cubicBezTo>
                  <a:cubicBezTo>
                    <a:pt x="119691" y="255277"/>
                    <a:pt x="140011" y="238132"/>
                    <a:pt x="83496" y="227972"/>
                  </a:cubicBezTo>
                  <a:cubicBezTo>
                    <a:pt x="84131" y="196857"/>
                    <a:pt x="95561" y="172092"/>
                    <a:pt x="115246" y="151137"/>
                  </a:cubicBezTo>
                  <a:cubicBezTo>
                    <a:pt x="136836" y="150502"/>
                    <a:pt x="150171" y="158122"/>
                    <a:pt x="136201" y="127642"/>
                  </a:cubicBezTo>
                  <a:cubicBezTo>
                    <a:pt x="174301" y="55252"/>
                    <a:pt x="207321" y="129547"/>
                    <a:pt x="205416" y="75572"/>
                  </a:cubicBezTo>
                  <a:cubicBezTo>
                    <a:pt x="230181" y="48267"/>
                    <a:pt x="263201" y="50172"/>
                    <a:pt x="297491" y="50172"/>
                  </a:cubicBezTo>
                  <a:cubicBezTo>
                    <a:pt x="295586" y="66682"/>
                    <a:pt x="308921" y="107957"/>
                    <a:pt x="323526" y="78747"/>
                  </a:cubicBezTo>
                  <a:cubicBezTo>
                    <a:pt x="319716" y="17152"/>
                    <a:pt x="382581" y="87637"/>
                    <a:pt x="399726" y="104147"/>
                  </a:cubicBezTo>
                  <a:cubicBezTo>
                    <a:pt x="394646" y="118117"/>
                    <a:pt x="385121" y="125102"/>
                    <a:pt x="399726" y="135262"/>
                  </a:cubicBezTo>
                  <a:cubicBezTo>
                    <a:pt x="409251" y="131452"/>
                    <a:pt x="417506" y="128277"/>
                    <a:pt x="427031" y="124467"/>
                  </a:cubicBezTo>
                  <a:cubicBezTo>
                    <a:pt x="440366" y="138437"/>
                    <a:pt x="451161" y="153042"/>
                    <a:pt x="461956" y="168917"/>
                  </a:cubicBezTo>
                  <a:cubicBezTo>
                    <a:pt x="451796" y="175267"/>
                    <a:pt x="444176" y="179712"/>
                    <a:pt x="436556" y="184157"/>
                  </a:cubicBezTo>
                  <a:cubicBezTo>
                    <a:pt x="444176" y="199397"/>
                    <a:pt x="459416" y="190507"/>
                    <a:pt x="470846" y="199397"/>
                  </a:cubicBezTo>
                  <a:cubicBezTo>
                    <a:pt x="475926" y="240037"/>
                    <a:pt x="467036" y="281947"/>
                    <a:pt x="416871" y="266707"/>
                  </a:cubicBezTo>
                  <a:cubicBezTo>
                    <a:pt x="388931" y="285757"/>
                    <a:pt x="434651" y="288297"/>
                    <a:pt x="448621" y="292742"/>
                  </a:cubicBezTo>
                  <a:close/>
                  <a:moveTo>
                    <a:pt x="304476" y="222892"/>
                  </a:moveTo>
                  <a:cubicBezTo>
                    <a:pt x="320351" y="55887"/>
                    <a:pt x="287966" y="104782"/>
                    <a:pt x="251771" y="225432"/>
                  </a:cubicBezTo>
                  <a:cubicBezTo>
                    <a:pt x="240341" y="251467"/>
                    <a:pt x="258121" y="281312"/>
                    <a:pt x="287966" y="270517"/>
                  </a:cubicBezTo>
                  <a:cubicBezTo>
                    <a:pt x="318446" y="260357"/>
                    <a:pt x="343846" y="239402"/>
                    <a:pt x="374961" y="232417"/>
                  </a:cubicBezTo>
                  <a:cubicBezTo>
                    <a:pt x="383216" y="231147"/>
                    <a:pt x="386391" y="223527"/>
                    <a:pt x="384486" y="215272"/>
                  </a:cubicBezTo>
                  <a:cubicBezTo>
                    <a:pt x="370516" y="186062"/>
                    <a:pt x="329241" y="220987"/>
                    <a:pt x="304476" y="222892"/>
                  </a:cubicBezTo>
                  <a:close/>
                  <a:moveTo>
                    <a:pt x="273996" y="229242"/>
                  </a:moveTo>
                  <a:cubicBezTo>
                    <a:pt x="273996" y="219717"/>
                    <a:pt x="273996" y="209557"/>
                    <a:pt x="282886" y="201937"/>
                  </a:cubicBezTo>
                  <a:cubicBezTo>
                    <a:pt x="282251" y="220352"/>
                    <a:pt x="282251" y="220987"/>
                    <a:pt x="273996" y="22924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49" name="Google Shape;78;p2">
              <a:extLst>
                <a:ext uri="{FF2B5EF4-FFF2-40B4-BE49-F238E27FC236}">
                  <a16:creationId xmlns:a16="http://schemas.microsoft.com/office/drawing/2014/main" id="{388C9D55-90F3-4356-87AA-968D9E2FEAF3}"/>
                </a:ext>
              </a:extLst>
            </p:cNvPr>
            <p:cNvSpPr/>
            <p:nvPr/>
          </p:nvSpPr>
          <p:spPr>
            <a:xfrm>
              <a:off x="933400" y="1069738"/>
              <a:ext cx="175646" cy="373020"/>
            </a:xfrm>
            <a:custGeom>
              <a:avLst/>
              <a:gdLst/>
              <a:ahLst/>
              <a:cxnLst/>
              <a:rect l="l" t="t" r="r" b="b"/>
              <a:pathLst>
                <a:path w="342723" h="727844" extrusionOk="0">
                  <a:moveTo>
                    <a:pt x="45039" y="381062"/>
                  </a:moveTo>
                  <a:cubicBezTo>
                    <a:pt x="-1317" y="378522"/>
                    <a:pt x="-11476" y="360107"/>
                    <a:pt x="12653" y="325182"/>
                  </a:cubicBezTo>
                  <a:cubicBezTo>
                    <a:pt x="39958" y="272477"/>
                    <a:pt x="46308" y="211517"/>
                    <a:pt x="66628" y="156272"/>
                  </a:cubicBezTo>
                  <a:cubicBezTo>
                    <a:pt x="88853" y="99757"/>
                    <a:pt x="95203" y="15302"/>
                    <a:pt x="167594" y="3237"/>
                  </a:cubicBezTo>
                  <a:cubicBezTo>
                    <a:pt x="221569" y="-5653"/>
                    <a:pt x="288878" y="2602"/>
                    <a:pt x="328249" y="42607"/>
                  </a:cubicBezTo>
                  <a:cubicBezTo>
                    <a:pt x="373333" y="154367"/>
                    <a:pt x="300944" y="280097"/>
                    <a:pt x="276178" y="390587"/>
                  </a:cubicBezTo>
                  <a:cubicBezTo>
                    <a:pt x="243158" y="499807"/>
                    <a:pt x="232999" y="643317"/>
                    <a:pt x="145369" y="722058"/>
                  </a:cubicBezTo>
                  <a:cubicBezTo>
                    <a:pt x="-64181" y="765872"/>
                    <a:pt x="59008" y="549972"/>
                    <a:pt x="74883" y="441387"/>
                  </a:cubicBezTo>
                  <a:cubicBezTo>
                    <a:pt x="96474" y="381062"/>
                    <a:pt x="117428" y="174052"/>
                    <a:pt x="175849" y="160082"/>
                  </a:cubicBezTo>
                  <a:cubicBezTo>
                    <a:pt x="205058" y="153097"/>
                    <a:pt x="234269" y="157542"/>
                    <a:pt x="230458" y="194372"/>
                  </a:cubicBezTo>
                  <a:cubicBezTo>
                    <a:pt x="240619" y="221677"/>
                    <a:pt x="129494" y="694752"/>
                    <a:pt x="133303" y="503617"/>
                  </a:cubicBezTo>
                  <a:cubicBezTo>
                    <a:pt x="150449" y="416622"/>
                    <a:pt x="184103" y="330262"/>
                    <a:pt x="181564" y="240727"/>
                  </a:cubicBezTo>
                  <a:cubicBezTo>
                    <a:pt x="130764" y="306132"/>
                    <a:pt x="137749" y="399477"/>
                    <a:pt x="109174" y="476312"/>
                  </a:cubicBezTo>
                  <a:cubicBezTo>
                    <a:pt x="105999" y="530922"/>
                    <a:pt x="19639" y="685862"/>
                    <a:pt x="116158" y="683957"/>
                  </a:cubicBezTo>
                  <a:cubicBezTo>
                    <a:pt x="208869" y="661732"/>
                    <a:pt x="231094" y="334707"/>
                    <a:pt x="270464" y="240092"/>
                  </a:cubicBezTo>
                  <a:cubicBezTo>
                    <a:pt x="276178" y="187387"/>
                    <a:pt x="298403" y="109917"/>
                    <a:pt x="252683" y="71182"/>
                  </a:cubicBezTo>
                  <a:cubicBezTo>
                    <a:pt x="213314" y="45147"/>
                    <a:pt x="172674" y="52767"/>
                    <a:pt x="144099" y="91502"/>
                  </a:cubicBezTo>
                  <a:cubicBezTo>
                    <a:pt x="95203" y="181037"/>
                    <a:pt x="85678" y="287717"/>
                    <a:pt x="45039" y="381062"/>
                  </a:cubicBezTo>
                  <a:close/>
                  <a:moveTo>
                    <a:pt x="300944" y="198182"/>
                  </a:moveTo>
                  <a:cubicBezTo>
                    <a:pt x="321899" y="177227"/>
                    <a:pt x="309833" y="138492"/>
                    <a:pt x="314914" y="110552"/>
                  </a:cubicBezTo>
                  <a:cubicBezTo>
                    <a:pt x="319358" y="81342"/>
                    <a:pt x="322533" y="48322"/>
                    <a:pt x="288878" y="37527"/>
                  </a:cubicBezTo>
                  <a:cubicBezTo>
                    <a:pt x="246969" y="18477"/>
                    <a:pt x="137749" y="1332"/>
                    <a:pt x="133303" y="62292"/>
                  </a:cubicBezTo>
                  <a:cubicBezTo>
                    <a:pt x="243794" y="-24703"/>
                    <a:pt x="324439" y="87692"/>
                    <a:pt x="300944" y="200722"/>
                  </a:cubicBezTo>
                  <a:cubicBezTo>
                    <a:pt x="300944" y="200087"/>
                    <a:pt x="300944" y="199452"/>
                    <a:pt x="300944" y="198182"/>
                  </a:cubicBezTo>
                  <a:close/>
                  <a:moveTo>
                    <a:pt x="124414" y="705547"/>
                  </a:moveTo>
                  <a:cubicBezTo>
                    <a:pt x="92028" y="697927"/>
                    <a:pt x="73614" y="690942"/>
                    <a:pt x="47578" y="676972"/>
                  </a:cubicBezTo>
                  <a:cubicBezTo>
                    <a:pt x="39958" y="705547"/>
                    <a:pt x="97744" y="711897"/>
                    <a:pt x="124414" y="70554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0" name="Google Shape;79;p2">
              <a:extLst>
                <a:ext uri="{FF2B5EF4-FFF2-40B4-BE49-F238E27FC236}">
                  <a16:creationId xmlns:a16="http://schemas.microsoft.com/office/drawing/2014/main" id="{F3A5549A-876E-45E2-A621-E4C04BEA4816}"/>
                </a:ext>
              </a:extLst>
            </p:cNvPr>
            <p:cNvSpPr/>
            <p:nvPr/>
          </p:nvSpPr>
          <p:spPr>
            <a:xfrm>
              <a:off x="8204352" y="3801552"/>
              <a:ext cx="240787" cy="203050"/>
            </a:xfrm>
            <a:custGeom>
              <a:avLst/>
              <a:gdLst/>
              <a:ahLst/>
              <a:cxnLst/>
              <a:rect l="l" t="t" r="r" b="b"/>
              <a:pathLst>
                <a:path w="279985" h="236105" extrusionOk="0">
                  <a:moveTo>
                    <a:pt x="224300" y="47511"/>
                  </a:moveTo>
                  <a:cubicBezTo>
                    <a:pt x="226204" y="79261"/>
                    <a:pt x="221125" y="105931"/>
                    <a:pt x="208425" y="131331"/>
                  </a:cubicBezTo>
                  <a:cubicBezTo>
                    <a:pt x="221759" y="154826"/>
                    <a:pt x="285895" y="220866"/>
                    <a:pt x="279545" y="236106"/>
                  </a:cubicBezTo>
                  <a:cubicBezTo>
                    <a:pt x="240175" y="235471"/>
                    <a:pt x="211600" y="195466"/>
                    <a:pt x="177309" y="177686"/>
                  </a:cubicBezTo>
                  <a:cubicBezTo>
                    <a:pt x="143654" y="201816"/>
                    <a:pt x="92220" y="247536"/>
                    <a:pt x="79520" y="180226"/>
                  </a:cubicBezTo>
                  <a:cubicBezTo>
                    <a:pt x="76979" y="116091"/>
                    <a:pt x="-26525" y="129426"/>
                    <a:pt x="6495" y="57671"/>
                  </a:cubicBezTo>
                  <a:cubicBezTo>
                    <a:pt x="60470" y="-73774"/>
                    <a:pt x="91584" y="62116"/>
                    <a:pt x="169054" y="51321"/>
                  </a:cubicBezTo>
                  <a:cubicBezTo>
                    <a:pt x="187470" y="48781"/>
                    <a:pt x="205884" y="39891"/>
                    <a:pt x="224300" y="47511"/>
                  </a:cubicBezTo>
                  <a:close/>
                  <a:moveTo>
                    <a:pt x="217950" y="187211"/>
                  </a:moveTo>
                  <a:cubicBezTo>
                    <a:pt x="218584" y="187211"/>
                    <a:pt x="218584" y="186576"/>
                    <a:pt x="219220" y="186576"/>
                  </a:cubicBezTo>
                  <a:cubicBezTo>
                    <a:pt x="218584" y="186576"/>
                    <a:pt x="217950" y="187211"/>
                    <a:pt x="217315" y="187211"/>
                  </a:cubicBezTo>
                  <a:cubicBezTo>
                    <a:pt x="224300" y="172606"/>
                    <a:pt x="211600" y="156096"/>
                    <a:pt x="196995" y="158636"/>
                  </a:cubicBezTo>
                  <a:cubicBezTo>
                    <a:pt x="196359" y="171336"/>
                    <a:pt x="210329" y="177686"/>
                    <a:pt x="217950" y="187211"/>
                  </a:cubicBezTo>
                  <a:close/>
                  <a:moveTo>
                    <a:pt x="87140" y="47511"/>
                  </a:moveTo>
                  <a:cubicBezTo>
                    <a:pt x="75075" y="65926"/>
                    <a:pt x="63009" y="84341"/>
                    <a:pt x="50945" y="103391"/>
                  </a:cubicBezTo>
                  <a:cubicBezTo>
                    <a:pt x="66820" y="119901"/>
                    <a:pt x="82059" y="135776"/>
                    <a:pt x="96665" y="151016"/>
                  </a:cubicBezTo>
                  <a:cubicBezTo>
                    <a:pt x="125875" y="135776"/>
                    <a:pt x="153815" y="112281"/>
                    <a:pt x="149370" y="78626"/>
                  </a:cubicBezTo>
                  <a:cubicBezTo>
                    <a:pt x="129684" y="69101"/>
                    <a:pt x="110634" y="59576"/>
                    <a:pt x="87140" y="47511"/>
                  </a:cubicBezTo>
                  <a:close/>
                  <a:moveTo>
                    <a:pt x="202075" y="76721"/>
                  </a:moveTo>
                  <a:cubicBezTo>
                    <a:pt x="174770" y="65291"/>
                    <a:pt x="153179" y="156096"/>
                    <a:pt x="103650" y="180861"/>
                  </a:cubicBezTo>
                  <a:cubicBezTo>
                    <a:pt x="118890" y="218961"/>
                    <a:pt x="213504" y="108471"/>
                    <a:pt x="202075" y="76721"/>
                  </a:cubicBezTo>
                  <a:close/>
                  <a:moveTo>
                    <a:pt x="22370" y="86246"/>
                  </a:moveTo>
                  <a:cubicBezTo>
                    <a:pt x="54120" y="77356"/>
                    <a:pt x="60470" y="54496"/>
                    <a:pt x="67454" y="32271"/>
                  </a:cubicBezTo>
                  <a:cubicBezTo>
                    <a:pt x="47134" y="4331"/>
                    <a:pt x="24909" y="63386"/>
                    <a:pt x="22370" y="8624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1" name="Google Shape;80;p2">
              <a:extLst>
                <a:ext uri="{FF2B5EF4-FFF2-40B4-BE49-F238E27FC236}">
                  <a16:creationId xmlns:a16="http://schemas.microsoft.com/office/drawing/2014/main" id="{E19FCB57-4C77-4452-9EDE-9CF05C41F758}"/>
                </a:ext>
              </a:extLst>
            </p:cNvPr>
            <p:cNvSpPr/>
            <p:nvPr/>
          </p:nvSpPr>
          <p:spPr>
            <a:xfrm>
              <a:off x="8204357" y="240186"/>
              <a:ext cx="175884" cy="174728"/>
            </a:xfrm>
            <a:custGeom>
              <a:avLst/>
              <a:gdLst/>
              <a:ahLst/>
              <a:cxnLst/>
              <a:rect l="l" t="t" r="r" b="b"/>
              <a:pathLst>
                <a:path w="204516" h="203172" extrusionOk="0">
                  <a:moveTo>
                    <a:pt x="139555" y="137768"/>
                  </a:moveTo>
                  <a:cubicBezTo>
                    <a:pt x="146541" y="154278"/>
                    <a:pt x="194166" y="201903"/>
                    <a:pt x="157971" y="203173"/>
                  </a:cubicBezTo>
                  <a:cubicBezTo>
                    <a:pt x="139555" y="186028"/>
                    <a:pt x="135746" y="163168"/>
                    <a:pt x="112250" y="148563"/>
                  </a:cubicBezTo>
                  <a:cubicBezTo>
                    <a:pt x="-110000" y="230478"/>
                    <a:pt x="44941" y="-27967"/>
                    <a:pt x="173210" y="2513"/>
                  </a:cubicBezTo>
                  <a:cubicBezTo>
                    <a:pt x="245600" y="34898"/>
                    <a:pt x="174480" y="104113"/>
                    <a:pt x="139555" y="137768"/>
                  </a:cubicBezTo>
                  <a:close/>
                  <a:moveTo>
                    <a:pt x="184005" y="29183"/>
                  </a:moveTo>
                  <a:cubicBezTo>
                    <a:pt x="117330" y="1243"/>
                    <a:pt x="46846" y="67283"/>
                    <a:pt x="20175" y="123163"/>
                  </a:cubicBezTo>
                  <a:cubicBezTo>
                    <a:pt x="32875" y="190473"/>
                    <a:pt x="196705" y="83158"/>
                    <a:pt x="184005" y="2918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52" name="Google Shape;81;p2">
              <a:extLst>
                <a:ext uri="{FF2B5EF4-FFF2-40B4-BE49-F238E27FC236}">
                  <a16:creationId xmlns:a16="http://schemas.microsoft.com/office/drawing/2014/main" id="{991E8543-6457-41EF-A093-9737A2F9EE38}"/>
                </a:ext>
              </a:extLst>
            </p:cNvPr>
            <p:cNvGrpSpPr/>
            <p:nvPr/>
          </p:nvGrpSpPr>
          <p:grpSpPr>
            <a:xfrm>
              <a:off x="8513660" y="3273951"/>
              <a:ext cx="236955" cy="259508"/>
              <a:chOff x="1624551" y="3569952"/>
              <a:chExt cx="236955" cy="259508"/>
            </a:xfrm>
          </p:grpSpPr>
          <p:sp>
            <p:nvSpPr>
              <p:cNvPr id="78" name="Google Shape;82;p2">
                <a:extLst>
                  <a:ext uri="{FF2B5EF4-FFF2-40B4-BE49-F238E27FC236}">
                    <a16:creationId xmlns:a16="http://schemas.microsoft.com/office/drawing/2014/main" id="{C7DF3842-B862-4240-8CA8-E8140697D3DC}"/>
                  </a:ext>
                </a:extLst>
              </p:cNvPr>
              <p:cNvSpPr/>
              <p:nvPr/>
            </p:nvSpPr>
            <p:spPr>
              <a:xfrm>
                <a:off x="1624551" y="3569952"/>
                <a:ext cx="224786" cy="227651"/>
              </a:xfrm>
              <a:custGeom>
                <a:avLst/>
                <a:gdLst/>
                <a:ahLst/>
                <a:cxnLst/>
                <a:rect l="l" t="t" r="r" b="b"/>
                <a:pathLst>
                  <a:path w="23544" h="23844" extrusionOk="0">
                    <a:moveTo>
                      <a:pt x="12429" y="1"/>
                    </a:moveTo>
                    <a:lnTo>
                      <a:pt x="11234" y="120"/>
                    </a:lnTo>
                    <a:lnTo>
                      <a:pt x="10099" y="359"/>
                    </a:lnTo>
                    <a:lnTo>
                      <a:pt x="9023" y="718"/>
                    </a:lnTo>
                    <a:lnTo>
                      <a:pt x="7948" y="1136"/>
                    </a:lnTo>
                    <a:lnTo>
                      <a:pt x="6872" y="1614"/>
                    </a:lnTo>
                    <a:lnTo>
                      <a:pt x="5856" y="2212"/>
                    </a:lnTo>
                    <a:lnTo>
                      <a:pt x="4960" y="2869"/>
                    </a:lnTo>
                    <a:lnTo>
                      <a:pt x="4064" y="3586"/>
                    </a:lnTo>
                    <a:lnTo>
                      <a:pt x="3227" y="4363"/>
                    </a:lnTo>
                    <a:lnTo>
                      <a:pt x="2510" y="5259"/>
                    </a:lnTo>
                    <a:lnTo>
                      <a:pt x="1853" y="6156"/>
                    </a:lnTo>
                    <a:lnTo>
                      <a:pt x="1255" y="7112"/>
                    </a:lnTo>
                    <a:lnTo>
                      <a:pt x="777" y="8128"/>
                    </a:lnTo>
                    <a:lnTo>
                      <a:pt x="418" y="9203"/>
                    </a:lnTo>
                    <a:lnTo>
                      <a:pt x="179" y="10279"/>
                    </a:lnTo>
                    <a:lnTo>
                      <a:pt x="0" y="11414"/>
                    </a:lnTo>
                    <a:lnTo>
                      <a:pt x="0" y="12609"/>
                    </a:lnTo>
                    <a:lnTo>
                      <a:pt x="179" y="13804"/>
                    </a:lnTo>
                    <a:lnTo>
                      <a:pt x="418" y="14999"/>
                    </a:lnTo>
                    <a:lnTo>
                      <a:pt x="777" y="16075"/>
                    </a:lnTo>
                    <a:lnTo>
                      <a:pt x="1315" y="17151"/>
                    </a:lnTo>
                    <a:lnTo>
                      <a:pt x="1912" y="18166"/>
                    </a:lnTo>
                    <a:lnTo>
                      <a:pt x="2570" y="19063"/>
                    </a:lnTo>
                    <a:lnTo>
                      <a:pt x="3346" y="19959"/>
                    </a:lnTo>
                    <a:lnTo>
                      <a:pt x="4243" y="20736"/>
                    </a:lnTo>
                    <a:lnTo>
                      <a:pt x="5139" y="21453"/>
                    </a:lnTo>
                    <a:lnTo>
                      <a:pt x="6155" y="22110"/>
                    </a:lnTo>
                    <a:lnTo>
                      <a:pt x="7171" y="22648"/>
                    </a:lnTo>
                    <a:lnTo>
                      <a:pt x="8306" y="23066"/>
                    </a:lnTo>
                    <a:lnTo>
                      <a:pt x="9382" y="23425"/>
                    </a:lnTo>
                    <a:lnTo>
                      <a:pt x="10517" y="23664"/>
                    </a:lnTo>
                    <a:lnTo>
                      <a:pt x="11712" y="23783"/>
                    </a:lnTo>
                    <a:lnTo>
                      <a:pt x="12848" y="23843"/>
                    </a:lnTo>
                    <a:lnTo>
                      <a:pt x="14043" y="23724"/>
                    </a:lnTo>
                    <a:lnTo>
                      <a:pt x="15238" y="23485"/>
                    </a:lnTo>
                    <a:lnTo>
                      <a:pt x="16373" y="23066"/>
                    </a:lnTo>
                    <a:lnTo>
                      <a:pt x="17449" y="22588"/>
                    </a:lnTo>
                    <a:lnTo>
                      <a:pt x="18465" y="21991"/>
                    </a:lnTo>
                    <a:lnTo>
                      <a:pt x="19421" y="21274"/>
                    </a:lnTo>
                    <a:lnTo>
                      <a:pt x="20317" y="20497"/>
                    </a:lnTo>
                    <a:lnTo>
                      <a:pt x="21094" y="19660"/>
                    </a:lnTo>
                    <a:lnTo>
                      <a:pt x="21751" y="18704"/>
                    </a:lnTo>
                    <a:lnTo>
                      <a:pt x="22349" y="17688"/>
                    </a:lnTo>
                    <a:lnTo>
                      <a:pt x="22827" y="16673"/>
                    </a:lnTo>
                    <a:lnTo>
                      <a:pt x="23185" y="15537"/>
                    </a:lnTo>
                    <a:lnTo>
                      <a:pt x="23424" y="14402"/>
                    </a:lnTo>
                    <a:lnTo>
                      <a:pt x="23544" y="13207"/>
                    </a:lnTo>
                    <a:lnTo>
                      <a:pt x="23544" y="12071"/>
                    </a:lnTo>
                    <a:lnTo>
                      <a:pt x="23484" y="11474"/>
                    </a:lnTo>
                    <a:lnTo>
                      <a:pt x="23364" y="10876"/>
                    </a:lnTo>
                    <a:lnTo>
                      <a:pt x="23185" y="10279"/>
                    </a:lnTo>
                    <a:lnTo>
                      <a:pt x="23006" y="9681"/>
                    </a:lnTo>
                    <a:lnTo>
                      <a:pt x="23006" y="9024"/>
                    </a:lnTo>
                    <a:lnTo>
                      <a:pt x="22946" y="8426"/>
                    </a:lnTo>
                    <a:lnTo>
                      <a:pt x="22827" y="7889"/>
                    </a:lnTo>
                    <a:lnTo>
                      <a:pt x="22707" y="7291"/>
                    </a:lnTo>
                    <a:lnTo>
                      <a:pt x="22528" y="6753"/>
                    </a:lnTo>
                    <a:lnTo>
                      <a:pt x="22349" y="6215"/>
                    </a:lnTo>
                    <a:lnTo>
                      <a:pt x="21811" y="5200"/>
                    </a:lnTo>
                    <a:lnTo>
                      <a:pt x="21213" y="4243"/>
                    </a:lnTo>
                    <a:lnTo>
                      <a:pt x="20496" y="3407"/>
                    </a:lnTo>
                    <a:lnTo>
                      <a:pt x="19719" y="2630"/>
                    </a:lnTo>
                    <a:lnTo>
                      <a:pt x="18823" y="1973"/>
                    </a:lnTo>
                    <a:lnTo>
                      <a:pt x="17867" y="1375"/>
                    </a:lnTo>
                    <a:lnTo>
                      <a:pt x="16851" y="837"/>
                    </a:lnTo>
                    <a:lnTo>
                      <a:pt x="15776" y="479"/>
                    </a:lnTo>
                    <a:lnTo>
                      <a:pt x="14700" y="180"/>
                    </a:lnTo>
                    <a:lnTo>
                      <a:pt x="13565" y="61"/>
                    </a:lnTo>
                    <a:lnTo>
                      <a:pt x="12429" y="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9" name="Google Shape;83;p2">
                <a:extLst>
                  <a:ext uri="{FF2B5EF4-FFF2-40B4-BE49-F238E27FC236}">
                    <a16:creationId xmlns:a16="http://schemas.microsoft.com/office/drawing/2014/main" id="{320ACF7E-2D7B-4CBE-B2F6-5E5661CAFDC7}"/>
                  </a:ext>
                </a:extLst>
              </p:cNvPr>
              <p:cNvSpPr/>
              <p:nvPr/>
            </p:nvSpPr>
            <p:spPr>
              <a:xfrm>
                <a:off x="1625368" y="3599553"/>
                <a:ext cx="236138" cy="229907"/>
              </a:xfrm>
              <a:custGeom>
                <a:avLst/>
                <a:gdLst/>
                <a:ahLst/>
                <a:cxnLst/>
                <a:rect l="l" t="t" r="r" b="b"/>
                <a:pathLst>
                  <a:path w="274579" h="267334" extrusionOk="0">
                    <a:moveTo>
                      <a:pt x="222259" y="167640"/>
                    </a:moveTo>
                    <a:cubicBezTo>
                      <a:pt x="200669" y="206375"/>
                      <a:pt x="227974" y="238760"/>
                      <a:pt x="193049" y="267335"/>
                    </a:cubicBezTo>
                    <a:cubicBezTo>
                      <a:pt x="166379" y="251460"/>
                      <a:pt x="158124" y="217805"/>
                      <a:pt x="132724" y="198755"/>
                    </a:cubicBezTo>
                    <a:cubicBezTo>
                      <a:pt x="50809" y="235585"/>
                      <a:pt x="-626" y="271780"/>
                      <a:pt x="51444" y="151130"/>
                    </a:cubicBezTo>
                    <a:cubicBezTo>
                      <a:pt x="27949" y="105410"/>
                      <a:pt x="-53966" y="71120"/>
                      <a:pt x="55889" y="73660"/>
                    </a:cubicBezTo>
                    <a:cubicBezTo>
                      <a:pt x="107959" y="83820"/>
                      <a:pt x="113674" y="19685"/>
                      <a:pt x="156854" y="0"/>
                    </a:cubicBezTo>
                    <a:cubicBezTo>
                      <a:pt x="186064" y="11430"/>
                      <a:pt x="174634" y="57785"/>
                      <a:pt x="184794" y="83185"/>
                    </a:cubicBezTo>
                    <a:cubicBezTo>
                      <a:pt x="215274" y="124460"/>
                      <a:pt x="346084" y="109220"/>
                      <a:pt x="222259" y="167640"/>
                    </a:cubicBezTo>
                    <a:close/>
                    <a:moveTo>
                      <a:pt x="151774" y="35560"/>
                    </a:moveTo>
                    <a:cubicBezTo>
                      <a:pt x="100339" y="85725"/>
                      <a:pt x="120659" y="93980"/>
                      <a:pt x="39379" y="97790"/>
                    </a:cubicBezTo>
                    <a:cubicBezTo>
                      <a:pt x="53349" y="115570"/>
                      <a:pt x="65414" y="131445"/>
                      <a:pt x="76844" y="146685"/>
                    </a:cubicBezTo>
                    <a:cubicBezTo>
                      <a:pt x="74304" y="165735"/>
                      <a:pt x="60969" y="180340"/>
                      <a:pt x="63509" y="201295"/>
                    </a:cubicBezTo>
                    <a:cubicBezTo>
                      <a:pt x="123199" y="180975"/>
                      <a:pt x="142884" y="154940"/>
                      <a:pt x="178444" y="226695"/>
                    </a:cubicBezTo>
                    <a:cubicBezTo>
                      <a:pt x="181619" y="231140"/>
                      <a:pt x="184794" y="234950"/>
                      <a:pt x="191779" y="231140"/>
                    </a:cubicBezTo>
                    <a:cubicBezTo>
                      <a:pt x="200034" y="175260"/>
                      <a:pt x="182889" y="165735"/>
                      <a:pt x="231784" y="129540"/>
                    </a:cubicBezTo>
                    <a:cubicBezTo>
                      <a:pt x="152409" y="103505"/>
                      <a:pt x="167014" y="113030"/>
                      <a:pt x="151774" y="3556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grpSp>
          <p:nvGrpSpPr>
            <p:cNvPr id="53" name="Google Shape;84;p2">
              <a:extLst>
                <a:ext uri="{FF2B5EF4-FFF2-40B4-BE49-F238E27FC236}">
                  <a16:creationId xmlns:a16="http://schemas.microsoft.com/office/drawing/2014/main" id="{C2A2A45D-1013-46CC-9BE8-C87DA338C1B2}"/>
                </a:ext>
              </a:extLst>
            </p:cNvPr>
            <p:cNvGrpSpPr/>
            <p:nvPr/>
          </p:nvGrpSpPr>
          <p:grpSpPr>
            <a:xfrm>
              <a:off x="3637530" y="4055057"/>
              <a:ext cx="418773" cy="520154"/>
              <a:chOff x="3637530" y="4055057"/>
              <a:chExt cx="418773" cy="520154"/>
            </a:xfrm>
          </p:grpSpPr>
          <p:sp>
            <p:nvSpPr>
              <p:cNvPr id="76" name="Google Shape;85;p2">
                <a:extLst>
                  <a:ext uri="{FF2B5EF4-FFF2-40B4-BE49-F238E27FC236}">
                    <a16:creationId xmlns:a16="http://schemas.microsoft.com/office/drawing/2014/main" id="{9BEFDE11-15FD-4E8D-A436-F119FB103822}"/>
                  </a:ext>
                </a:extLst>
              </p:cNvPr>
              <p:cNvSpPr/>
              <p:nvPr/>
            </p:nvSpPr>
            <p:spPr>
              <a:xfrm rot="5542319">
                <a:off x="3769303" y="4204066"/>
                <a:ext cx="285154" cy="277283"/>
              </a:xfrm>
              <a:custGeom>
                <a:avLst/>
                <a:gdLst/>
                <a:ahLst/>
                <a:cxnLst/>
                <a:rect l="l" t="t" r="r" b="b"/>
                <a:pathLst>
                  <a:path w="15179" h="14760" extrusionOk="0">
                    <a:moveTo>
                      <a:pt x="9741" y="0"/>
                    </a:moveTo>
                    <a:lnTo>
                      <a:pt x="8306" y="60"/>
                    </a:lnTo>
                    <a:lnTo>
                      <a:pt x="7649" y="179"/>
                    </a:lnTo>
                    <a:lnTo>
                      <a:pt x="7052" y="299"/>
                    </a:lnTo>
                    <a:lnTo>
                      <a:pt x="6514" y="478"/>
                    </a:lnTo>
                    <a:lnTo>
                      <a:pt x="5916" y="777"/>
                    </a:lnTo>
                    <a:lnTo>
                      <a:pt x="5319" y="1135"/>
                    </a:lnTo>
                    <a:lnTo>
                      <a:pt x="4721" y="1613"/>
                    </a:lnTo>
                    <a:lnTo>
                      <a:pt x="3765" y="2510"/>
                    </a:lnTo>
                    <a:lnTo>
                      <a:pt x="2809" y="3585"/>
                    </a:lnTo>
                    <a:lnTo>
                      <a:pt x="1913" y="4840"/>
                    </a:lnTo>
                    <a:lnTo>
                      <a:pt x="1494" y="5557"/>
                    </a:lnTo>
                    <a:lnTo>
                      <a:pt x="1076" y="6215"/>
                    </a:lnTo>
                    <a:lnTo>
                      <a:pt x="777" y="6932"/>
                    </a:lnTo>
                    <a:lnTo>
                      <a:pt x="478" y="7649"/>
                    </a:lnTo>
                    <a:lnTo>
                      <a:pt x="239" y="8366"/>
                    </a:lnTo>
                    <a:lnTo>
                      <a:pt x="60" y="9023"/>
                    </a:lnTo>
                    <a:lnTo>
                      <a:pt x="0" y="9740"/>
                    </a:lnTo>
                    <a:lnTo>
                      <a:pt x="0" y="10457"/>
                    </a:lnTo>
                    <a:lnTo>
                      <a:pt x="120" y="11115"/>
                    </a:lnTo>
                    <a:lnTo>
                      <a:pt x="299" y="11772"/>
                    </a:lnTo>
                    <a:lnTo>
                      <a:pt x="419" y="12071"/>
                    </a:lnTo>
                    <a:lnTo>
                      <a:pt x="598" y="12429"/>
                    </a:lnTo>
                    <a:lnTo>
                      <a:pt x="1076" y="12907"/>
                    </a:lnTo>
                    <a:lnTo>
                      <a:pt x="1554" y="13385"/>
                    </a:lnTo>
                    <a:lnTo>
                      <a:pt x="2152" y="13684"/>
                    </a:lnTo>
                    <a:lnTo>
                      <a:pt x="2749" y="13983"/>
                    </a:lnTo>
                    <a:lnTo>
                      <a:pt x="3406" y="14222"/>
                    </a:lnTo>
                    <a:lnTo>
                      <a:pt x="4721" y="14640"/>
                    </a:lnTo>
                    <a:lnTo>
                      <a:pt x="5378" y="14760"/>
                    </a:lnTo>
                    <a:lnTo>
                      <a:pt x="6036" y="14760"/>
                    </a:lnTo>
                    <a:lnTo>
                      <a:pt x="6753" y="14700"/>
                    </a:lnTo>
                    <a:lnTo>
                      <a:pt x="7410" y="14521"/>
                    </a:lnTo>
                    <a:lnTo>
                      <a:pt x="8067" y="14222"/>
                    </a:lnTo>
                    <a:lnTo>
                      <a:pt x="8665" y="13923"/>
                    </a:lnTo>
                    <a:lnTo>
                      <a:pt x="9262" y="13505"/>
                    </a:lnTo>
                    <a:lnTo>
                      <a:pt x="9741" y="13086"/>
                    </a:lnTo>
                    <a:lnTo>
                      <a:pt x="10756" y="12130"/>
                    </a:lnTo>
                    <a:lnTo>
                      <a:pt x="11832" y="10935"/>
                    </a:lnTo>
                    <a:lnTo>
                      <a:pt x="12908" y="9561"/>
                    </a:lnTo>
                    <a:lnTo>
                      <a:pt x="13445" y="8844"/>
                    </a:lnTo>
                    <a:lnTo>
                      <a:pt x="13923" y="8067"/>
                    </a:lnTo>
                    <a:lnTo>
                      <a:pt x="14342" y="7290"/>
                    </a:lnTo>
                    <a:lnTo>
                      <a:pt x="14700" y="6513"/>
                    </a:lnTo>
                    <a:lnTo>
                      <a:pt x="14939" y="5737"/>
                    </a:lnTo>
                    <a:lnTo>
                      <a:pt x="15118" y="4960"/>
                    </a:lnTo>
                    <a:lnTo>
                      <a:pt x="15178" y="4183"/>
                    </a:lnTo>
                    <a:lnTo>
                      <a:pt x="15178" y="3466"/>
                    </a:lnTo>
                    <a:lnTo>
                      <a:pt x="15059" y="3107"/>
                    </a:lnTo>
                    <a:lnTo>
                      <a:pt x="14999" y="2749"/>
                    </a:lnTo>
                    <a:lnTo>
                      <a:pt x="14820" y="2390"/>
                    </a:lnTo>
                    <a:lnTo>
                      <a:pt x="14640" y="2092"/>
                    </a:lnTo>
                    <a:lnTo>
                      <a:pt x="14222" y="1494"/>
                    </a:lnTo>
                    <a:lnTo>
                      <a:pt x="13684" y="1076"/>
                    </a:lnTo>
                    <a:lnTo>
                      <a:pt x="13147" y="657"/>
                    </a:lnTo>
                    <a:lnTo>
                      <a:pt x="12489" y="418"/>
                    </a:lnTo>
                    <a:lnTo>
                      <a:pt x="11832" y="179"/>
                    </a:lnTo>
                    <a:lnTo>
                      <a:pt x="11115" y="60"/>
                    </a:lnTo>
                    <a:lnTo>
                      <a:pt x="10458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" name="Google Shape;86;p2">
                <a:extLst>
                  <a:ext uri="{FF2B5EF4-FFF2-40B4-BE49-F238E27FC236}">
                    <a16:creationId xmlns:a16="http://schemas.microsoft.com/office/drawing/2014/main" id="{FDA24A41-B4F9-4E3A-997E-85B5DAEB1210}"/>
                  </a:ext>
                </a:extLst>
              </p:cNvPr>
              <p:cNvSpPr/>
              <p:nvPr/>
            </p:nvSpPr>
            <p:spPr>
              <a:xfrm rot="9304419">
                <a:off x="3726725" y="4079275"/>
                <a:ext cx="219185" cy="471718"/>
              </a:xfrm>
              <a:custGeom>
                <a:avLst/>
                <a:gdLst/>
                <a:ahLst/>
                <a:cxnLst/>
                <a:rect l="l" t="t" r="r" b="b"/>
                <a:pathLst>
                  <a:path w="254831" h="548433" extrusionOk="0">
                    <a:moveTo>
                      <a:pt x="1225" y="243944"/>
                    </a:moveTo>
                    <a:cubicBezTo>
                      <a:pt x="-2584" y="153774"/>
                      <a:pt x="42500" y="76304"/>
                      <a:pt x="97110" y="7724"/>
                    </a:cubicBezTo>
                    <a:cubicBezTo>
                      <a:pt x="171406" y="-39901"/>
                      <a:pt x="226016" y="146154"/>
                      <a:pt x="245700" y="198859"/>
                    </a:cubicBezTo>
                    <a:cubicBezTo>
                      <a:pt x="276816" y="301729"/>
                      <a:pt x="217125" y="404599"/>
                      <a:pt x="233000" y="508104"/>
                    </a:cubicBezTo>
                    <a:cubicBezTo>
                      <a:pt x="238716" y="550014"/>
                      <a:pt x="205696" y="569064"/>
                      <a:pt x="201250" y="516359"/>
                    </a:cubicBezTo>
                    <a:cubicBezTo>
                      <a:pt x="164421" y="394439"/>
                      <a:pt x="-16554" y="432539"/>
                      <a:pt x="1225" y="243944"/>
                    </a:cubicBezTo>
                    <a:close/>
                    <a:moveTo>
                      <a:pt x="114891" y="236959"/>
                    </a:moveTo>
                    <a:cubicBezTo>
                      <a:pt x="103460" y="228704"/>
                      <a:pt x="21546" y="208384"/>
                      <a:pt x="57741" y="193144"/>
                    </a:cubicBezTo>
                    <a:cubicBezTo>
                      <a:pt x="78060" y="196954"/>
                      <a:pt x="88856" y="214734"/>
                      <a:pt x="111081" y="216639"/>
                    </a:cubicBezTo>
                    <a:cubicBezTo>
                      <a:pt x="108541" y="178539"/>
                      <a:pt x="97110" y="143614"/>
                      <a:pt x="105366" y="106784"/>
                    </a:cubicBezTo>
                    <a:cubicBezTo>
                      <a:pt x="111081" y="107419"/>
                      <a:pt x="116160" y="108054"/>
                      <a:pt x="120606" y="108054"/>
                    </a:cubicBezTo>
                    <a:cubicBezTo>
                      <a:pt x="123781" y="120754"/>
                      <a:pt x="126321" y="131549"/>
                      <a:pt x="129496" y="144249"/>
                    </a:cubicBezTo>
                    <a:cubicBezTo>
                      <a:pt x="182200" y="111229"/>
                      <a:pt x="146641" y="163934"/>
                      <a:pt x="130766" y="183619"/>
                    </a:cubicBezTo>
                    <a:cubicBezTo>
                      <a:pt x="135210" y="210924"/>
                      <a:pt x="135846" y="238229"/>
                      <a:pt x="149181" y="265534"/>
                    </a:cubicBezTo>
                    <a:cubicBezTo>
                      <a:pt x="163785" y="256009"/>
                      <a:pt x="167596" y="243309"/>
                      <a:pt x="186646" y="248389"/>
                    </a:cubicBezTo>
                    <a:cubicBezTo>
                      <a:pt x="175216" y="271249"/>
                      <a:pt x="149181" y="286489"/>
                      <a:pt x="154896" y="311254"/>
                    </a:cubicBezTo>
                    <a:cubicBezTo>
                      <a:pt x="171406" y="348719"/>
                      <a:pt x="172675" y="392534"/>
                      <a:pt x="204425" y="422379"/>
                    </a:cubicBezTo>
                    <a:cubicBezTo>
                      <a:pt x="252050" y="285219"/>
                      <a:pt x="233635" y="137264"/>
                      <a:pt x="136481" y="27409"/>
                    </a:cubicBezTo>
                    <a:cubicBezTo>
                      <a:pt x="86950" y="-1166"/>
                      <a:pt x="19006" y="177269"/>
                      <a:pt x="24721" y="219814"/>
                    </a:cubicBezTo>
                    <a:cubicBezTo>
                      <a:pt x="8846" y="328399"/>
                      <a:pt x="72346" y="405869"/>
                      <a:pt x="175216" y="431269"/>
                    </a:cubicBezTo>
                    <a:cubicBezTo>
                      <a:pt x="170135" y="362689"/>
                      <a:pt x="112350" y="366499"/>
                      <a:pt x="80600" y="323954"/>
                    </a:cubicBezTo>
                    <a:cubicBezTo>
                      <a:pt x="106635" y="317604"/>
                      <a:pt x="118700" y="347449"/>
                      <a:pt x="140925" y="338559"/>
                    </a:cubicBezTo>
                    <a:cubicBezTo>
                      <a:pt x="128225" y="305539"/>
                      <a:pt x="128860" y="270614"/>
                      <a:pt x="114891" y="236959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54" name="Google Shape;87;p2">
              <a:extLst>
                <a:ext uri="{FF2B5EF4-FFF2-40B4-BE49-F238E27FC236}">
                  <a16:creationId xmlns:a16="http://schemas.microsoft.com/office/drawing/2014/main" id="{744A2DE7-10E1-4F99-B048-70EE169979E7}"/>
                </a:ext>
              </a:extLst>
            </p:cNvPr>
            <p:cNvSpPr/>
            <p:nvPr/>
          </p:nvSpPr>
          <p:spPr>
            <a:xfrm>
              <a:off x="3033704" y="205770"/>
              <a:ext cx="238646" cy="243555"/>
            </a:xfrm>
            <a:custGeom>
              <a:avLst/>
              <a:gdLst/>
              <a:ahLst/>
              <a:cxnLst/>
              <a:rect l="l" t="t" r="r" b="b"/>
              <a:pathLst>
                <a:path w="277495" h="283204" extrusionOk="0">
                  <a:moveTo>
                    <a:pt x="208280" y="49133"/>
                  </a:moveTo>
                  <a:cubicBezTo>
                    <a:pt x="137795" y="91043"/>
                    <a:pt x="68580" y="136763"/>
                    <a:pt x="0" y="179943"/>
                  </a:cubicBezTo>
                  <a:cubicBezTo>
                    <a:pt x="8890" y="202168"/>
                    <a:pt x="26670" y="266938"/>
                    <a:pt x="57150" y="247888"/>
                  </a:cubicBezTo>
                  <a:cubicBezTo>
                    <a:pt x="130175" y="204708"/>
                    <a:pt x="208280" y="168513"/>
                    <a:pt x="277495" y="120888"/>
                  </a:cubicBezTo>
                  <a:cubicBezTo>
                    <a:pt x="258445" y="97393"/>
                    <a:pt x="247650" y="28178"/>
                    <a:pt x="208280" y="49133"/>
                  </a:cubicBezTo>
                  <a:close/>
                  <a:moveTo>
                    <a:pt x="46355" y="226933"/>
                  </a:moveTo>
                  <a:cubicBezTo>
                    <a:pt x="33655" y="218043"/>
                    <a:pt x="29210" y="206613"/>
                    <a:pt x="25400" y="192643"/>
                  </a:cubicBezTo>
                  <a:cubicBezTo>
                    <a:pt x="88265" y="150733"/>
                    <a:pt x="149225" y="105648"/>
                    <a:pt x="218440" y="71358"/>
                  </a:cubicBezTo>
                  <a:cubicBezTo>
                    <a:pt x="236220" y="75803"/>
                    <a:pt x="240030" y="91678"/>
                    <a:pt x="247015" y="107553"/>
                  </a:cubicBezTo>
                  <a:cubicBezTo>
                    <a:pt x="186055" y="158353"/>
                    <a:pt x="114300" y="189468"/>
                    <a:pt x="46355" y="226933"/>
                  </a:cubicBezTo>
                  <a:close/>
                  <a:moveTo>
                    <a:pt x="181610" y="200898"/>
                  </a:moveTo>
                  <a:cubicBezTo>
                    <a:pt x="130810" y="200898"/>
                    <a:pt x="120650" y="289798"/>
                    <a:pt x="181610" y="282813"/>
                  </a:cubicBezTo>
                  <a:cubicBezTo>
                    <a:pt x="240665" y="284083"/>
                    <a:pt x="243840" y="201533"/>
                    <a:pt x="181610" y="200898"/>
                  </a:cubicBezTo>
                  <a:close/>
                  <a:moveTo>
                    <a:pt x="163830" y="259318"/>
                  </a:moveTo>
                  <a:cubicBezTo>
                    <a:pt x="159385" y="227568"/>
                    <a:pt x="184785" y="232013"/>
                    <a:pt x="205105" y="234553"/>
                  </a:cubicBezTo>
                  <a:cubicBezTo>
                    <a:pt x="208280" y="258683"/>
                    <a:pt x="182245" y="268843"/>
                    <a:pt x="163830" y="259318"/>
                  </a:cubicBezTo>
                  <a:close/>
                  <a:moveTo>
                    <a:pt x="123190" y="32623"/>
                  </a:moveTo>
                  <a:cubicBezTo>
                    <a:pt x="104140" y="-16272"/>
                    <a:pt x="28575" y="-9922"/>
                    <a:pt x="29210" y="49768"/>
                  </a:cubicBezTo>
                  <a:cubicBezTo>
                    <a:pt x="38735" y="111998"/>
                    <a:pt x="126365" y="90408"/>
                    <a:pt x="123190" y="32623"/>
                  </a:cubicBezTo>
                  <a:close/>
                  <a:moveTo>
                    <a:pt x="81280" y="20558"/>
                  </a:moveTo>
                  <a:cubicBezTo>
                    <a:pt x="127635" y="19923"/>
                    <a:pt x="81915" y="87868"/>
                    <a:pt x="55880" y="63103"/>
                  </a:cubicBezTo>
                  <a:cubicBezTo>
                    <a:pt x="37465" y="47228"/>
                    <a:pt x="61595" y="16748"/>
                    <a:pt x="81280" y="20558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5" name="Google Shape;88;p2">
              <a:extLst>
                <a:ext uri="{FF2B5EF4-FFF2-40B4-BE49-F238E27FC236}">
                  <a16:creationId xmlns:a16="http://schemas.microsoft.com/office/drawing/2014/main" id="{2AF5F280-BD3E-405D-BEF9-7EC951D2C3B2}"/>
                </a:ext>
              </a:extLst>
            </p:cNvPr>
            <p:cNvSpPr/>
            <p:nvPr/>
          </p:nvSpPr>
          <p:spPr>
            <a:xfrm>
              <a:off x="8737650" y="439219"/>
              <a:ext cx="257856" cy="284838"/>
            </a:xfrm>
            <a:custGeom>
              <a:avLst/>
              <a:gdLst/>
              <a:ahLst/>
              <a:cxnLst/>
              <a:rect l="l" t="t" r="r" b="b"/>
              <a:pathLst>
                <a:path w="299833" h="331207" extrusionOk="0">
                  <a:moveTo>
                    <a:pt x="209405" y="209687"/>
                  </a:moveTo>
                  <a:cubicBezTo>
                    <a:pt x="197340" y="292237"/>
                    <a:pt x="224645" y="334782"/>
                    <a:pt x="116695" y="330972"/>
                  </a:cubicBezTo>
                  <a:cubicBezTo>
                    <a:pt x="76690" y="318272"/>
                    <a:pt x="105900" y="251597"/>
                    <a:pt x="82405" y="221752"/>
                  </a:cubicBezTo>
                  <a:cubicBezTo>
                    <a:pt x="-9670" y="236992"/>
                    <a:pt x="-780" y="222387"/>
                    <a:pt x="1125" y="136662"/>
                  </a:cubicBezTo>
                  <a:cubicBezTo>
                    <a:pt x="15730" y="118882"/>
                    <a:pt x="46210" y="123327"/>
                    <a:pt x="67800" y="118247"/>
                  </a:cubicBezTo>
                  <a:cubicBezTo>
                    <a:pt x="113520" y="107452"/>
                    <a:pt x="65895" y="38872"/>
                    <a:pt x="89390" y="5852"/>
                  </a:cubicBezTo>
                  <a:cubicBezTo>
                    <a:pt x="202420" y="-15103"/>
                    <a:pt x="175750" y="20457"/>
                    <a:pt x="194165" y="108722"/>
                  </a:cubicBezTo>
                  <a:cubicBezTo>
                    <a:pt x="225280" y="118247"/>
                    <a:pt x="286240" y="96022"/>
                    <a:pt x="293225" y="135392"/>
                  </a:cubicBezTo>
                  <a:cubicBezTo>
                    <a:pt x="318625" y="214767"/>
                    <a:pt x="266555" y="199527"/>
                    <a:pt x="209405" y="209687"/>
                  </a:cubicBezTo>
                  <a:close/>
                  <a:moveTo>
                    <a:pt x="27795" y="202067"/>
                  </a:moveTo>
                  <a:cubicBezTo>
                    <a:pt x="155430" y="169682"/>
                    <a:pt x="92565" y="223657"/>
                    <a:pt x="125585" y="302397"/>
                  </a:cubicBezTo>
                  <a:cubicBezTo>
                    <a:pt x="140190" y="304302"/>
                    <a:pt x="156065" y="306842"/>
                    <a:pt x="171305" y="301127"/>
                  </a:cubicBezTo>
                  <a:cubicBezTo>
                    <a:pt x="195435" y="266202"/>
                    <a:pt x="166860" y="221752"/>
                    <a:pt x="189720" y="188097"/>
                  </a:cubicBezTo>
                  <a:cubicBezTo>
                    <a:pt x="215755" y="184287"/>
                    <a:pt x="243695" y="179842"/>
                    <a:pt x="271635" y="175397"/>
                  </a:cubicBezTo>
                  <a:cubicBezTo>
                    <a:pt x="276715" y="160792"/>
                    <a:pt x="276715" y="149362"/>
                    <a:pt x="267825" y="137932"/>
                  </a:cubicBezTo>
                  <a:cubicBezTo>
                    <a:pt x="176385" y="125867"/>
                    <a:pt x="163050" y="146187"/>
                    <a:pt x="160510" y="40142"/>
                  </a:cubicBezTo>
                  <a:cubicBezTo>
                    <a:pt x="158605" y="17917"/>
                    <a:pt x="136380" y="21092"/>
                    <a:pt x="120505" y="26172"/>
                  </a:cubicBezTo>
                  <a:cubicBezTo>
                    <a:pt x="85580" y="45857"/>
                    <a:pt x="120505" y="101737"/>
                    <a:pt x="108440" y="134757"/>
                  </a:cubicBezTo>
                  <a:cubicBezTo>
                    <a:pt x="77325" y="141742"/>
                    <a:pt x="53195" y="136662"/>
                    <a:pt x="23350" y="153172"/>
                  </a:cubicBezTo>
                  <a:cubicBezTo>
                    <a:pt x="23350" y="172857"/>
                    <a:pt x="23350" y="182382"/>
                    <a:pt x="27795" y="20206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6" name="Google Shape;89;p2">
              <a:extLst>
                <a:ext uri="{FF2B5EF4-FFF2-40B4-BE49-F238E27FC236}">
                  <a16:creationId xmlns:a16="http://schemas.microsoft.com/office/drawing/2014/main" id="{CD802E64-9278-42FB-B79A-4AC869E37036}"/>
                </a:ext>
              </a:extLst>
            </p:cNvPr>
            <p:cNvSpPr/>
            <p:nvPr/>
          </p:nvSpPr>
          <p:spPr>
            <a:xfrm>
              <a:off x="1334256" y="207258"/>
              <a:ext cx="223503" cy="240600"/>
            </a:xfrm>
            <a:custGeom>
              <a:avLst/>
              <a:gdLst/>
              <a:ahLst/>
              <a:cxnLst/>
              <a:rect l="l" t="t" r="r" b="b"/>
              <a:pathLst>
                <a:path w="259887" h="279767" extrusionOk="0">
                  <a:moveTo>
                    <a:pt x="226736" y="166830"/>
                  </a:moveTo>
                  <a:cubicBezTo>
                    <a:pt x="228641" y="137620"/>
                    <a:pt x="231180" y="110950"/>
                    <a:pt x="233086" y="83010"/>
                  </a:cubicBezTo>
                  <a:cubicBezTo>
                    <a:pt x="187366" y="68405"/>
                    <a:pt x="153711" y="96345"/>
                    <a:pt x="111166" y="110315"/>
                  </a:cubicBezTo>
                  <a:cubicBezTo>
                    <a:pt x="97195" y="152860"/>
                    <a:pt x="133391" y="210010"/>
                    <a:pt x="90211" y="242395"/>
                  </a:cubicBezTo>
                  <a:cubicBezTo>
                    <a:pt x="-25359" y="349710"/>
                    <a:pt x="-34250" y="191595"/>
                    <a:pt x="88941" y="193500"/>
                  </a:cubicBezTo>
                  <a:cubicBezTo>
                    <a:pt x="97195" y="143970"/>
                    <a:pt x="63541" y="67135"/>
                    <a:pt x="101005" y="31575"/>
                  </a:cubicBezTo>
                  <a:cubicBezTo>
                    <a:pt x="208320" y="6175"/>
                    <a:pt x="274995" y="-51610"/>
                    <a:pt x="252770" y="105870"/>
                  </a:cubicBezTo>
                  <a:cubicBezTo>
                    <a:pt x="241975" y="140160"/>
                    <a:pt x="264200" y="170005"/>
                    <a:pt x="259120" y="201120"/>
                  </a:cubicBezTo>
                  <a:cubicBezTo>
                    <a:pt x="198161" y="328120"/>
                    <a:pt x="109261" y="242395"/>
                    <a:pt x="226736" y="166830"/>
                  </a:cubicBezTo>
                  <a:close/>
                  <a:moveTo>
                    <a:pt x="115611" y="79835"/>
                  </a:moveTo>
                  <a:cubicBezTo>
                    <a:pt x="146091" y="80470"/>
                    <a:pt x="172125" y="56975"/>
                    <a:pt x="203875" y="58245"/>
                  </a:cubicBezTo>
                  <a:cubicBezTo>
                    <a:pt x="229275" y="60150"/>
                    <a:pt x="238800" y="46180"/>
                    <a:pt x="229911" y="22050"/>
                  </a:cubicBezTo>
                  <a:cubicBezTo>
                    <a:pt x="198161" y="38560"/>
                    <a:pt x="97195" y="29035"/>
                    <a:pt x="115611" y="7983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7" name="Google Shape;90;p2">
              <a:extLst>
                <a:ext uri="{FF2B5EF4-FFF2-40B4-BE49-F238E27FC236}">
                  <a16:creationId xmlns:a16="http://schemas.microsoft.com/office/drawing/2014/main" id="{5F0111DC-8D76-4C1A-8432-67D8400F8F34}"/>
                </a:ext>
              </a:extLst>
            </p:cNvPr>
            <p:cNvSpPr/>
            <p:nvPr/>
          </p:nvSpPr>
          <p:spPr>
            <a:xfrm>
              <a:off x="7053257" y="3763614"/>
              <a:ext cx="204383" cy="278916"/>
            </a:xfrm>
            <a:custGeom>
              <a:avLst/>
              <a:gdLst/>
              <a:ahLst/>
              <a:cxnLst/>
              <a:rect l="l" t="t" r="r" b="b"/>
              <a:pathLst>
                <a:path w="237655" h="324321" extrusionOk="0">
                  <a:moveTo>
                    <a:pt x="103670" y="224422"/>
                  </a:moveTo>
                  <a:cubicBezTo>
                    <a:pt x="118910" y="164097"/>
                    <a:pt x="80810" y="37097"/>
                    <a:pt x="129070" y="1537"/>
                  </a:cubicBezTo>
                  <a:cubicBezTo>
                    <a:pt x="197650" y="-13703"/>
                    <a:pt x="200190" y="88532"/>
                    <a:pt x="237655" y="124092"/>
                  </a:cubicBezTo>
                  <a:cubicBezTo>
                    <a:pt x="219875" y="178702"/>
                    <a:pt x="165900" y="59957"/>
                    <a:pt x="132245" y="71387"/>
                  </a:cubicBezTo>
                  <a:cubicBezTo>
                    <a:pt x="115735" y="135522"/>
                    <a:pt x="151930" y="215532"/>
                    <a:pt x="110655" y="271412"/>
                  </a:cubicBezTo>
                  <a:cubicBezTo>
                    <a:pt x="-25235" y="413017"/>
                    <a:pt x="-45555" y="225692"/>
                    <a:pt x="103670" y="224422"/>
                  </a:cubicBezTo>
                  <a:close/>
                  <a:moveTo>
                    <a:pt x="176060" y="65672"/>
                  </a:moveTo>
                  <a:cubicBezTo>
                    <a:pt x="170980" y="47892"/>
                    <a:pt x="167170" y="29477"/>
                    <a:pt x="146850" y="25032"/>
                  </a:cubicBezTo>
                  <a:cubicBezTo>
                    <a:pt x="136690" y="33922"/>
                    <a:pt x="136690" y="33922"/>
                    <a:pt x="134785" y="44082"/>
                  </a:cubicBezTo>
                  <a:cubicBezTo>
                    <a:pt x="148755" y="51067"/>
                    <a:pt x="162090" y="58687"/>
                    <a:pt x="176060" y="6567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8" name="Google Shape;91;p2">
              <a:extLst>
                <a:ext uri="{FF2B5EF4-FFF2-40B4-BE49-F238E27FC236}">
                  <a16:creationId xmlns:a16="http://schemas.microsoft.com/office/drawing/2014/main" id="{04D85F76-A436-4F44-A271-5812B6E37004}"/>
                </a:ext>
              </a:extLst>
            </p:cNvPr>
            <p:cNvSpPr/>
            <p:nvPr/>
          </p:nvSpPr>
          <p:spPr>
            <a:xfrm>
              <a:off x="711508" y="3001159"/>
              <a:ext cx="154433" cy="272786"/>
            </a:xfrm>
            <a:custGeom>
              <a:avLst/>
              <a:gdLst/>
              <a:ahLst/>
              <a:cxnLst/>
              <a:rect l="l" t="t" r="r" b="b"/>
              <a:pathLst>
                <a:path w="179573" h="317193" extrusionOk="0">
                  <a:moveTo>
                    <a:pt x="48300" y="7056"/>
                  </a:moveTo>
                  <a:cubicBezTo>
                    <a:pt x="85130" y="8961"/>
                    <a:pt x="155616" y="-21519"/>
                    <a:pt x="159425" y="31186"/>
                  </a:cubicBezTo>
                  <a:cubicBezTo>
                    <a:pt x="167680" y="121356"/>
                    <a:pt x="186096" y="212796"/>
                    <a:pt x="177205" y="302966"/>
                  </a:cubicBezTo>
                  <a:cubicBezTo>
                    <a:pt x="142280" y="316301"/>
                    <a:pt x="114975" y="320111"/>
                    <a:pt x="85766" y="315031"/>
                  </a:cubicBezTo>
                  <a:cubicBezTo>
                    <a:pt x="69255" y="264231"/>
                    <a:pt x="90211" y="208351"/>
                    <a:pt x="78780" y="154376"/>
                  </a:cubicBezTo>
                  <a:cubicBezTo>
                    <a:pt x="-62189" y="192476"/>
                    <a:pt x="24171" y="74366"/>
                    <a:pt x="48300" y="7056"/>
                  </a:cubicBezTo>
                  <a:close/>
                  <a:moveTo>
                    <a:pt x="109261" y="290901"/>
                  </a:moveTo>
                  <a:cubicBezTo>
                    <a:pt x="134025" y="291536"/>
                    <a:pt x="134025" y="291536"/>
                    <a:pt x="154346" y="278836"/>
                  </a:cubicBezTo>
                  <a:cubicBezTo>
                    <a:pt x="153075" y="219781"/>
                    <a:pt x="167680" y="54046"/>
                    <a:pt x="118786" y="24201"/>
                  </a:cubicBezTo>
                  <a:cubicBezTo>
                    <a:pt x="53380" y="10231"/>
                    <a:pt x="40046" y="82621"/>
                    <a:pt x="20996" y="128976"/>
                  </a:cubicBezTo>
                  <a:cubicBezTo>
                    <a:pt x="48936" y="149931"/>
                    <a:pt x="55921" y="133421"/>
                    <a:pt x="69891" y="115641"/>
                  </a:cubicBezTo>
                  <a:cubicBezTo>
                    <a:pt x="135296" y="72461"/>
                    <a:pt x="83861" y="261691"/>
                    <a:pt x="109261" y="29090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59" name="Google Shape;92;p2">
              <a:extLst>
                <a:ext uri="{FF2B5EF4-FFF2-40B4-BE49-F238E27FC236}">
                  <a16:creationId xmlns:a16="http://schemas.microsoft.com/office/drawing/2014/main" id="{1BD1C5A8-F98B-423D-96AC-88AEC1AE8FAD}"/>
                </a:ext>
              </a:extLst>
            </p:cNvPr>
            <p:cNvSpPr/>
            <p:nvPr/>
          </p:nvSpPr>
          <p:spPr>
            <a:xfrm>
              <a:off x="8576875" y="2558027"/>
              <a:ext cx="223822" cy="307981"/>
            </a:xfrm>
            <a:custGeom>
              <a:avLst/>
              <a:gdLst/>
              <a:ahLst/>
              <a:cxnLst/>
              <a:rect l="l" t="t" r="r" b="b"/>
              <a:pathLst>
                <a:path w="283319" h="389850" extrusionOk="0">
                  <a:moveTo>
                    <a:pt x="215764" y="169337"/>
                  </a:moveTo>
                  <a:cubicBezTo>
                    <a:pt x="302124" y="27097"/>
                    <a:pt x="90669" y="-68153"/>
                    <a:pt x="11294" y="60752"/>
                  </a:cubicBezTo>
                  <a:cubicBezTo>
                    <a:pt x="-7756" y="89962"/>
                    <a:pt x="-3946" y="100757"/>
                    <a:pt x="32249" y="114092"/>
                  </a:cubicBezTo>
                  <a:cubicBezTo>
                    <a:pt x="71619" y="115997"/>
                    <a:pt x="97019" y="51862"/>
                    <a:pt x="145279" y="76627"/>
                  </a:cubicBezTo>
                  <a:cubicBezTo>
                    <a:pt x="215764" y="123617"/>
                    <a:pt x="108449" y="154732"/>
                    <a:pt x="109719" y="185212"/>
                  </a:cubicBezTo>
                  <a:cubicBezTo>
                    <a:pt x="111624" y="209342"/>
                    <a:pt x="220844" y="209977"/>
                    <a:pt x="165599" y="293162"/>
                  </a:cubicBezTo>
                  <a:cubicBezTo>
                    <a:pt x="115434" y="342057"/>
                    <a:pt x="90669" y="265222"/>
                    <a:pt x="53204" y="286812"/>
                  </a:cubicBezTo>
                  <a:cubicBezTo>
                    <a:pt x="41774" y="293797"/>
                    <a:pt x="19549" y="293162"/>
                    <a:pt x="19549" y="310942"/>
                  </a:cubicBezTo>
                  <a:cubicBezTo>
                    <a:pt x="44949" y="470962"/>
                    <a:pt x="437379" y="369362"/>
                    <a:pt x="215764" y="169337"/>
                  </a:cubicBezTo>
                  <a:close/>
                  <a:moveTo>
                    <a:pt x="255769" y="311577"/>
                  </a:moveTo>
                  <a:cubicBezTo>
                    <a:pt x="230369" y="375712"/>
                    <a:pt x="58919" y="393492"/>
                    <a:pt x="43679" y="321102"/>
                  </a:cubicBezTo>
                  <a:cubicBezTo>
                    <a:pt x="53204" y="313482"/>
                    <a:pt x="60189" y="310942"/>
                    <a:pt x="70984" y="308402"/>
                  </a:cubicBezTo>
                  <a:cubicBezTo>
                    <a:pt x="145914" y="381427"/>
                    <a:pt x="251959" y="274112"/>
                    <a:pt x="178299" y="199817"/>
                  </a:cubicBezTo>
                  <a:cubicBezTo>
                    <a:pt x="157344" y="184577"/>
                    <a:pt x="144644" y="190927"/>
                    <a:pt x="171314" y="159812"/>
                  </a:cubicBezTo>
                  <a:cubicBezTo>
                    <a:pt x="239259" y="61387"/>
                    <a:pt x="99559" y="5507"/>
                    <a:pt x="35424" y="93772"/>
                  </a:cubicBezTo>
                  <a:cubicBezTo>
                    <a:pt x="-5851" y="29002"/>
                    <a:pt x="261484" y="-44023"/>
                    <a:pt x="204334" y="148382"/>
                  </a:cubicBezTo>
                  <a:cubicBezTo>
                    <a:pt x="201159" y="161082"/>
                    <a:pt x="201159" y="165527"/>
                    <a:pt x="188459" y="178227"/>
                  </a:cubicBezTo>
                  <a:cubicBezTo>
                    <a:pt x="227829" y="190292"/>
                    <a:pt x="275454" y="281097"/>
                    <a:pt x="255769" y="31157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60" name="Google Shape;93;p2">
              <a:extLst>
                <a:ext uri="{FF2B5EF4-FFF2-40B4-BE49-F238E27FC236}">
                  <a16:creationId xmlns:a16="http://schemas.microsoft.com/office/drawing/2014/main" id="{D358510C-7FE3-4EC0-A6FC-0C87AEC9D1BC}"/>
                </a:ext>
              </a:extLst>
            </p:cNvPr>
            <p:cNvSpPr/>
            <p:nvPr/>
          </p:nvSpPr>
          <p:spPr>
            <a:xfrm>
              <a:off x="140852" y="836409"/>
              <a:ext cx="224053" cy="290283"/>
            </a:xfrm>
            <a:custGeom>
              <a:avLst/>
              <a:gdLst/>
              <a:ahLst/>
              <a:cxnLst/>
              <a:rect l="l" t="t" r="r" b="b"/>
              <a:pathLst>
                <a:path w="260527" h="337538" extrusionOk="0">
                  <a:moveTo>
                    <a:pt x="70965" y="150214"/>
                  </a:moveTo>
                  <a:cubicBezTo>
                    <a:pt x="-31905" y="199744"/>
                    <a:pt x="-8410" y="53058"/>
                    <a:pt x="50010" y="19403"/>
                  </a:cubicBezTo>
                  <a:cubicBezTo>
                    <a:pt x="99540" y="-21237"/>
                    <a:pt x="175740" y="6703"/>
                    <a:pt x="204315" y="59408"/>
                  </a:cubicBezTo>
                  <a:cubicBezTo>
                    <a:pt x="234160" y="115923"/>
                    <a:pt x="183360" y="176248"/>
                    <a:pt x="162405" y="228953"/>
                  </a:cubicBezTo>
                  <a:cubicBezTo>
                    <a:pt x="222730" y="254353"/>
                    <a:pt x="280515" y="204189"/>
                    <a:pt x="253845" y="309598"/>
                  </a:cubicBezTo>
                  <a:cubicBezTo>
                    <a:pt x="202410" y="340078"/>
                    <a:pt x="118590" y="320394"/>
                    <a:pt x="56360" y="337539"/>
                  </a:cubicBezTo>
                  <a:cubicBezTo>
                    <a:pt x="-5235" y="325473"/>
                    <a:pt x="102715" y="185139"/>
                    <a:pt x="110970" y="145133"/>
                  </a:cubicBezTo>
                  <a:cubicBezTo>
                    <a:pt x="160500" y="75919"/>
                    <a:pt x="55725" y="82269"/>
                    <a:pt x="70965" y="150214"/>
                  </a:cubicBezTo>
                  <a:close/>
                  <a:moveTo>
                    <a:pt x="123670" y="254353"/>
                  </a:moveTo>
                  <a:cubicBezTo>
                    <a:pt x="140180" y="194664"/>
                    <a:pt x="211935" y="137514"/>
                    <a:pt x="182725" y="75283"/>
                  </a:cubicBezTo>
                  <a:cubicBezTo>
                    <a:pt x="171930" y="39088"/>
                    <a:pt x="127480" y="13053"/>
                    <a:pt x="92555" y="25119"/>
                  </a:cubicBezTo>
                  <a:cubicBezTo>
                    <a:pt x="36040" y="25119"/>
                    <a:pt x="-10315" y="170533"/>
                    <a:pt x="46200" y="130528"/>
                  </a:cubicBezTo>
                  <a:cubicBezTo>
                    <a:pt x="49375" y="47978"/>
                    <a:pt x="174470" y="60678"/>
                    <a:pt x="140180" y="141958"/>
                  </a:cubicBezTo>
                  <a:cubicBezTo>
                    <a:pt x="119225" y="196569"/>
                    <a:pt x="72870" y="253083"/>
                    <a:pt x="69060" y="309598"/>
                  </a:cubicBezTo>
                  <a:cubicBezTo>
                    <a:pt x="109065" y="316583"/>
                    <a:pt x="193520" y="307694"/>
                    <a:pt x="232890" y="291183"/>
                  </a:cubicBezTo>
                  <a:cubicBezTo>
                    <a:pt x="234795" y="282928"/>
                    <a:pt x="236700" y="274039"/>
                    <a:pt x="238605" y="264514"/>
                  </a:cubicBezTo>
                  <a:cubicBezTo>
                    <a:pt x="197330" y="251178"/>
                    <a:pt x="166215" y="267689"/>
                    <a:pt x="123670" y="25435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61" name="Google Shape;94;p2">
              <a:extLst>
                <a:ext uri="{FF2B5EF4-FFF2-40B4-BE49-F238E27FC236}">
                  <a16:creationId xmlns:a16="http://schemas.microsoft.com/office/drawing/2014/main" id="{9062A484-71B7-4182-B701-AF300989DB6F}"/>
                </a:ext>
              </a:extLst>
            </p:cNvPr>
            <p:cNvGrpSpPr/>
            <p:nvPr/>
          </p:nvGrpSpPr>
          <p:grpSpPr>
            <a:xfrm>
              <a:off x="6457245" y="4530131"/>
              <a:ext cx="216066" cy="276377"/>
              <a:chOff x="6422295" y="3351500"/>
              <a:chExt cx="252856" cy="323399"/>
            </a:xfrm>
          </p:grpSpPr>
          <p:sp>
            <p:nvSpPr>
              <p:cNvPr id="74" name="Google Shape;95;p2">
                <a:extLst>
                  <a:ext uri="{FF2B5EF4-FFF2-40B4-BE49-F238E27FC236}">
                    <a16:creationId xmlns:a16="http://schemas.microsoft.com/office/drawing/2014/main" id="{D5B2D0E3-2414-483A-A92C-B41C7C2F4383}"/>
                  </a:ext>
                </a:extLst>
              </p:cNvPr>
              <p:cNvSpPr/>
              <p:nvPr/>
            </p:nvSpPr>
            <p:spPr>
              <a:xfrm>
                <a:off x="6422295" y="3351500"/>
                <a:ext cx="252856" cy="323399"/>
              </a:xfrm>
              <a:custGeom>
                <a:avLst/>
                <a:gdLst/>
                <a:ahLst/>
                <a:cxnLst/>
                <a:rect l="l" t="t" r="r" b="b"/>
                <a:pathLst>
                  <a:path w="294019" h="376045" extrusionOk="0">
                    <a:moveTo>
                      <a:pt x="172720" y="274801"/>
                    </a:moveTo>
                    <a:cubicBezTo>
                      <a:pt x="154940" y="268451"/>
                      <a:pt x="140970" y="274801"/>
                      <a:pt x="126365" y="278611"/>
                    </a:cubicBezTo>
                    <a:cubicBezTo>
                      <a:pt x="109855" y="304011"/>
                      <a:pt x="109220" y="334491"/>
                      <a:pt x="99695" y="364336"/>
                    </a:cubicBezTo>
                    <a:cubicBezTo>
                      <a:pt x="71755" y="359256"/>
                      <a:pt x="0" y="392911"/>
                      <a:pt x="0" y="352906"/>
                    </a:cubicBezTo>
                    <a:cubicBezTo>
                      <a:pt x="38100" y="239241"/>
                      <a:pt x="70485" y="123671"/>
                      <a:pt x="102235" y="8101"/>
                    </a:cubicBezTo>
                    <a:cubicBezTo>
                      <a:pt x="248920" y="-26189"/>
                      <a:pt x="236855" y="52551"/>
                      <a:pt x="264160" y="165581"/>
                    </a:cubicBezTo>
                    <a:cubicBezTo>
                      <a:pt x="262255" y="201776"/>
                      <a:pt x="322580" y="359256"/>
                      <a:pt x="276860" y="358621"/>
                    </a:cubicBezTo>
                    <a:cubicBezTo>
                      <a:pt x="153670" y="357986"/>
                      <a:pt x="184150" y="433551"/>
                      <a:pt x="172720" y="274801"/>
                    </a:cubicBezTo>
                    <a:close/>
                    <a:moveTo>
                      <a:pt x="266700" y="331316"/>
                    </a:moveTo>
                    <a:cubicBezTo>
                      <a:pt x="262255" y="229081"/>
                      <a:pt x="236220" y="119861"/>
                      <a:pt x="201295" y="23341"/>
                    </a:cubicBezTo>
                    <a:cubicBezTo>
                      <a:pt x="175895" y="22071"/>
                      <a:pt x="129540" y="8736"/>
                      <a:pt x="120015" y="41121"/>
                    </a:cubicBezTo>
                    <a:cubicBezTo>
                      <a:pt x="86995" y="139546"/>
                      <a:pt x="53975" y="239876"/>
                      <a:pt x="33655" y="341476"/>
                    </a:cubicBezTo>
                    <a:cubicBezTo>
                      <a:pt x="90805" y="367511"/>
                      <a:pt x="90805" y="291946"/>
                      <a:pt x="106680" y="256386"/>
                    </a:cubicBezTo>
                    <a:cubicBezTo>
                      <a:pt x="290195" y="214476"/>
                      <a:pt x="113665" y="389736"/>
                      <a:pt x="266700" y="331316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75" name="Google Shape;96;p2">
                <a:extLst>
                  <a:ext uri="{FF2B5EF4-FFF2-40B4-BE49-F238E27FC236}">
                    <a16:creationId xmlns:a16="http://schemas.microsoft.com/office/drawing/2014/main" id="{4B02C55D-41F4-4253-8C65-32414270B842}"/>
                  </a:ext>
                </a:extLst>
              </p:cNvPr>
              <p:cNvSpPr/>
              <p:nvPr/>
            </p:nvSpPr>
            <p:spPr>
              <a:xfrm>
                <a:off x="6523827" y="3405472"/>
                <a:ext cx="67661" cy="140626"/>
              </a:xfrm>
              <a:custGeom>
                <a:avLst/>
                <a:gdLst/>
                <a:ahLst/>
                <a:cxnLst/>
                <a:rect l="l" t="t" r="r" b="b"/>
                <a:pathLst>
                  <a:path w="78676" h="163519" extrusionOk="0">
                    <a:moveTo>
                      <a:pt x="47759" y="0"/>
                    </a:moveTo>
                    <a:cubicBezTo>
                      <a:pt x="77604" y="36830"/>
                      <a:pt x="59824" y="93345"/>
                      <a:pt x="76969" y="137160"/>
                    </a:cubicBezTo>
                    <a:cubicBezTo>
                      <a:pt x="82049" y="150495"/>
                      <a:pt x="75699" y="170180"/>
                      <a:pt x="59189" y="161290"/>
                    </a:cubicBezTo>
                    <a:cubicBezTo>
                      <a:pt x="38869" y="149860"/>
                      <a:pt x="-8756" y="165735"/>
                      <a:pt x="1404" y="127635"/>
                    </a:cubicBezTo>
                    <a:cubicBezTo>
                      <a:pt x="15374" y="83820"/>
                      <a:pt x="14104" y="35560"/>
                      <a:pt x="47759" y="0"/>
                    </a:cubicBezTo>
                    <a:close/>
                    <a:moveTo>
                      <a:pt x="25534" y="130810"/>
                    </a:moveTo>
                    <a:cubicBezTo>
                      <a:pt x="68714" y="151130"/>
                      <a:pt x="47124" y="101600"/>
                      <a:pt x="44584" y="77470"/>
                    </a:cubicBezTo>
                    <a:cubicBezTo>
                      <a:pt x="31249" y="97155"/>
                      <a:pt x="26804" y="113665"/>
                      <a:pt x="25534" y="13081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grpSp>
          <p:nvGrpSpPr>
            <p:cNvPr id="62" name="Google Shape;97;p2">
              <a:extLst>
                <a:ext uri="{FF2B5EF4-FFF2-40B4-BE49-F238E27FC236}">
                  <a16:creationId xmlns:a16="http://schemas.microsoft.com/office/drawing/2014/main" id="{4B42BFA4-94A2-47FB-884C-087EEABE659B}"/>
                </a:ext>
              </a:extLst>
            </p:cNvPr>
            <p:cNvGrpSpPr/>
            <p:nvPr/>
          </p:nvGrpSpPr>
          <p:grpSpPr>
            <a:xfrm>
              <a:off x="2318449" y="604142"/>
              <a:ext cx="332332" cy="346582"/>
              <a:chOff x="2318449" y="604142"/>
              <a:chExt cx="332332" cy="346582"/>
            </a:xfrm>
          </p:grpSpPr>
          <p:sp>
            <p:nvSpPr>
              <p:cNvPr id="72" name="Google Shape;98;p2">
                <a:extLst>
                  <a:ext uri="{FF2B5EF4-FFF2-40B4-BE49-F238E27FC236}">
                    <a16:creationId xmlns:a16="http://schemas.microsoft.com/office/drawing/2014/main" id="{45BFEA4F-7187-48C0-BE71-F050BBD1D2AC}"/>
                  </a:ext>
                </a:extLst>
              </p:cNvPr>
              <p:cNvSpPr/>
              <p:nvPr/>
            </p:nvSpPr>
            <p:spPr>
              <a:xfrm>
                <a:off x="2361884" y="604142"/>
                <a:ext cx="288826" cy="292506"/>
              </a:xfrm>
              <a:custGeom>
                <a:avLst/>
                <a:gdLst/>
                <a:ahLst/>
                <a:cxnLst/>
                <a:rect l="l" t="t" r="r" b="b"/>
                <a:pathLst>
                  <a:path w="23544" h="23844" extrusionOk="0">
                    <a:moveTo>
                      <a:pt x="12429" y="1"/>
                    </a:moveTo>
                    <a:lnTo>
                      <a:pt x="11234" y="120"/>
                    </a:lnTo>
                    <a:lnTo>
                      <a:pt x="10099" y="359"/>
                    </a:lnTo>
                    <a:lnTo>
                      <a:pt x="9023" y="718"/>
                    </a:lnTo>
                    <a:lnTo>
                      <a:pt x="7948" y="1136"/>
                    </a:lnTo>
                    <a:lnTo>
                      <a:pt x="6872" y="1614"/>
                    </a:lnTo>
                    <a:lnTo>
                      <a:pt x="5856" y="2212"/>
                    </a:lnTo>
                    <a:lnTo>
                      <a:pt x="4960" y="2869"/>
                    </a:lnTo>
                    <a:lnTo>
                      <a:pt x="4064" y="3586"/>
                    </a:lnTo>
                    <a:lnTo>
                      <a:pt x="3227" y="4363"/>
                    </a:lnTo>
                    <a:lnTo>
                      <a:pt x="2510" y="5259"/>
                    </a:lnTo>
                    <a:lnTo>
                      <a:pt x="1853" y="6156"/>
                    </a:lnTo>
                    <a:lnTo>
                      <a:pt x="1255" y="7112"/>
                    </a:lnTo>
                    <a:lnTo>
                      <a:pt x="777" y="8128"/>
                    </a:lnTo>
                    <a:lnTo>
                      <a:pt x="418" y="9203"/>
                    </a:lnTo>
                    <a:lnTo>
                      <a:pt x="179" y="10279"/>
                    </a:lnTo>
                    <a:lnTo>
                      <a:pt x="0" y="11414"/>
                    </a:lnTo>
                    <a:lnTo>
                      <a:pt x="0" y="12609"/>
                    </a:lnTo>
                    <a:lnTo>
                      <a:pt x="179" y="13804"/>
                    </a:lnTo>
                    <a:lnTo>
                      <a:pt x="418" y="14999"/>
                    </a:lnTo>
                    <a:lnTo>
                      <a:pt x="777" y="16075"/>
                    </a:lnTo>
                    <a:lnTo>
                      <a:pt x="1315" y="17151"/>
                    </a:lnTo>
                    <a:lnTo>
                      <a:pt x="1912" y="18166"/>
                    </a:lnTo>
                    <a:lnTo>
                      <a:pt x="2570" y="19063"/>
                    </a:lnTo>
                    <a:lnTo>
                      <a:pt x="3346" y="19959"/>
                    </a:lnTo>
                    <a:lnTo>
                      <a:pt x="4243" y="20736"/>
                    </a:lnTo>
                    <a:lnTo>
                      <a:pt x="5139" y="21453"/>
                    </a:lnTo>
                    <a:lnTo>
                      <a:pt x="6155" y="22110"/>
                    </a:lnTo>
                    <a:lnTo>
                      <a:pt x="7171" y="22648"/>
                    </a:lnTo>
                    <a:lnTo>
                      <a:pt x="8306" y="23066"/>
                    </a:lnTo>
                    <a:lnTo>
                      <a:pt x="9382" y="23425"/>
                    </a:lnTo>
                    <a:lnTo>
                      <a:pt x="10517" y="23664"/>
                    </a:lnTo>
                    <a:lnTo>
                      <a:pt x="11712" y="23783"/>
                    </a:lnTo>
                    <a:lnTo>
                      <a:pt x="12848" y="23843"/>
                    </a:lnTo>
                    <a:lnTo>
                      <a:pt x="14043" y="23724"/>
                    </a:lnTo>
                    <a:lnTo>
                      <a:pt x="15238" y="23485"/>
                    </a:lnTo>
                    <a:lnTo>
                      <a:pt x="16373" y="23066"/>
                    </a:lnTo>
                    <a:lnTo>
                      <a:pt x="17449" y="22588"/>
                    </a:lnTo>
                    <a:lnTo>
                      <a:pt x="18465" y="21991"/>
                    </a:lnTo>
                    <a:lnTo>
                      <a:pt x="19421" y="21274"/>
                    </a:lnTo>
                    <a:lnTo>
                      <a:pt x="20317" y="20497"/>
                    </a:lnTo>
                    <a:lnTo>
                      <a:pt x="21094" y="19660"/>
                    </a:lnTo>
                    <a:lnTo>
                      <a:pt x="21751" y="18704"/>
                    </a:lnTo>
                    <a:lnTo>
                      <a:pt x="22349" y="17688"/>
                    </a:lnTo>
                    <a:lnTo>
                      <a:pt x="22827" y="16673"/>
                    </a:lnTo>
                    <a:lnTo>
                      <a:pt x="23185" y="15537"/>
                    </a:lnTo>
                    <a:lnTo>
                      <a:pt x="23424" y="14402"/>
                    </a:lnTo>
                    <a:lnTo>
                      <a:pt x="23544" y="13207"/>
                    </a:lnTo>
                    <a:lnTo>
                      <a:pt x="23544" y="12071"/>
                    </a:lnTo>
                    <a:lnTo>
                      <a:pt x="23484" y="11474"/>
                    </a:lnTo>
                    <a:lnTo>
                      <a:pt x="23364" y="10876"/>
                    </a:lnTo>
                    <a:lnTo>
                      <a:pt x="23185" y="10279"/>
                    </a:lnTo>
                    <a:lnTo>
                      <a:pt x="23006" y="9681"/>
                    </a:lnTo>
                    <a:lnTo>
                      <a:pt x="23006" y="9024"/>
                    </a:lnTo>
                    <a:lnTo>
                      <a:pt x="22946" y="8426"/>
                    </a:lnTo>
                    <a:lnTo>
                      <a:pt x="22827" y="7889"/>
                    </a:lnTo>
                    <a:lnTo>
                      <a:pt x="22707" y="7291"/>
                    </a:lnTo>
                    <a:lnTo>
                      <a:pt x="22528" y="6753"/>
                    </a:lnTo>
                    <a:lnTo>
                      <a:pt x="22349" y="6215"/>
                    </a:lnTo>
                    <a:lnTo>
                      <a:pt x="21811" y="5200"/>
                    </a:lnTo>
                    <a:lnTo>
                      <a:pt x="21213" y="4243"/>
                    </a:lnTo>
                    <a:lnTo>
                      <a:pt x="20496" y="3407"/>
                    </a:lnTo>
                    <a:lnTo>
                      <a:pt x="19719" y="2630"/>
                    </a:lnTo>
                    <a:lnTo>
                      <a:pt x="18823" y="1973"/>
                    </a:lnTo>
                    <a:lnTo>
                      <a:pt x="17867" y="1375"/>
                    </a:lnTo>
                    <a:lnTo>
                      <a:pt x="16851" y="837"/>
                    </a:lnTo>
                    <a:lnTo>
                      <a:pt x="15776" y="479"/>
                    </a:lnTo>
                    <a:lnTo>
                      <a:pt x="14700" y="180"/>
                    </a:lnTo>
                    <a:lnTo>
                      <a:pt x="13565" y="61"/>
                    </a:lnTo>
                    <a:lnTo>
                      <a:pt x="1242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99;p2">
                <a:extLst>
                  <a:ext uri="{FF2B5EF4-FFF2-40B4-BE49-F238E27FC236}">
                    <a16:creationId xmlns:a16="http://schemas.microsoft.com/office/drawing/2014/main" id="{5E5C0466-3ECB-4D2F-A47F-B12B99490945}"/>
                  </a:ext>
                </a:extLst>
              </p:cNvPr>
              <p:cNvSpPr/>
              <p:nvPr/>
            </p:nvSpPr>
            <p:spPr>
              <a:xfrm>
                <a:off x="2318449" y="613815"/>
                <a:ext cx="332332" cy="336908"/>
              </a:xfrm>
              <a:custGeom>
                <a:avLst/>
                <a:gdLst/>
                <a:ahLst/>
                <a:cxnLst/>
                <a:rect l="l" t="t" r="r" b="b"/>
                <a:pathLst>
                  <a:path w="386433" h="391754" extrusionOk="0">
                    <a:moveTo>
                      <a:pt x="22225" y="106004"/>
                    </a:moveTo>
                    <a:cubicBezTo>
                      <a:pt x="40640" y="82509"/>
                      <a:pt x="84455" y="92670"/>
                      <a:pt x="109855" y="76795"/>
                    </a:cubicBezTo>
                    <a:cubicBezTo>
                      <a:pt x="113030" y="58379"/>
                      <a:pt x="107315" y="43139"/>
                      <a:pt x="98425" y="27264"/>
                    </a:cubicBezTo>
                    <a:cubicBezTo>
                      <a:pt x="122555" y="8850"/>
                      <a:pt x="153035" y="-7661"/>
                      <a:pt x="182880" y="3770"/>
                    </a:cubicBezTo>
                    <a:cubicBezTo>
                      <a:pt x="186690" y="19645"/>
                      <a:pt x="190500" y="36789"/>
                      <a:pt x="194945" y="55839"/>
                    </a:cubicBezTo>
                    <a:cubicBezTo>
                      <a:pt x="226695" y="60284"/>
                      <a:pt x="256540" y="42504"/>
                      <a:pt x="287020" y="52664"/>
                    </a:cubicBezTo>
                    <a:cubicBezTo>
                      <a:pt x="300355" y="119339"/>
                      <a:pt x="327660" y="186014"/>
                      <a:pt x="373380" y="237450"/>
                    </a:cubicBezTo>
                    <a:cubicBezTo>
                      <a:pt x="386080" y="250150"/>
                      <a:pt x="388620" y="262850"/>
                      <a:pt x="384810" y="280629"/>
                    </a:cubicBezTo>
                    <a:cubicBezTo>
                      <a:pt x="356870" y="380325"/>
                      <a:pt x="198755" y="356195"/>
                      <a:pt x="115570" y="391754"/>
                    </a:cubicBezTo>
                    <a:cubicBezTo>
                      <a:pt x="31115" y="324445"/>
                      <a:pt x="4445" y="213320"/>
                      <a:pt x="0" y="108545"/>
                    </a:cubicBezTo>
                    <a:cubicBezTo>
                      <a:pt x="8890" y="107275"/>
                      <a:pt x="15875" y="106004"/>
                      <a:pt x="22860" y="105370"/>
                    </a:cubicBezTo>
                    <a:cubicBezTo>
                      <a:pt x="16510" y="199984"/>
                      <a:pt x="46990" y="300314"/>
                      <a:pt x="115570" y="368259"/>
                    </a:cubicBezTo>
                    <a:cubicBezTo>
                      <a:pt x="184150" y="354925"/>
                      <a:pt x="258445" y="348575"/>
                      <a:pt x="323215" y="320634"/>
                    </a:cubicBezTo>
                    <a:cubicBezTo>
                      <a:pt x="316865" y="290789"/>
                      <a:pt x="302895" y="271104"/>
                      <a:pt x="309245" y="243164"/>
                    </a:cubicBezTo>
                    <a:cubicBezTo>
                      <a:pt x="322580" y="243164"/>
                      <a:pt x="333375" y="243164"/>
                      <a:pt x="347980" y="243164"/>
                    </a:cubicBezTo>
                    <a:cubicBezTo>
                      <a:pt x="325755" y="189825"/>
                      <a:pt x="288290" y="147279"/>
                      <a:pt x="278765" y="88225"/>
                    </a:cubicBezTo>
                    <a:cubicBezTo>
                      <a:pt x="273685" y="48220"/>
                      <a:pt x="226695" y="69809"/>
                      <a:pt x="203835" y="81875"/>
                    </a:cubicBezTo>
                    <a:cubicBezTo>
                      <a:pt x="206375" y="93304"/>
                      <a:pt x="208280" y="102829"/>
                      <a:pt x="210185" y="112354"/>
                    </a:cubicBezTo>
                    <a:cubicBezTo>
                      <a:pt x="182245" y="123784"/>
                      <a:pt x="158115" y="145375"/>
                      <a:pt x="128270" y="132675"/>
                    </a:cubicBezTo>
                    <a:cubicBezTo>
                      <a:pt x="121285" y="63459"/>
                      <a:pt x="57150" y="126325"/>
                      <a:pt x="22225" y="106004"/>
                    </a:cubicBezTo>
                    <a:close/>
                    <a:moveTo>
                      <a:pt x="165100" y="21550"/>
                    </a:moveTo>
                    <a:cubicBezTo>
                      <a:pt x="107315" y="11389"/>
                      <a:pt x="133350" y="88225"/>
                      <a:pt x="145415" y="118070"/>
                    </a:cubicBezTo>
                    <a:cubicBezTo>
                      <a:pt x="163195" y="119975"/>
                      <a:pt x="173355" y="109814"/>
                      <a:pt x="185420" y="100289"/>
                    </a:cubicBezTo>
                    <a:cubicBezTo>
                      <a:pt x="179070" y="72984"/>
                      <a:pt x="172720" y="46314"/>
                      <a:pt x="165100" y="21550"/>
                    </a:cubicBezTo>
                    <a:close/>
                    <a:moveTo>
                      <a:pt x="327660" y="266025"/>
                    </a:moveTo>
                    <a:cubicBezTo>
                      <a:pt x="328930" y="337145"/>
                      <a:pt x="368300" y="313014"/>
                      <a:pt x="357505" y="266025"/>
                    </a:cubicBezTo>
                    <a:cubicBezTo>
                      <a:pt x="349885" y="266025"/>
                      <a:pt x="340360" y="266025"/>
                      <a:pt x="327660" y="266025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63" name="Google Shape;100;p2">
              <a:extLst>
                <a:ext uri="{FF2B5EF4-FFF2-40B4-BE49-F238E27FC236}">
                  <a16:creationId xmlns:a16="http://schemas.microsoft.com/office/drawing/2014/main" id="{FA513803-C6DB-4A96-B1CD-9E139ADB0FB6}"/>
                </a:ext>
              </a:extLst>
            </p:cNvPr>
            <p:cNvSpPr/>
            <p:nvPr/>
          </p:nvSpPr>
          <p:spPr>
            <a:xfrm>
              <a:off x="6021196" y="137179"/>
              <a:ext cx="265484" cy="205157"/>
            </a:xfrm>
            <a:custGeom>
              <a:avLst/>
              <a:gdLst/>
              <a:ahLst/>
              <a:cxnLst/>
              <a:rect l="l" t="t" r="r" b="b"/>
              <a:pathLst>
                <a:path w="308702" h="238555" extrusionOk="0">
                  <a:moveTo>
                    <a:pt x="275682" y="130540"/>
                  </a:moveTo>
                  <a:cubicBezTo>
                    <a:pt x="186782" y="134985"/>
                    <a:pt x="95977" y="143875"/>
                    <a:pt x="7712" y="150225"/>
                  </a:cubicBezTo>
                  <a:cubicBezTo>
                    <a:pt x="-8798" y="168640"/>
                    <a:pt x="1997" y="241030"/>
                    <a:pt x="32477" y="238490"/>
                  </a:cubicBezTo>
                  <a:cubicBezTo>
                    <a:pt x="126457" y="218805"/>
                    <a:pt x="214087" y="238490"/>
                    <a:pt x="308702" y="211820"/>
                  </a:cubicBezTo>
                  <a:cubicBezTo>
                    <a:pt x="278857" y="185150"/>
                    <a:pt x="322672" y="132445"/>
                    <a:pt x="275682" y="130540"/>
                  </a:cubicBezTo>
                  <a:close/>
                  <a:moveTo>
                    <a:pt x="271872" y="187690"/>
                  </a:moveTo>
                  <a:cubicBezTo>
                    <a:pt x="200752" y="219440"/>
                    <a:pt x="111217" y="202930"/>
                    <a:pt x="33112" y="211185"/>
                  </a:cubicBezTo>
                  <a:cubicBezTo>
                    <a:pt x="25492" y="195310"/>
                    <a:pt x="24857" y="195310"/>
                    <a:pt x="29302" y="175625"/>
                  </a:cubicBezTo>
                  <a:cubicBezTo>
                    <a:pt x="108677" y="166100"/>
                    <a:pt x="196307" y="146415"/>
                    <a:pt x="274412" y="159750"/>
                  </a:cubicBezTo>
                  <a:cubicBezTo>
                    <a:pt x="273777" y="169275"/>
                    <a:pt x="272507" y="179435"/>
                    <a:pt x="271872" y="187690"/>
                  </a:cubicBezTo>
                  <a:close/>
                  <a:moveTo>
                    <a:pt x="3902" y="80375"/>
                  </a:moveTo>
                  <a:cubicBezTo>
                    <a:pt x="10252" y="126095"/>
                    <a:pt x="181067" y="83550"/>
                    <a:pt x="218532" y="87995"/>
                  </a:cubicBezTo>
                  <a:cubicBezTo>
                    <a:pt x="295367" y="95615"/>
                    <a:pt x="307432" y="97520"/>
                    <a:pt x="293462" y="19415"/>
                  </a:cubicBezTo>
                  <a:cubicBezTo>
                    <a:pt x="285842" y="-17415"/>
                    <a:pt x="73117" y="11160"/>
                    <a:pt x="28032" y="2270"/>
                  </a:cubicBezTo>
                  <a:cubicBezTo>
                    <a:pt x="-10068" y="1635"/>
                    <a:pt x="6442" y="55610"/>
                    <a:pt x="3902" y="80375"/>
                  </a:cubicBezTo>
                  <a:close/>
                  <a:moveTo>
                    <a:pt x="40097" y="25130"/>
                  </a:moveTo>
                  <a:cubicBezTo>
                    <a:pt x="78197" y="25765"/>
                    <a:pt x="115027" y="14970"/>
                    <a:pt x="153762" y="23225"/>
                  </a:cubicBezTo>
                  <a:cubicBezTo>
                    <a:pt x="189957" y="39735"/>
                    <a:pt x="274412" y="-6620"/>
                    <a:pt x="276317" y="52435"/>
                  </a:cubicBezTo>
                  <a:cubicBezTo>
                    <a:pt x="287747" y="79105"/>
                    <a:pt x="54067" y="73390"/>
                    <a:pt x="26762" y="72120"/>
                  </a:cubicBezTo>
                  <a:cubicBezTo>
                    <a:pt x="27397" y="54975"/>
                    <a:pt x="15332" y="26400"/>
                    <a:pt x="40097" y="2513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grpSp>
          <p:nvGrpSpPr>
            <p:cNvPr id="64" name="Google Shape;101;p2">
              <a:extLst>
                <a:ext uri="{FF2B5EF4-FFF2-40B4-BE49-F238E27FC236}">
                  <a16:creationId xmlns:a16="http://schemas.microsoft.com/office/drawing/2014/main" id="{B80C4209-0690-4AAC-BF88-3AB881D5F86A}"/>
                </a:ext>
              </a:extLst>
            </p:cNvPr>
            <p:cNvGrpSpPr/>
            <p:nvPr/>
          </p:nvGrpSpPr>
          <p:grpSpPr>
            <a:xfrm>
              <a:off x="1184427" y="4630083"/>
              <a:ext cx="229693" cy="293080"/>
              <a:chOff x="6793660" y="3322411"/>
              <a:chExt cx="268804" cy="342944"/>
            </a:xfrm>
          </p:grpSpPr>
          <p:sp>
            <p:nvSpPr>
              <p:cNvPr id="69" name="Google Shape;102;p2">
                <a:extLst>
                  <a:ext uri="{FF2B5EF4-FFF2-40B4-BE49-F238E27FC236}">
                    <a16:creationId xmlns:a16="http://schemas.microsoft.com/office/drawing/2014/main" id="{B923C977-ADAA-4F71-9F28-0DB582894E5B}"/>
                  </a:ext>
                </a:extLst>
              </p:cNvPr>
              <p:cNvSpPr/>
              <p:nvPr/>
            </p:nvSpPr>
            <p:spPr>
              <a:xfrm>
                <a:off x="6793660" y="3322411"/>
                <a:ext cx="268804" cy="342944"/>
              </a:xfrm>
              <a:custGeom>
                <a:avLst/>
                <a:gdLst/>
                <a:ahLst/>
                <a:cxnLst/>
                <a:rect l="l" t="t" r="r" b="b"/>
                <a:pathLst>
                  <a:path w="312563" h="398772" extrusionOk="0">
                    <a:moveTo>
                      <a:pt x="216826" y="153028"/>
                    </a:moveTo>
                    <a:cubicBezTo>
                      <a:pt x="221271" y="163188"/>
                      <a:pt x="230796" y="165093"/>
                      <a:pt x="238416" y="166997"/>
                    </a:cubicBezTo>
                    <a:cubicBezTo>
                      <a:pt x="302551" y="185413"/>
                      <a:pt x="337476" y="278758"/>
                      <a:pt x="291756" y="323843"/>
                    </a:cubicBezTo>
                    <a:cubicBezTo>
                      <a:pt x="232701" y="397503"/>
                      <a:pt x="134911" y="398772"/>
                      <a:pt x="48551" y="398772"/>
                    </a:cubicBezTo>
                    <a:cubicBezTo>
                      <a:pt x="926" y="373372"/>
                      <a:pt x="31406" y="246372"/>
                      <a:pt x="16166" y="193668"/>
                    </a:cubicBezTo>
                    <a:cubicBezTo>
                      <a:pt x="21881" y="142868"/>
                      <a:pt x="-23839" y="59047"/>
                      <a:pt x="17436" y="23488"/>
                    </a:cubicBezTo>
                    <a:cubicBezTo>
                      <a:pt x="114591" y="-33028"/>
                      <a:pt x="340016" y="13328"/>
                      <a:pt x="216826" y="153028"/>
                    </a:cubicBezTo>
                    <a:close/>
                    <a:moveTo>
                      <a:pt x="54901" y="378453"/>
                    </a:moveTo>
                    <a:cubicBezTo>
                      <a:pt x="170471" y="401313"/>
                      <a:pt x="394626" y="293997"/>
                      <a:pt x="234606" y="185413"/>
                    </a:cubicBezTo>
                    <a:cubicBezTo>
                      <a:pt x="203491" y="168903"/>
                      <a:pt x="153326" y="198747"/>
                      <a:pt x="133006" y="175253"/>
                    </a:cubicBezTo>
                    <a:cubicBezTo>
                      <a:pt x="144436" y="149218"/>
                      <a:pt x="190791" y="149218"/>
                      <a:pt x="209206" y="125088"/>
                    </a:cubicBezTo>
                    <a:cubicBezTo>
                      <a:pt x="287946" y="16503"/>
                      <a:pt x="107606" y="-642"/>
                      <a:pt x="40296" y="38093"/>
                    </a:cubicBezTo>
                    <a:cubicBezTo>
                      <a:pt x="2831" y="52697"/>
                      <a:pt x="33311" y="106672"/>
                      <a:pt x="30136" y="137153"/>
                    </a:cubicBezTo>
                    <a:cubicBezTo>
                      <a:pt x="44741" y="218433"/>
                      <a:pt x="40931" y="297808"/>
                      <a:pt x="54901" y="378453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70" name="Google Shape;103;p2">
                <a:extLst>
                  <a:ext uri="{FF2B5EF4-FFF2-40B4-BE49-F238E27FC236}">
                    <a16:creationId xmlns:a16="http://schemas.microsoft.com/office/drawing/2014/main" id="{A15BC7F6-A2A2-4D19-AC66-B91FA8853697}"/>
                  </a:ext>
                </a:extLst>
              </p:cNvPr>
              <p:cNvSpPr/>
              <p:nvPr/>
            </p:nvSpPr>
            <p:spPr>
              <a:xfrm>
                <a:off x="6856211" y="3513113"/>
                <a:ext cx="129046" cy="89953"/>
              </a:xfrm>
              <a:custGeom>
                <a:avLst/>
                <a:gdLst/>
                <a:ahLst/>
                <a:cxnLst/>
                <a:rect l="l" t="t" r="r" b="b"/>
                <a:pathLst>
                  <a:path w="150053" h="104597" extrusionOk="0">
                    <a:moveTo>
                      <a:pt x="0" y="23515"/>
                    </a:moveTo>
                    <a:cubicBezTo>
                      <a:pt x="96520" y="-43160"/>
                      <a:pt x="239395" y="48280"/>
                      <a:pt x="74930" y="95905"/>
                    </a:cubicBezTo>
                    <a:cubicBezTo>
                      <a:pt x="-23495" y="118765"/>
                      <a:pt x="19685" y="97175"/>
                      <a:pt x="0" y="23515"/>
                    </a:cubicBezTo>
                    <a:close/>
                    <a:moveTo>
                      <a:pt x="92075" y="16530"/>
                    </a:moveTo>
                    <a:cubicBezTo>
                      <a:pt x="57150" y="22880"/>
                      <a:pt x="17780" y="24150"/>
                      <a:pt x="31750" y="69235"/>
                    </a:cubicBezTo>
                    <a:cubicBezTo>
                      <a:pt x="53340" y="109875"/>
                      <a:pt x="184150" y="29230"/>
                      <a:pt x="92075" y="1653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  <p:sp>
            <p:nvSpPr>
              <p:cNvPr id="71" name="Google Shape;104;p2">
                <a:extLst>
                  <a:ext uri="{FF2B5EF4-FFF2-40B4-BE49-F238E27FC236}">
                    <a16:creationId xmlns:a16="http://schemas.microsoft.com/office/drawing/2014/main" id="{9FEC534F-B9AF-47D0-9970-81E5E96067BD}"/>
                  </a:ext>
                </a:extLst>
              </p:cNvPr>
              <p:cNvSpPr/>
              <p:nvPr/>
            </p:nvSpPr>
            <p:spPr>
              <a:xfrm>
                <a:off x="6843642" y="3359143"/>
                <a:ext cx="112645" cy="75760"/>
              </a:xfrm>
              <a:custGeom>
                <a:avLst/>
                <a:gdLst/>
                <a:ahLst/>
                <a:cxnLst/>
                <a:rect l="l" t="t" r="r" b="b"/>
                <a:pathLst>
                  <a:path w="130983" h="88093" extrusionOk="0">
                    <a:moveTo>
                      <a:pt x="0" y="22716"/>
                    </a:moveTo>
                    <a:cubicBezTo>
                      <a:pt x="33020" y="8111"/>
                      <a:pt x="162560" y="-29989"/>
                      <a:pt x="123825" y="44941"/>
                    </a:cubicBezTo>
                    <a:cubicBezTo>
                      <a:pt x="67945" y="81136"/>
                      <a:pt x="0" y="130031"/>
                      <a:pt x="0" y="22716"/>
                    </a:cubicBezTo>
                    <a:close/>
                    <a:moveTo>
                      <a:pt x="34289" y="67166"/>
                    </a:moveTo>
                    <a:cubicBezTo>
                      <a:pt x="60325" y="58911"/>
                      <a:pt x="96520" y="46846"/>
                      <a:pt x="102235" y="20176"/>
                    </a:cubicBezTo>
                    <a:cubicBezTo>
                      <a:pt x="74295" y="17636"/>
                      <a:pt x="50164" y="25256"/>
                      <a:pt x="27305" y="37321"/>
                    </a:cubicBezTo>
                    <a:cubicBezTo>
                      <a:pt x="24130" y="49386"/>
                      <a:pt x="24764" y="57641"/>
                      <a:pt x="34289" y="67166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Short Stack"/>
                  <a:ea typeface="Short Stack"/>
                  <a:cs typeface="Short Stack"/>
                  <a:sym typeface="Short Stack"/>
                </a:endParaRPr>
              </a:p>
            </p:txBody>
          </p:sp>
        </p:grpSp>
        <p:sp>
          <p:nvSpPr>
            <p:cNvPr id="65" name="Google Shape;105;p2">
              <a:extLst>
                <a:ext uri="{FF2B5EF4-FFF2-40B4-BE49-F238E27FC236}">
                  <a16:creationId xmlns:a16="http://schemas.microsoft.com/office/drawing/2014/main" id="{3C5A8E4E-2D95-42E0-BFF6-55CD715703A5}"/>
                </a:ext>
              </a:extLst>
            </p:cNvPr>
            <p:cNvSpPr/>
            <p:nvPr/>
          </p:nvSpPr>
          <p:spPr>
            <a:xfrm>
              <a:off x="4843337" y="836403"/>
              <a:ext cx="377232" cy="204888"/>
            </a:xfrm>
            <a:custGeom>
              <a:avLst/>
              <a:gdLst/>
              <a:ahLst/>
              <a:cxnLst/>
              <a:rect l="l" t="t" r="r" b="b"/>
              <a:pathLst>
                <a:path w="550703" h="299106" extrusionOk="0">
                  <a:moveTo>
                    <a:pt x="315400" y="163550"/>
                  </a:moveTo>
                  <a:cubicBezTo>
                    <a:pt x="376995" y="159105"/>
                    <a:pt x="479865" y="221335"/>
                    <a:pt x="505265" y="137515"/>
                  </a:cubicBezTo>
                  <a:cubicBezTo>
                    <a:pt x="521140" y="29565"/>
                    <a:pt x="410015" y="17500"/>
                    <a:pt x="347150" y="85445"/>
                  </a:cubicBezTo>
                  <a:cubicBezTo>
                    <a:pt x="271585" y="162915"/>
                    <a:pt x="215070" y="322300"/>
                    <a:pt x="82355" y="296265"/>
                  </a:cubicBezTo>
                  <a:cubicBezTo>
                    <a:pt x="-122750" y="216255"/>
                    <a:pt x="103945" y="13055"/>
                    <a:pt x="235390" y="104495"/>
                  </a:cubicBezTo>
                  <a:cubicBezTo>
                    <a:pt x="255075" y="120370"/>
                    <a:pt x="243645" y="141960"/>
                    <a:pt x="220150" y="127990"/>
                  </a:cubicBezTo>
                  <a:cubicBezTo>
                    <a:pt x="107120" y="72745"/>
                    <a:pt x="-35755" y="251180"/>
                    <a:pt x="118550" y="248640"/>
                  </a:cubicBezTo>
                  <a:cubicBezTo>
                    <a:pt x="248725" y="211810"/>
                    <a:pt x="274760" y="49885"/>
                    <a:pt x="402395" y="9245"/>
                  </a:cubicBezTo>
                  <a:cubicBezTo>
                    <a:pt x="433510" y="1625"/>
                    <a:pt x="474785" y="-10440"/>
                    <a:pt x="498280" y="17500"/>
                  </a:cubicBezTo>
                  <a:cubicBezTo>
                    <a:pt x="519235" y="48615"/>
                    <a:pt x="559240" y="75920"/>
                    <a:pt x="549080" y="117830"/>
                  </a:cubicBezTo>
                  <a:cubicBezTo>
                    <a:pt x="541460" y="223240"/>
                    <a:pt x="350325" y="257530"/>
                    <a:pt x="315400" y="163550"/>
                  </a:cubicBezTo>
                  <a:close/>
                  <a:moveTo>
                    <a:pt x="128710" y="265785"/>
                  </a:moveTo>
                  <a:cubicBezTo>
                    <a:pt x="119820" y="279120"/>
                    <a:pt x="105215" y="267055"/>
                    <a:pt x="94420" y="274040"/>
                  </a:cubicBezTo>
                  <a:cubicBezTo>
                    <a:pt x="113470" y="281660"/>
                    <a:pt x="117280" y="256260"/>
                    <a:pt x="133790" y="268960"/>
                  </a:cubicBezTo>
                  <a:cubicBezTo>
                    <a:pt x="135060" y="268960"/>
                    <a:pt x="136330" y="267690"/>
                    <a:pt x="137600" y="267055"/>
                  </a:cubicBezTo>
                  <a:cubicBezTo>
                    <a:pt x="134425" y="266420"/>
                    <a:pt x="131885" y="266420"/>
                    <a:pt x="128710" y="265785"/>
                  </a:cubicBezTo>
                  <a:close/>
                  <a:moveTo>
                    <a:pt x="39175" y="164820"/>
                  </a:moveTo>
                  <a:cubicBezTo>
                    <a:pt x="11870" y="209270"/>
                    <a:pt x="25205" y="257530"/>
                    <a:pt x="65210" y="265150"/>
                  </a:cubicBezTo>
                  <a:cubicBezTo>
                    <a:pt x="34730" y="237210"/>
                    <a:pt x="20125" y="205460"/>
                    <a:pt x="39175" y="16482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66" name="Google Shape;106;p2">
              <a:extLst>
                <a:ext uri="{FF2B5EF4-FFF2-40B4-BE49-F238E27FC236}">
                  <a16:creationId xmlns:a16="http://schemas.microsoft.com/office/drawing/2014/main" id="{7401099E-BCAB-4984-9156-073D0B5C8ADF}"/>
                </a:ext>
              </a:extLst>
            </p:cNvPr>
            <p:cNvSpPr/>
            <p:nvPr/>
          </p:nvSpPr>
          <p:spPr>
            <a:xfrm rot="-2218186">
              <a:off x="-38492" y="151543"/>
              <a:ext cx="236276" cy="230041"/>
            </a:xfrm>
            <a:custGeom>
              <a:avLst/>
              <a:gdLst/>
              <a:ahLst/>
              <a:cxnLst/>
              <a:rect l="l" t="t" r="r" b="b"/>
              <a:pathLst>
                <a:path w="274579" h="267334" extrusionOk="0">
                  <a:moveTo>
                    <a:pt x="222259" y="167640"/>
                  </a:moveTo>
                  <a:cubicBezTo>
                    <a:pt x="200669" y="206375"/>
                    <a:pt x="227974" y="238760"/>
                    <a:pt x="193049" y="267335"/>
                  </a:cubicBezTo>
                  <a:cubicBezTo>
                    <a:pt x="166379" y="251460"/>
                    <a:pt x="158124" y="217805"/>
                    <a:pt x="132724" y="198755"/>
                  </a:cubicBezTo>
                  <a:cubicBezTo>
                    <a:pt x="50809" y="235585"/>
                    <a:pt x="-626" y="271780"/>
                    <a:pt x="51444" y="151130"/>
                  </a:cubicBezTo>
                  <a:cubicBezTo>
                    <a:pt x="27949" y="105410"/>
                    <a:pt x="-53966" y="71120"/>
                    <a:pt x="55889" y="73660"/>
                  </a:cubicBezTo>
                  <a:cubicBezTo>
                    <a:pt x="107959" y="83820"/>
                    <a:pt x="113674" y="19685"/>
                    <a:pt x="156854" y="0"/>
                  </a:cubicBezTo>
                  <a:cubicBezTo>
                    <a:pt x="186064" y="11430"/>
                    <a:pt x="174634" y="57785"/>
                    <a:pt x="184794" y="83185"/>
                  </a:cubicBezTo>
                  <a:cubicBezTo>
                    <a:pt x="215274" y="124460"/>
                    <a:pt x="346084" y="109220"/>
                    <a:pt x="222259" y="167640"/>
                  </a:cubicBezTo>
                  <a:close/>
                  <a:moveTo>
                    <a:pt x="151774" y="35560"/>
                  </a:moveTo>
                  <a:cubicBezTo>
                    <a:pt x="100339" y="85725"/>
                    <a:pt x="120659" y="93980"/>
                    <a:pt x="39379" y="97790"/>
                  </a:cubicBezTo>
                  <a:cubicBezTo>
                    <a:pt x="53349" y="115570"/>
                    <a:pt x="65414" y="131445"/>
                    <a:pt x="76844" y="146685"/>
                  </a:cubicBezTo>
                  <a:cubicBezTo>
                    <a:pt x="74304" y="165735"/>
                    <a:pt x="60969" y="180340"/>
                    <a:pt x="63509" y="201295"/>
                  </a:cubicBezTo>
                  <a:cubicBezTo>
                    <a:pt x="123199" y="180975"/>
                    <a:pt x="142884" y="154940"/>
                    <a:pt x="178444" y="226695"/>
                  </a:cubicBezTo>
                  <a:cubicBezTo>
                    <a:pt x="181619" y="231140"/>
                    <a:pt x="184794" y="234950"/>
                    <a:pt x="191779" y="231140"/>
                  </a:cubicBezTo>
                  <a:cubicBezTo>
                    <a:pt x="200034" y="175260"/>
                    <a:pt x="182889" y="165735"/>
                    <a:pt x="231784" y="129540"/>
                  </a:cubicBezTo>
                  <a:cubicBezTo>
                    <a:pt x="152409" y="103505"/>
                    <a:pt x="167014" y="113030"/>
                    <a:pt x="151774" y="3556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67" name="Google Shape;107;p2">
              <a:extLst>
                <a:ext uri="{FF2B5EF4-FFF2-40B4-BE49-F238E27FC236}">
                  <a16:creationId xmlns:a16="http://schemas.microsoft.com/office/drawing/2014/main" id="{F99A971C-E4E0-4CA7-8E34-DA50FE569F9B}"/>
                </a:ext>
              </a:extLst>
            </p:cNvPr>
            <p:cNvSpPr/>
            <p:nvPr/>
          </p:nvSpPr>
          <p:spPr>
            <a:xfrm rot="1464154">
              <a:off x="4569091" y="-94554"/>
              <a:ext cx="235935" cy="229710"/>
            </a:xfrm>
            <a:custGeom>
              <a:avLst/>
              <a:gdLst/>
              <a:ahLst/>
              <a:cxnLst/>
              <a:rect l="l" t="t" r="r" b="b"/>
              <a:pathLst>
                <a:path w="274579" h="267334" extrusionOk="0">
                  <a:moveTo>
                    <a:pt x="222259" y="167640"/>
                  </a:moveTo>
                  <a:cubicBezTo>
                    <a:pt x="200669" y="206375"/>
                    <a:pt x="227974" y="238760"/>
                    <a:pt x="193049" y="267335"/>
                  </a:cubicBezTo>
                  <a:cubicBezTo>
                    <a:pt x="166379" y="251460"/>
                    <a:pt x="158124" y="217805"/>
                    <a:pt x="132724" y="198755"/>
                  </a:cubicBezTo>
                  <a:cubicBezTo>
                    <a:pt x="50809" y="235585"/>
                    <a:pt x="-626" y="271780"/>
                    <a:pt x="51444" y="151130"/>
                  </a:cubicBezTo>
                  <a:cubicBezTo>
                    <a:pt x="27949" y="105410"/>
                    <a:pt x="-53966" y="71120"/>
                    <a:pt x="55889" y="73660"/>
                  </a:cubicBezTo>
                  <a:cubicBezTo>
                    <a:pt x="107959" y="83820"/>
                    <a:pt x="113674" y="19685"/>
                    <a:pt x="156854" y="0"/>
                  </a:cubicBezTo>
                  <a:cubicBezTo>
                    <a:pt x="186064" y="11430"/>
                    <a:pt x="174634" y="57785"/>
                    <a:pt x="184794" y="83185"/>
                  </a:cubicBezTo>
                  <a:cubicBezTo>
                    <a:pt x="215274" y="124460"/>
                    <a:pt x="346084" y="109220"/>
                    <a:pt x="222259" y="167640"/>
                  </a:cubicBezTo>
                  <a:close/>
                  <a:moveTo>
                    <a:pt x="151774" y="35560"/>
                  </a:moveTo>
                  <a:cubicBezTo>
                    <a:pt x="100339" y="85725"/>
                    <a:pt x="120659" y="93980"/>
                    <a:pt x="39379" y="97790"/>
                  </a:cubicBezTo>
                  <a:cubicBezTo>
                    <a:pt x="53349" y="115570"/>
                    <a:pt x="65414" y="131445"/>
                    <a:pt x="76844" y="146685"/>
                  </a:cubicBezTo>
                  <a:cubicBezTo>
                    <a:pt x="74304" y="165735"/>
                    <a:pt x="60969" y="180340"/>
                    <a:pt x="63509" y="201295"/>
                  </a:cubicBezTo>
                  <a:cubicBezTo>
                    <a:pt x="123199" y="180975"/>
                    <a:pt x="142884" y="154940"/>
                    <a:pt x="178444" y="226695"/>
                  </a:cubicBezTo>
                  <a:cubicBezTo>
                    <a:pt x="181619" y="231140"/>
                    <a:pt x="184794" y="234950"/>
                    <a:pt x="191779" y="231140"/>
                  </a:cubicBezTo>
                  <a:cubicBezTo>
                    <a:pt x="200034" y="175260"/>
                    <a:pt x="182889" y="165735"/>
                    <a:pt x="231784" y="129540"/>
                  </a:cubicBezTo>
                  <a:cubicBezTo>
                    <a:pt x="152409" y="103505"/>
                    <a:pt x="167014" y="113030"/>
                    <a:pt x="151774" y="3556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  <p:sp>
          <p:nvSpPr>
            <p:cNvPr id="68" name="Google Shape;108;p2">
              <a:extLst>
                <a:ext uri="{FF2B5EF4-FFF2-40B4-BE49-F238E27FC236}">
                  <a16:creationId xmlns:a16="http://schemas.microsoft.com/office/drawing/2014/main" id="{C5971175-E8D4-45D8-BFD0-4CA9D07EEE87}"/>
                </a:ext>
              </a:extLst>
            </p:cNvPr>
            <p:cNvSpPr/>
            <p:nvPr/>
          </p:nvSpPr>
          <p:spPr>
            <a:xfrm rot="-2221343">
              <a:off x="1866371" y="3538528"/>
              <a:ext cx="206347" cy="200902"/>
            </a:xfrm>
            <a:custGeom>
              <a:avLst/>
              <a:gdLst/>
              <a:ahLst/>
              <a:cxnLst/>
              <a:rect l="l" t="t" r="r" b="b"/>
              <a:pathLst>
                <a:path w="274579" h="267334" extrusionOk="0">
                  <a:moveTo>
                    <a:pt x="222259" y="167640"/>
                  </a:moveTo>
                  <a:cubicBezTo>
                    <a:pt x="200669" y="206375"/>
                    <a:pt x="227974" y="238760"/>
                    <a:pt x="193049" y="267335"/>
                  </a:cubicBezTo>
                  <a:cubicBezTo>
                    <a:pt x="166379" y="251460"/>
                    <a:pt x="158124" y="217805"/>
                    <a:pt x="132724" y="198755"/>
                  </a:cubicBezTo>
                  <a:cubicBezTo>
                    <a:pt x="50809" y="235585"/>
                    <a:pt x="-626" y="271780"/>
                    <a:pt x="51444" y="151130"/>
                  </a:cubicBezTo>
                  <a:cubicBezTo>
                    <a:pt x="27949" y="105410"/>
                    <a:pt x="-53966" y="71120"/>
                    <a:pt x="55889" y="73660"/>
                  </a:cubicBezTo>
                  <a:cubicBezTo>
                    <a:pt x="107959" y="83820"/>
                    <a:pt x="113674" y="19685"/>
                    <a:pt x="156854" y="0"/>
                  </a:cubicBezTo>
                  <a:cubicBezTo>
                    <a:pt x="186064" y="11430"/>
                    <a:pt x="174634" y="57785"/>
                    <a:pt x="184794" y="83185"/>
                  </a:cubicBezTo>
                  <a:cubicBezTo>
                    <a:pt x="215274" y="124460"/>
                    <a:pt x="346084" y="109220"/>
                    <a:pt x="222259" y="167640"/>
                  </a:cubicBezTo>
                  <a:close/>
                  <a:moveTo>
                    <a:pt x="151774" y="35560"/>
                  </a:moveTo>
                  <a:cubicBezTo>
                    <a:pt x="100339" y="85725"/>
                    <a:pt x="120659" y="93980"/>
                    <a:pt x="39379" y="97790"/>
                  </a:cubicBezTo>
                  <a:cubicBezTo>
                    <a:pt x="53349" y="115570"/>
                    <a:pt x="65414" y="131445"/>
                    <a:pt x="76844" y="146685"/>
                  </a:cubicBezTo>
                  <a:cubicBezTo>
                    <a:pt x="74304" y="165735"/>
                    <a:pt x="60969" y="180340"/>
                    <a:pt x="63509" y="201295"/>
                  </a:cubicBezTo>
                  <a:cubicBezTo>
                    <a:pt x="123199" y="180975"/>
                    <a:pt x="142884" y="154940"/>
                    <a:pt x="178444" y="226695"/>
                  </a:cubicBezTo>
                  <a:cubicBezTo>
                    <a:pt x="181619" y="231140"/>
                    <a:pt x="184794" y="234950"/>
                    <a:pt x="191779" y="231140"/>
                  </a:cubicBezTo>
                  <a:cubicBezTo>
                    <a:pt x="200034" y="175260"/>
                    <a:pt x="182889" y="165735"/>
                    <a:pt x="231784" y="129540"/>
                  </a:cubicBezTo>
                  <a:cubicBezTo>
                    <a:pt x="152409" y="103505"/>
                    <a:pt x="167014" y="113030"/>
                    <a:pt x="151774" y="3556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Short Stack"/>
                <a:ea typeface="Short Stack"/>
                <a:cs typeface="Short Stack"/>
                <a:sym typeface="Short Stac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604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18/04/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7839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en-GB" smtClean="0"/>
              <a:t>18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48526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add Name Last name</a:t>
            </a:r>
            <a:br>
              <a:rPr lang="en-GB"/>
            </a:br>
            <a:r>
              <a:rPr lang="en-GB"/>
              <a:t>Job title, Department</a:t>
            </a:r>
            <a:br>
              <a:rPr lang="en-GB"/>
            </a:br>
            <a:r>
              <a:rPr lang="en-GB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25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  <a:p>
            <a:endParaRPr lang="en-GB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753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add Name Last name</a:t>
            </a:r>
            <a:br>
              <a:rPr lang="en-GB"/>
            </a:br>
            <a:r>
              <a:rPr lang="en-GB"/>
              <a:t>Job title, Department</a:t>
            </a:r>
            <a:br>
              <a:rPr lang="en-GB"/>
            </a:br>
            <a:r>
              <a:rPr lang="en-GB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980217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add Name Last name</a:t>
            </a:r>
            <a:br>
              <a:rPr lang="en-GB"/>
            </a:br>
            <a:r>
              <a:rPr lang="en-GB"/>
              <a:t>Job title, Department</a:t>
            </a:r>
            <a:br>
              <a:rPr lang="en-GB"/>
            </a:br>
            <a:r>
              <a:rPr lang="en-GB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236477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3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4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en-GB" sz="9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en-GB" sz="900" b="0" i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en-GB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en-GB" smtClean="0"/>
              <a:t>18/04/2023</a:t>
            </a:fld>
            <a:endParaRPr lang="en-GB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en-GB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en-GB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 on the arrow next to </a:t>
            </a:r>
            <a:r>
              <a:rPr lang="en-GB" sz="900" b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en-GB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436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000" b="0" noProof="0">
                <a:solidFill>
                  <a:schemeClr val="tx1"/>
                </a:solidFill>
              </a:rPr>
              <a:t>If you see any </a:t>
            </a:r>
            <a:r>
              <a:rPr lang="en-GB" sz="4000" b="1" i="1" noProof="0">
                <a:solidFill>
                  <a:schemeClr val="tx1"/>
                </a:solidFill>
              </a:rPr>
              <a:t>layouts after this </a:t>
            </a:r>
            <a:r>
              <a:rPr lang="en-GB" sz="4000" b="0" i="0" noProof="0">
                <a:solidFill>
                  <a:schemeClr val="tx1"/>
                </a:solidFill>
              </a:rPr>
              <a:t>one</a:t>
            </a:r>
            <a:r>
              <a:rPr lang="en-GB" sz="4000" b="1" i="1" noProof="0">
                <a:solidFill>
                  <a:schemeClr val="tx1"/>
                </a:solidFill>
              </a:rPr>
              <a:t>,</a:t>
            </a:r>
            <a:br>
              <a:rPr lang="en-GB" sz="4000" b="0" i="0" noProof="0">
                <a:solidFill>
                  <a:schemeClr val="tx1"/>
                </a:solidFill>
              </a:rPr>
            </a:br>
            <a:r>
              <a:rPr lang="en-GB" sz="4000" b="0" noProof="0">
                <a:solidFill>
                  <a:schemeClr val="tx1"/>
                </a:solidFill>
              </a:rPr>
              <a:t>do not use them. These layouts </a:t>
            </a:r>
            <a:r>
              <a:rPr lang="en-GB" sz="4000" b="1" i="1" u="none" noProof="0">
                <a:solidFill>
                  <a:schemeClr val="tx1"/>
                </a:solidFill>
              </a:rPr>
              <a:t>are not </a:t>
            </a:r>
            <a:r>
              <a:rPr lang="en-GB" sz="4000" b="0" noProof="0">
                <a:solidFill>
                  <a:schemeClr val="tx1"/>
                </a:solidFill>
              </a:rPr>
              <a:t>part of our corporate template.</a:t>
            </a:r>
            <a:endParaRPr lang="en-GB" sz="2400" b="0" noProof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500" b="1" i="1" noProof="0">
                <a:solidFill>
                  <a:schemeClr val="tx1"/>
                </a:solidFill>
              </a:rPr>
              <a:t>Do not use </a:t>
            </a:r>
            <a:endParaRPr lang="en-GB" sz="2000" b="1" i="1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en-GB" smtClean="0"/>
              <a:t>18/04/2023</a:t>
            </a:fld>
            <a:endParaRPr lang="en-GB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983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6679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4923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8110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1686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  <a:p>
            <a:endParaRPr lang="en-GB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023518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  <a:p>
            <a:endParaRPr lang="en-GB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779156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  <a:p>
            <a:endParaRPr lang="en-GB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147338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1496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/>
            </a:lvl1pPr>
          </a:lstStyle>
          <a:p>
            <a:r>
              <a:rPr lang="en-GB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en-GB" smtClean="0"/>
              <a:t>18/04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024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en-GB" smtClean="0"/>
              <a:t>18/04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62373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8F052-B495-40BE-9682-094846479C8E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18565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7263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6734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6322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83526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17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en-GB" smtClean="0"/>
              <a:t>18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2639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en-GB" smtClean="0"/>
              <a:t>18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7436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en-GB" smtClean="0"/>
              <a:t>18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5717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2504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549390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en-GB" smtClean="0"/>
              <a:t>18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0882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171416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0153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492367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008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/>
            </a:lvl1pPr>
          </a:lstStyle>
          <a:p>
            <a:r>
              <a:rPr lang="en-GB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en-GB" smtClean="0"/>
              <a:t>18/04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7025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0904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877688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4486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en-GB" smtClean="0"/>
              <a:t>18/04/2023</a:t>
            </a:fld>
            <a:endParaRPr lang="en-GB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01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0868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884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3894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en-GB" smtClean="0"/>
              <a:t>18/04/2023</a:t>
            </a:fld>
            <a:endParaRPr lang="en-GB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272824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en-GB" smtClean="0"/>
              <a:t>18/04/2023</a:t>
            </a:fld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6099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en-GB" smtClean="0"/>
              <a:t>18/04/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875862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en-GB" smtClean="0"/>
              <a:t>18/04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811271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685132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en-GB" smtClean="0"/>
              <a:t>18/04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3135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246638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88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638929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9937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en-GB" smtClean="0"/>
              <a:t>18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993582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en-GB" smtClean="0"/>
              <a:t>18/04/2023</a:t>
            </a:fld>
            <a:endParaRPr lang="en-GB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741095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969793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en-GB" smtClean="0"/>
              <a:t>18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030931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97.xml"/><Relationship Id="rId47" Type="http://schemas.openxmlformats.org/officeDocument/2006/relationships/slideLayout" Target="../slideLayouts/slideLayout102.xml"/><Relationship Id="rId50" Type="http://schemas.openxmlformats.org/officeDocument/2006/relationships/slideLayout" Target="../slideLayouts/slideLayout105.xml"/><Relationship Id="rId55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38" Type="http://schemas.openxmlformats.org/officeDocument/2006/relationships/slideLayout" Target="../slideLayouts/slideLayout93.xml"/><Relationship Id="rId46" Type="http://schemas.openxmlformats.org/officeDocument/2006/relationships/slideLayout" Target="../slideLayouts/slideLayout101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4.xml"/><Relationship Id="rId41" Type="http://schemas.openxmlformats.org/officeDocument/2006/relationships/slideLayout" Target="../slideLayouts/slideLayout96.xml"/><Relationship Id="rId54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slideLayout" Target="../slideLayouts/slideLayout92.xml"/><Relationship Id="rId40" Type="http://schemas.openxmlformats.org/officeDocument/2006/relationships/slideLayout" Target="../slideLayouts/slideLayout95.xml"/><Relationship Id="rId45" Type="http://schemas.openxmlformats.org/officeDocument/2006/relationships/slideLayout" Target="../slideLayouts/slideLayout100.xml"/><Relationship Id="rId53" Type="http://schemas.openxmlformats.org/officeDocument/2006/relationships/slideLayout" Target="../slideLayouts/slideLayout108.xml"/><Relationship Id="rId58" Type="http://schemas.openxmlformats.org/officeDocument/2006/relationships/oleObject" Target="../embeddings/oleObject4.bin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slideLayout" Target="../slideLayouts/slideLayout91.xml"/><Relationship Id="rId49" Type="http://schemas.openxmlformats.org/officeDocument/2006/relationships/slideLayout" Target="../slideLayouts/slideLayout104.xml"/><Relationship Id="rId57" Type="http://schemas.openxmlformats.org/officeDocument/2006/relationships/tags" Target="../tags/tag5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4" Type="http://schemas.openxmlformats.org/officeDocument/2006/relationships/slideLayout" Target="../slideLayouts/slideLayout99.xml"/><Relationship Id="rId52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slideLayout" Target="../slideLayouts/slideLayout90.xml"/><Relationship Id="rId43" Type="http://schemas.openxmlformats.org/officeDocument/2006/relationships/slideLayout" Target="../slideLayouts/slideLayout98.xml"/><Relationship Id="rId48" Type="http://schemas.openxmlformats.org/officeDocument/2006/relationships/slideLayout" Target="../slideLayouts/slideLayout103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63.xml"/><Relationship Id="rId51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5A3CF6-4343-4A8B-9C19-D343D6B48B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75590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408" imgH="408" progId="TCLayout.ActiveDocument.1">
                  <p:embed/>
                </p:oleObj>
              </mc:Choice>
              <mc:Fallback>
                <p:oleObj name="think-cell Slide" r:id="rId58" imgW="408" imgH="40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5A3CF6-4343-4A8B-9C19-D343D6B48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err="1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 (Enter+TAB for next text level, SHIFT+TAB to go back in levels)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  <a:p>
            <a:pPr lvl="4"/>
            <a:r>
              <a:rPr lang="en-GB" noProof="0"/>
              <a:t>Level 5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en-GB" smtClean="0"/>
              <a:t>18/04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 userDrawn="1">
          <p15:clr>
            <a:srgbClr val="A4A3A4"/>
          </p15:clr>
        </p15:guide>
        <p15:guide id="2" pos="847" userDrawn="1">
          <p15:clr>
            <a:srgbClr val="A4A3A4"/>
          </p15:clr>
        </p15:guide>
        <p15:guide id="3" orient="horz" pos="410" userDrawn="1">
          <p15:clr>
            <a:srgbClr val="F26B43"/>
          </p15:clr>
        </p15:guide>
        <p15:guide id="4" orient="horz" pos="4135" userDrawn="1">
          <p15:clr>
            <a:srgbClr val="A4A3A4"/>
          </p15:clr>
        </p15:guide>
        <p15:guide id="5" pos="226" userDrawn="1">
          <p15:clr>
            <a:srgbClr val="F26B43"/>
          </p15:clr>
        </p15:guide>
        <p15:guide id="6" pos="7453" userDrawn="1">
          <p15:clr>
            <a:srgbClr val="F26B43"/>
          </p15:clr>
        </p15:guide>
        <p15:guide id="7" orient="horz" pos="1152" userDrawn="1">
          <p15:clr>
            <a:srgbClr val="F26B43"/>
          </p15:clr>
        </p15:guide>
        <p15:guide id="8" pos="1242" userDrawn="1">
          <p15:clr>
            <a:srgbClr val="A4A3A4"/>
          </p15:clr>
        </p15:guide>
        <p15:guide id="9" pos="1468" userDrawn="1">
          <p15:clr>
            <a:srgbClr val="A4A3A4"/>
          </p15:clr>
        </p15:guide>
        <p15:guide id="10" pos="1863" userDrawn="1">
          <p15:clr>
            <a:srgbClr val="A4A3A4"/>
          </p15:clr>
        </p15:guide>
        <p15:guide id="11" pos="2090" userDrawn="1">
          <p15:clr>
            <a:srgbClr val="A4A3A4"/>
          </p15:clr>
        </p15:guide>
        <p15:guide id="12" pos="2484" userDrawn="1">
          <p15:clr>
            <a:srgbClr val="A4A3A4"/>
          </p15:clr>
        </p15:guide>
        <p15:guide id="13" pos="2711" userDrawn="1">
          <p15:clr>
            <a:srgbClr val="A4A3A4"/>
          </p15:clr>
        </p15:guide>
        <p15:guide id="14" pos="3105" userDrawn="1">
          <p15:clr>
            <a:srgbClr val="A4A3A4"/>
          </p15:clr>
        </p15:guide>
        <p15:guide id="15" pos="3332" userDrawn="1">
          <p15:clr>
            <a:srgbClr val="A4A3A4"/>
          </p15:clr>
        </p15:guide>
        <p15:guide id="16" pos="3726" userDrawn="1">
          <p15:clr>
            <a:srgbClr val="A4A3A4"/>
          </p15:clr>
        </p15:guide>
        <p15:guide id="17" pos="3953" userDrawn="1">
          <p15:clr>
            <a:srgbClr val="A4A3A4"/>
          </p15:clr>
        </p15:guide>
        <p15:guide id="18" pos="4347" userDrawn="1">
          <p15:clr>
            <a:srgbClr val="A4A3A4"/>
          </p15:clr>
        </p15:guide>
        <p15:guide id="19" pos="4574" userDrawn="1">
          <p15:clr>
            <a:srgbClr val="A4A3A4"/>
          </p15:clr>
        </p15:guide>
        <p15:guide id="20" pos="4968" userDrawn="1">
          <p15:clr>
            <a:srgbClr val="A4A3A4"/>
          </p15:clr>
        </p15:guide>
        <p15:guide id="21" pos="5195" userDrawn="1">
          <p15:clr>
            <a:srgbClr val="A4A3A4"/>
          </p15:clr>
        </p15:guide>
        <p15:guide id="22" pos="5589" userDrawn="1">
          <p15:clr>
            <a:srgbClr val="A4A3A4"/>
          </p15:clr>
        </p15:guide>
        <p15:guide id="23" pos="5816" userDrawn="1">
          <p15:clr>
            <a:srgbClr val="A4A3A4"/>
          </p15:clr>
        </p15:guide>
        <p15:guide id="24" pos="6211" userDrawn="1">
          <p15:clr>
            <a:srgbClr val="A4A3A4"/>
          </p15:clr>
        </p15:guide>
        <p15:guide id="25" pos="6437" userDrawn="1">
          <p15:clr>
            <a:srgbClr val="A4A3A4"/>
          </p15:clr>
        </p15:guide>
        <p15:guide id="26" pos="6832" userDrawn="1">
          <p15:clr>
            <a:srgbClr val="A4A3A4"/>
          </p15:clr>
        </p15:guide>
        <p15:guide id="27" pos="7058" userDrawn="1">
          <p15:clr>
            <a:srgbClr val="A4A3A4"/>
          </p15:clr>
        </p15:guide>
        <p15:guide id="28" orient="horz" pos="385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AE5F9C-F329-47C6-8F94-5BCE2A7C40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734715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408" imgH="408" progId="TCLayout.ActiveDocument.1">
                  <p:embed/>
                </p:oleObj>
              </mc:Choice>
              <mc:Fallback>
                <p:oleObj name="think-cell Slide" r:id="rId58" imgW="408" imgH="40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9AE5F9C-F329-47C6-8F94-5BCE2A7C40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err="1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 (Enter+TAB for next text level, SHIFT+TAB to go back in levels)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  <a:p>
            <a:pPr lvl="4"/>
            <a:r>
              <a:rPr lang="en-GB" noProof="0"/>
              <a:t>Level 5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en-GB" smtClean="0"/>
              <a:t>18/04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85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  <p:sldLayoutId id="2147483738" r:id="rId34"/>
    <p:sldLayoutId id="2147483739" r:id="rId35"/>
    <p:sldLayoutId id="2147483740" r:id="rId36"/>
    <p:sldLayoutId id="2147483741" r:id="rId37"/>
    <p:sldLayoutId id="2147483742" r:id="rId38"/>
    <p:sldLayoutId id="2147483743" r:id="rId39"/>
    <p:sldLayoutId id="2147483744" r:id="rId40"/>
    <p:sldLayoutId id="2147483745" r:id="rId41"/>
    <p:sldLayoutId id="2147483746" r:id="rId42"/>
    <p:sldLayoutId id="2147483747" r:id="rId43"/>
    <p:sldLayoutId id="2147483748" r:id="rId44"/>
    <p:sldLayoutId id="2147483749" r:id="rId45"/>
    <p:sldLayoutId id="2147483750" r:id="rId46"/>
    <p:sldLayoutId id="2147483751" r:id="rId47"/>
    <p:sldLayoutId id="2147483752" r:id="rId48"/>
    <p:sldLayoutId id="2147483753" r:id="rId49"/>
    <p:sldLayoutId id="2147483754" r:id="rId50"/>
    <p:sldLayoutId id="2147483755" r:id="rId51"/>
    <p:sldLayoutId id="2147483756" r:id="rId52"/>
    <p:sldLayoutId id="2147483757" r:id="rId53"/>
    <p:sldLayoutId id="2147483758" r:id="rId54"/>
    <p:sldLayoutId id="2147483759" r:id="rId5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>
          <p15:clr>
            <a:srgbClr val="A4A3A4"/>
          </p15:clr>
        </p15:guide>
        <p15:guide id="2" pos="847">
          <p15:clr>
            <a:srgbClr val="A4A3A4"/>
          </p15:clr>
        </p15:guide>
        <p15:guide id="3" orient="horz" pos="410">
          <p15:clr>
            <a:srgbClr val="F26B43"/>
          </p15:clr>
        </p15:guide>
        <p15:guide id="4" orient="horz" pos="4135">
          <p15:clr>
            <a:srgbClr val="A4A3A4"/>
          </p15:clr>
        </p15:guide>
        <p15:guide id="5" pos="226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 pos="1152">
          <p15:clr>
            <a:srgbClr val="F26B43"/>
          </p15:clr>
        </p15:guide>
        <p15:guide id="8" pos="1242">
          <p15:clr>
            <a:srgbClr val="A4A3A4"/>
          </p15:clr>
        </p15:guide>
        <p15:guide id="9" pos="1468">
          <p15:clr>
            <a:srgbClr val="A4A3A4"/>
          </p15:clr>
        </p15:guide>
        <p15:guide id="10" pos="1863">
          <p15:clr>
            <a:srgbClr val="A4A3A4"/>
          </p15:clr>
        </p15:guide>
        <p15:guide id="11" pos="2090">
          <p15:clr>
            <a:srgbClr val="A4A3A4"/>
          </p15:clr>
        </p15:guide>
        <p15:guide id="12" pos="2484">
          <p15:clr>
            <a:srgbClr val="A4A3A4"/>
          </p15:clr>
        </p15:guide>
        <p15:guide id="13" pos="2711">
          <p15:clr>
            <a:srgbClr val="A4A3A4"/>
          </p15:clr>
        </p15:guide>
        <p15:guide id="14" pos="3105">
          <p15:clr>
            <a:srgbClr val="A4A3A4"/>
          </p15:clr>
        </p15:guide>
        <p15:guide id="15" pos="3332">
          <p15:clr>
            <a:srgbClr val="A4A3A4"/>
          </p15:clr>
        </p15:guide>
        <p15:guide id="16" pos="3726">
          <p15:clr>
            <a:srgbClr val="A4A3A4"/>
          </p15:clr>
        </p15:guide>
        <p15:guide id="17" pos="3953">
          <p15:clr>
            <a:srgbClr val="A4A3A4"/>
          </p15:clr>
        </p15:guide>
        <p15:guide id="18" pos="4347">
          <p15:clr>
            <a:srgbClr val="A4A3A4"/>
          </p15:clr>
        </p15:guide>
        <p15:guide id="19" pos="4574">
          <p15:clr>
            <a:srgbClr val="A4A3A4"/>
          </p15:clr>
        </p15:guide>
        <p15:guide id="20" pos="4968">
          <p15:clr>
            <a:srgbClr val="A4A3A4"/>
          </p15:clr>
        </p15:guide>
        <p15:guide id="21" pos="5195">
          <p15:clr>
            <a:srgbClr val="A4A3A4"/>
          </p15:clr>
        </p15:guide>
        <p15:guide id="22" pos="5589">
          <p15:clr>
            <a:srgbClr val="A4A3A4"/>
          </p15:clr>
        </p15:guide>
        <p15:guide id="23" pos="5816">
          <p15:clr>
            <a:srgbClr val="A4A3A4"/>
          </p15:clr>
        </p15:guide>
        <p15:guide id="24" pos="6211">
          <p15:clr>
            <a:srgbClr val="A4A3A4"/>
          </p15:clr>
        </p15:guide>
        <p15:guide id="25" pos="6437">
          <p15:clr>
            <a:srgbClr val="A4A3A4"/>
          </p15:clr>
        </p15:guide>
        <p15:guide id="26" pos="6832">
          <p15:clr>
            <a:srgbClr val="A4A3A4"/>
          </p15:clr>
        </p15:guide>
        <p15:guide id="27" pos="7058">
          <p15:clr>
            <a:srgbClr val="A4A3A4"/>
          </p15:clr>
        </p15:guide>
        <p15:guide id="28" orient="horz" pos="38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18" Type="http://schemas.openxmlformats.org/officeDocument/2006/relationships/image" Target="../media/image30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33.svg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17" Type="http://schemas.openxmlformats.org/officeDocument/2006/relationships/image" Target="../media/image29.svg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tags" Target="../tags/tag6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emf"/><Relationship Id="rId15" Type="http://schemas.microsoft.com/office/2007/relationships/hdphoto" Target="../media/hdphoto1.wdp"/><Relationship Id="rId23" Type="http://schemas.openxmlformats.org/officeDocument/2006/relationships/image" Target="../media/image35.svg"/><Relationship Id="rId10" Type="http://schemas.openxmlformats.org/officeDocument/2006/relationships/image" Target="../media/image23.png"/><Relationship Id="rId19" Type="http://schemas.openxmlformats.org/officeDocument/2006/relationships/image" Target="../media/image31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2.svg"/><Relationship Id="rId14" Type="http://schemas.openxmlformats.org/officeDocument/2006/relationships/image" Target="../media/image27.png"/><Relationship Id="rId22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7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6" Type="http://schemas.openxmlformats.org/officeDocument/2006/relationships/image" Target="../media/image3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70731D2-D7FF-BDE7-F7E6-3F04E7E290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70731D2-D7FF-BDE7-F7E6-3F04E7E290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F23CCB-993C-1E32-957D-D676870DD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97517" y="6516635"/>
            <a:ext cx="626400" cy="108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7085A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7085A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E834057-EF3D-96DF-1174-15FA6F553EE2}"/>
              </a:ext>
            </a:extLst>
          </p:cNvPr>
          <p:cNvSpPr/>
          <p:nvPr/>
        </p:nvSpPr>
        <p:spPr>
          <a:xfrm>
            <a:off x="209005" y="143160"/>
            <a:ext cx="4030485" cy="7794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0" b="1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Amatic SC" panose="00000500000000000000" pitchFamily="2" charset="-79"/>
                <a:ea typeface="Verdana" panose="020B0604030504040204" pitchFamily="34" charset="0"/>
                <a:cs typeface="Amatic SC" panose="00000500000000000000" pitchFamily="2" charset="-79"/>
              </a:rPr>
              <a:t>REFLEKSIONSGUIDE</a:t>
            </a: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Amatic SC" panose="00000500000000000000" pitchFamily="2" charset="-79"/>
              <a:ea typeface="Verdana" panose="020B0604030504040204" pitchFamily="34" charset="0"/>
              <a:cs typeface="Amatic SC" panose="00000500000000000000" pitchFamily="2" charset="-79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4E5ACC-87FE-C968-39BC-FF7815EE2273}"/>
              </a:ext>
            </a:extLst>
          </p:cNvPr>
          <p:cNvSpPr/>
          <p:nvPr/>
        </p:nvSpPr>
        <p:spPr>
          <a:xfrm>
            <a:off x="209007" y="1123949"/>
            <a:ext cx="2775052" cy="35933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52000" rtlCol="0" anchor="t"/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NFORMERING OG RAMMESÆTNING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edelsen informerer alle medarbejdere om:</a:t>
            </a:r>
          </a:p>
          <a:p>
            <a:pPr marL="171450" marR="0" lvl="0" indent="-17145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ormålet med at arbejde med skolens data og reflektere over egen praksis</a:t>
            </a:r>
          </a:p>
          <a:p>
            <a:pPr marL="171450" marR="0" lvl="0" indent="-17145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t refleksionen ikke er en del af evalueringen eller en kontrol af praksis</a:t>
            </a:r>
          </a:p>
          <a:p>
            <a:pPr marL="171450" marR="0" lvl="0" indent="-17145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t refleksionen skal understøtte det arbejde, medarbejderne allerede gør i dag samt bidrage til læring og udvikling 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er udpeges en </a:t>
            </a: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ødeleder</a:t>
            </a: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for hvert team, der har ansvar for at indkalde til refleksionsmødet og forberede en dagsorden. Skolerapporten 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kan vedhæftes i i</a:t>
            </a:r>
            <a:r>
              <a:rPr kumimoji="0" lang="da-DK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ndkaldelsen</a:t>
            </a: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b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g spindelvævet (på næste side) </a:t>
            </a:r>
            <a:b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kan printes til øvelse 3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A5A96B-276B-2B73-6E1F-764964CFDE7C}"/>
              </a:ext>
            </a:extLst>
          </p:cNvPr>
          <p:cNvSpPr/>
          <p:nvPr/>
        </p:nvSpPr>
        <p:spPr>
          <a:xfrm>
            <a:off x="209006" y="920715"/>
            <a:ext cx="2775052" cy="406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rgbClr val="F4F7FA"/>
                </a:solidFill>
                <a:effectLst/>
                <a:uLnTx/>
                <a:uFillTx/>
                <a:latin typeface="Amatic SC" panose="00000500000000000000" pitchFamily="2" charset="-79"/>
                <a:ea typeface="Verdana" panose="020B0604030504040204" pitchFamily="34" charset="0"/>
                <a:cs typeface="Amatic SC" panose="00000500000000000000" pitchFamily="2" charset="-79"/>
              </a:rPr>
              <a:t>FØR MØDET</a:t>
            </a:r>
          </a:p>
        </p:txBody>
      </p:sp>
      <p:pic>
        <p:nvPicPr>
          <p:cNvPr id="5" name="Graphic 4" descr="Hero Male with solid fill">
            <a:extLst>
              <a:ext uri="{FF2B5EF4-FFF2-40B4-BE49-F238E27FC236}">
                <a16:creationId xmlns:a16="http://schemas.microsoft.com/office/drawing/2014/main" id="{D5E15494-EE02-511C-24F1-6A26F14E79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17417" y="3692403"/>
            <a:ext cx="942512" cy="94251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EC46CE-3886-090C-4684-5B00306F583F}"/>
              </a:ext>
            </a:extLst>
          </p:cNvPr>
          <p:cNvSpPr/>
          <p:nvPr/>
        </p:nvSpPr>
        <p:spPr>
          <a:xfrm>
            <a:off x="3035340" y="1179130"/>
            <a:ext cx="8947652" cy="55357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2B9C44-23D2-886D-DD1F-57F92F8599C5}"/>
              </a:ext>
            </a:extLst>
          </p:cNvPr>
          <p:cNvSpPr/>
          <p:nvPr/>
        </p:nvSpPr>
        <p:spPr>
          <a:xfrm>
            <a:off x="3097180" y="1317042"/>
            <a:ext cx="4799747" cy="1611286"/>
          </a:xfrm>
          <a:prstGeom prst="rect">
            <a:avLst/>
          </a:prstGeom>
          <a:noFill/>
          <a:ln w="6350">
            <a:solidFill>
              <a:srgbClr val="7085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/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å mødet rammesætter mødelederen formål med 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g proces for mødet, så der er klarhed om, hvad refleksionerne 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kal bidrage til, og hvordan mødet forløber. 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er vælges en ordstyrer og referent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CE6EB4-5D15-C5D1-F1B6-C8ACA3BBA3E9}"/>
              </a:ext>
            </a:extLst>
          </p:cNvPr>
          <p:cNvSpPr/>
          <p:nvPr/>
        </p:nvSpPr>
        <p:spPr>
          <a:xfrm>
            <a:off x="7981404" y="1317042"/>
            <a:ext cx="3931099" cy="1611286"/>
          </a:xfrm>
          <a:prstGeom prst="rect">
            <a:avLst/>
          </a:prstGeom>
          <a:noFill/>
          <a:ln w="6350">
            <a:solidFill>
              <a:srgbClr val="7085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/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84137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358775" marR="0" lvl="0" indent="-274638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lle deltagere orienterer sig i skolerapporten og noterer centrale observationer og pointer. Det kan fx være en positiv tendens, et forbedringspotentiale og </a:t>
            </a:r>
          </a:p>
          <a:p>
            <a:pPr marL="355600" marR="0" lvl="0" indent="-27305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	en undren. </a:t>
            </a:r>
          </a:p>
          <a:p>
            <a:pPr marL="355600" marR="0" lvl="0" indent="-268288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 startAt="2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eamet tager en bordrunde, hvor alle byder </a:t>
            </a:r>
            <a:b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nd med observationer og pointer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60A9ADF-0E8F-44B0-AEAA-C3217F82A17D}"/>
              </a:ext>
            </a:extLst>
          </p:cNvPr>
          <p:cNvSpPr/>
          <p:nvPr/>
        </p:nvSpPr>
        <p:spPr>
          <a:xfrm>
            <a:off x="3103473" y="3010661"/>
            <a:ext cx="4793453" cy="3660107"/>
          </a:xfrm>
          <a:prstGeom prst="rect">
            <a:avLst/>
          </a:prstGeom>
          <a:noFill/>
          <a:ln w="6350">
            <a:solidFill>
              <a:srgbClr val="7085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/>
          <a:lstStyle/>
          <a:p>
            <a:pPr marL="228600" marR="0" lvl="0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Udvælg ét af rapportens temaer, som I gerne vil fokusere særligt på </a:t>
            </a:r>
            <a:r>
              <a:rPr kumimoji="0" lang="da-DK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å</a:t>
            </a: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jeres møde.  </a:t>
            </a:r>
          </a:p>
          <a:p>
            <a:pPr marL="228600" marR="0" lvl="0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eflekter over udsagnene under temaet i skolerapporten. Inddrag evt. spindelvævet på næste side til refleksionen. Du kan fx overveje</a:t>
            </a:r>
          </a:p>
          <a:p>
            <a:pPr marL="685800" marR="0" lvl="1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vor ville du placere teamet på skalaen? </a:t>
            </a:r>
          </a:p>
          <a:p>
            <a:pPr marL="685800" marR="0" lvl="1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vis teamets placering er anderledes end skolens gennemsnit, hvad kan så forklare det? </a:t>
            </a:r>
          </a:p>
          <a:p>
            <a:pPr marL="685800" marR="0" lvl="1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vad skulle der til for, at teamet scorede endnu højere på skalaen?</a:t>
            </a:r>
          </a:p>
          <a:p>
            <a:pPr marL="228600" marR="0" lvl="0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røft nu i fællesskab nedenstående spørgsmål:</a:t>
            </a:r>
          </a:p>
          <a:p>
            <a:pPr marL="685800" marR="0" lvl="1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vordan oplever I, at I arbejder med temaet? </a:t>
            </a:r>
          </a:p>
          <a:p>
            <a:pPr marL="685800" marR="0" lvl="1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vad kan forklare forskelle mellem teamets og skolens </a:t>
            </a:r>
            <a:b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lacering på skalaen? </a:t>
            </a:r>
          </a:p>
          <a:p>
            <a:pPr marL="685800" marR="0" lvl="1" indent="-22860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vad udfordrer jeres arbejde med temaet? Hvad </a:t>
            </a:r>
          </a:p>
          <a:p>
            <a:pPr marL="722313" marR="0" lvl="1" indent="-265113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	kan bidrage til at styrke jeres arbejde med </a:t>
            </a:r>
          </a:p>
          <a:p>
            <a:pPr marL="722313" marR="0" lvl="1" indent="-265113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	temaet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AE61C9-12CC-DF88-5C79-ABD5A71E76AA}"/>
              </a:ext>
            </a:extLst>
          </p:cNvPr>
          <p:cNvSpPr/>
          <p:nvPr/>
        </p:nvSpPr>
        <p:spPr>
          <a:xfrm>
            <a:off x="7981404" y="3010657"/>
            <a:ext cx="3926177" cy="3660106"/>
          </a:xfrm>
          <a:prstGeom prst="rect">
            <a:avLst/>
          </a:prstGeom>
          <a:noFill/>
          <a:ln w="6350">
            <a:solidFill>
              <a:srgbClr val="7085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/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1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røft konkrete handlinger, der kan styrke jeres praksis med at skabe deltagelsesmuligheder for alle elever ud fra </a:t>
            </a:r>
            <a:r>
              <a:rPr kumimoji="0" lang="da-DK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nedenstående</a:t>
            </a: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spørgsmål. Hvis I allerede arbejder med mikro-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ål eller handlinger som led i et aktions-</a:t>
            </a:r>
            <a:b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æringsforløb, kan I drøfte, hvordan </a:t>
            </a:r>
            <a:b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ndsigterne kvalificerer jeres eksisterende </a:t>
            </a:r>
            <a:b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</a:b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rbejde. 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628650" marR="0" lvl="1" indent="-17145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vad vil I som team gøre anderledes for at styrke jeres arbejde med det/de valgte tema(er)? </a:t>
            </a:r>
          </a:p>
          <a:p>
            <a:pPr marL="628650" marR="0" lvl="1" indent="-17145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vordan kan handlingen tænkes sammen med jeres eksisterende arbejde og mål?</a:t>
            </a:r>
          </a:p>
          <a:p>
            <a:pPr marL="628650" marR="0" lvl="1" indent="-17145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Kan I lade jer inspirere af andre, fx andre teams eller tilgængelig viden?</a:t>
            </a:r>
          </a:p>
          <a:p>
            <a:pPr marL="628650" marR="0" lvl="1" indent="-17145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vornår og hvordan vil I følge op på handlingerne?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i anbefaler, at I skriver 2-3 handlinger ned og aftaler, hvornår I følger op på handlingerne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B5C8FF-9C4B-190C-BF8B-66614F296421}"/>
              </a:ext>
            </a:extLst>
          </p:cNvPr>
          <p:cNvSpPr/>
          <p:nvPr/>
        </p:nvSpPr>
        <p:spPr>
          <a:xfrm>
            <a:off x="3035339" y="915445"/>
            <a:ext cx="8947653" cy="4117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rgbClr val="F4F7FA"/>
                </a:solidFill>
                <a:effectLst/>
                <a:uLnTx/>
                <a:uFillTx/>
                <a:latin typeface="Amatic SC" panose="00000500000000000000" pitchFamily="2" charset="-79"/>
                <a:ea typeface="Verdana" panose="020B0604030504040204" pitchFamily="34" charset="0"/>
                <a:cs typeface="Amatic SC" panose="00000500000000000000" pitchFamily="2" charset="-79"/>
              </a:rPr>
              <a:t>UNDER MØDE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9FFB20A-1EE4-6C28-D6E2-37E16000A28F}"/>
              </a:ext>
            </a:extLst>
          </p:cNvPr>
          <p:cNvGrpSpPr/>
          <p:nvPr/>
        </p:nvGrpSpPr>
        <p:grpSpPr>
          <a:xfrm>
            <a:off x="10923650" y="2066163"/>
            <a:ext cx="932181" cy="854672"/>
            <a:chOff x="8747316" y="2360153"/>
            <a:chExt cx="1783676" cy="1775845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9F8B1EC-3D7B-4827-0607-C1B4F2D3F79D}"/>
                </a:ext>
              </a:extLst>
            </p:cNvPr>
            <p:cNvSpPr/>
            <p:nvPr/>
          </p:nvSpPr>
          <p:spPr>
            <a:xfrm rot="20380319">
              <a:off x="8747316" y="3049397"/>
              <a:ext cx="1783676" cy="1086601"/>
            </a:xfrm>
            <a:custGeom>
              <a:avLst/>
              <a:gdLst>
                <a:gd name="connsiteX0" fmla="*/ 1975308 w 3999407"/>
                <a:gd name="connsiteY0" fmla="*/ 2516 h 3013832"/>
                <a:gd name="connsiteX1" fmla="*/ 3983217 w 3999407"/>
                <a:gd name="connsiteY1" fmla="*/ 935769 h 3013832"/>
                <a:gd name="connsiteX2" fmla="*/ 2842574 w 3999407"/>
                <a:gd name="connsiteY2" fmla="*/ 2990813 h 3013832"/>
                <a:gd name="connsiteX3" fmla="*/ 1428553 w 3999407"/>
                <a:gd name="connsiteY3" fmla="*/ 2038706 h 3013832"/>
                <a:gd name="connsiteX4" fmla="*/ 80520 w 3999407"/>
                <a:gd name="connsiteY4" fmla="*/ 2010425 h 3013832"/>
                <a:gd name="connsiteX5" fmla="*/ 259630 w 3999407"/>
                <a:gd name="connsiteY5" fmla="*/ 1020611 h 3013832"/>
                <a:gd name="connsiteX6" fmla="*/ 1136322 w 3999407"/>
                <a:gd name="connsiteY6" fmla="*/ 671819 h 3013832"/>
                <a:gd name="connsiteX7" fmla="*/ 1975308 w 3999407"/>
                <a:gd name="connsiteY7" fmla="*/ 2516 h 3013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9407" h="3013832">
                  <a:moveTo>
                    <a:pt x="1975308" y="2516"/>
                  </a:moveTo>
                  <a:cubicBezTo>
                    <a:pt x="2449790" y="46508"/>
                    <a:pt x="3838673" y="437720"/>
                    <a:pt x="3983217" y="935769"/>
                  </a:cubicBezTo>
                  <a:cubicBezTo>
                    <a:pt x="4127761" y="1433818"/>
                    <a:pt x="3268351" y="2806990"/>
                    <a:pt x="2842574" y="2990813"/>
                  </a:cubicBezTo>
                  <a:cubicBezTo>
                    <a:pt x="2416797" y="3174636"/>
                    <a:pt x="1888895" y="2202104"/>
                    <a:pt x="1428553" y="2038706"/>
                  </a:cubicBezTo>
                  <a:cubicBezTo>
                    <a:pt x="968211" y="1875308"/>
                    <a:pt x="275340" y="2180107"/>
                    <a:pt x="80520" y="2010425"/>
                  </a:cubicBezTo>
                  <a:cubicBezTo>
                    <a:pt x="-114300" y="1840743"/>
                    <a:pt x="83663" y="1243712"/>
                    <a:pt x="259630" y="1020611"/>
                  </a:cubicBezTo>
                  <a:cubicBezTo>
                    <a:pt x="435597" y="797510"/>
                    <a:pt x="850376" y="839930"/>
                    <a:pt x="1136322" y="671819"/>
                  </a:cubicBezTo>
                  <a:cubicBezTo>
                    <a:pt x="1422268" y="503708"/>
                    <a:pt x="1500826" y="-41476"/>
                    <a:pt x="1975308" y="2516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25" name="Graphic 24" descr="Schoolhouse with solid fill">
              <a:extLst>
                <a:ext uri="{FF2B5EF4-FFF2-40B4-BE49-F238E27FC236}">
                  <a16:creationId xmlns:a16="http://schemas.microsoft.com/office/drawing/2014/main" id="{43C525BD-8938-C932-4CF8-52FC5BA44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04838" y="2360153"/>
              <a:ext cx="914400" cy="914400"/>
            </a:xfrm>
            <a:prstGeom prst="rect">
              <a:avLst/>
            </a:prstGeom>
          </p:spPr>
        </p:pic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BD54C86-171D-39F4-5EB7-B95F140262E3}"/>
                </a:ext>
              </a:extLst>
            </p:cNvPr>
            <p:cNvSpPr/>
            <p:nvPr/>
          </p:nvSpPr>
          <p:spPr>
            <a:xfrm rot="9048548">
              <a:off x="9861375" y="3599859"/>
              <a:ext cx="331469" cy="186689"/>
            </a:xfrm>
            <a:custGeom>
              <a:avLst/>
              <a:gdLst>
                <a:gd name="connsiteX0" fmla="*/ 167640 w 331469"/>
                <a:gd name="connsiteY0" fmla="*/ 45720 h 186689"/>
                <a:gd name="connsiteX1" fmla="*/ 304800 w 331469"/>
                <a:gd name="connsiteY1" fmla="*/ 183833 h 186689"/>
                <a:gd name="connsiteX2" fmla="*/ 331470 w 331469"/>
                <a:gd name="connsiteY2" fmla="*/ 157163 h 186689"/>
                <a:gd name="connsiteX3" fmla="*/ 167640 w 331469"/>
                <a:gd name="connsiteY3" fmla="*/ 0 h 186689"/>
                <a:gd name="connsiteX4" fmla="*/ 0 w 331469"/>
                <a:gd name="connsiteY4" fmla="*/ 160020 h 186689"/>
                <a:gd name="connsiteX5" fmla="*/ 26670 w 331469"/>
                <a:gd name="connsiteY5" fmla="*/ 186690 h 186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469" h="186689">
                  <a:moveTo>
                    <a:pt x="167640" y="45720"/>
                  </a:moveTo>
                  <a:lnTo>
                    <a:pt x="304800" y="183833"/>
                  </a:lnTo>
                  <a:lnTo>
                    <a:pt x="331470" y="157163"/>
                  </a:lnTo>
                  <a:lnTo>
                    <a:pt x="167640" y="0"/>
                  </a:lnTo>
                  <a:lnTo>
                    <a:pt x="0" y="160020"/>
                  </a:lnTo>
                  <a:lnTo>
                    <a:pt x="26670" y="186690"/>
                  </a:lnTo>
                  <a:close/>
                </a:path>
              </a:pathLst>
            </a:custGeom>
            <a:solidFill>
              <a:srgbClr val="000000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31AD754-6772-61A1-0B62-E78322654F9B}"/>
                </a:ext>
              </a:extLst>
            </p:cNvPr>
            <p:cNvSpPr/>
            <p:nvPr/>
          </p:nvSpPr>
          <p:spPr>
            <a:xfrm rot="9048548">
              <a:off x="9483778" y="2931756"/>
              <a:ext cx="702372" cy="808867"/>
            </a:xfrm>
            <a:custGeom>
              <a:avLst/>
              <a:gdLst>
                <a:gd name="connsiteX0" fmla="*/ 647700 w 685800"/>
                <a:gd name="connsiteY0" fmla="*/ 295275 h 495300"/>
                <a:gd name="connsiteX1" fmla="*/ 571500 w 685800"/>
                <a:gd name="connsiteY1" fmla="*/ 295275 h 495300"/>
                <a:gd name="connsiteX2" fmla="*/ 571500 w 685800"/>
                <a:gd name="connsiteY2" fmla="*/ 219075 h 495300"/>
                <a:gd name="connsiteX3" fmla="*/ 647700 w 685800"/>
                <a:gd name="connsiteY3" fmla="*/ 219075 h 495300"/>
                <a:gd name="connsiteX4" fmla="*/ 647700 w 685800"/>
                <a:gd name="connsiteY4" fmla="*/ 295275 h 495300"/>
                <a:gd name="connsiteX5" fmla="*/ 647700 w 685800"/>
                <a:gd name="connsiteY5" fmla="*/ 409575 h 495300"/>
                <a:gd name="connsiteX6" fmla="*/ 571500 w 685800"/>
                <a:gd name="connsiteY6" fmla="*/ 409575 h 495300"/>
                <a:gd name="connsiteX7" fmla="*/ 571500 w 685800"/>
                <a:gd name="connsiteY7" fmla="*/ 333375 h 495300"/>
                <a:gd name="connsiteX8" fmla="*/ 647700 w 685800"/>
                <a:gd name="connsiteY8" fmla="*/ 333375 h 495300"/>
                <a:gd name="connsiteX9" fmla="*/ 647700 w 685800"/>
                <a:gd name="connsiteY9" fmla="*/ 409575 h 495300"/>
                <a:gd name="connsiteX10" fmla="*/ 533400 w 685800"/>
                <a:gd name="connsiteY10" fmla="*/ 295275 h 495300"/>
                <a:gd name="connsiteX11" fmla="*/ 457200 w 685800"/>
                <a:gd name="connsiteY11" fmla="*/ 295275 h 495300"/>
                <a:gd name="connsiteX12" fmla="*/ 457200 w 685800"/>
                <a:gd name="connsiteY12" fmla="*/ 219075 h 495300"/>
                <a:gd name="connsiteX13" fmla="*/ 533400 w 685800"/>
                <a:gd name="connsiteY13" fmla="*/ 219075 h 495300"/>
                <a:gd name="connsiteX14" fmla="*/ 533400 w 685800"/>
                <a:gd name="connsiteY14" fmla="*/ 295275 h 495300"/>
                <a:gd name="connsiteX15" fmla="*/ 533400 w 685800"/>
                <a:gd name="connsiteY15" fmla="*/ 409575 h 495300"/>
                <a:gd name="connsiteX16" fmla="*/ 457200 w 685800"/>
                <a:gd name="connsiteY16" fmla="*/ 409575 h 495300"/>
                <a:gd name="connsiteX17" fmla="*/ 457200 w 685800"/>
                <a:gd name="connsiteY17" fmla="*/ 333375 h 495300"/>
                <a:gd name="connsiteX18" fmla="*/ 533400 w 685800"/>
                <a:gd name="connsiteY18" fmla="*/ 333375 h 495300"/>
                <a:gd name="connsiteX19" fmla="*/ 533400 w 685800"/>
                <a:gd name="connsiteY19" fmla="*/ 409575 h 495300"/>
                <a:gd name="connsiteX20" fmla="*/ 409575 w 685800"/>
                <a:gd name="connsiteY20" fmla="*/ 295275 h 495300"/>
                <a:gd name="connsiteX21" fmla="*/ 276225 w 685800"/>
                <a:gd name="connsiteY21" fmla="*/ 295275 h 495300"/>
                <a:gd name="connsiteX22" fmla="*/ 276225 w 685800"/>
                <a:gd name="connsiteY22" fmla="*/ 257175 h 495300"/>
                <a:gd name="connsiteX23" fmla="*/ 409575 w 685800"/>
                <a:gd name="connsiteY23" fmla="*/ 257175 h 495300"/>
                <a:gd name="connsiteX24" fmla="*/ 409575 w 685800"/>
                <a:gd name="connsiteY24" fmla="*/ 295275 h 495300"/>
                <a:gd name="connsiteX25" fmla="*/ 342900 w 685800"/>
                <a:gd name="connsiteY25" fmla="*/ 114300 h 495300"/>
                <a:gd name="connsiteX26" fmla="*/ 371475 w 685800"/>
                <a:gd name="connsiteY26" fmla="*/ 142875 h 495300"/>
                <a:gd name="connsiteX27" fmla="*/ 342900 w 685800"/>
                <a:gd name="connsiteY27" fmla="*/ 171450 h 495300"/>
                <a:gd name="connsiteX28" fmla="*/ 314325 w 685800"/>
                <a:gd name="connsiteY28" fmla="*/ 142875 h 495300"/>
                <a:gd name="connsiteX29" fmla="*/ 342900 w 685800"/>
                <a:gd name="connsiteY29" fmla="*/ 114300 h 495300"/>
                <a:gd name="connsiteX30" fmla="*/ 228600 w 685800"/>
                <a:gd name="connsiteY30" fmla="*/ 295275 h 495300"/>
                <a:gd name="connsiteX31" fmla="*/ 152400 w 685800"/>
                <a:gd name="connsiteY31" fmla="*/ 295275 h 495300"/>
                <a:gd name="connsiteX32" fmla="*/ 152400 w 685800"/>
                <a:gd name="connsiteY32" fmla="*/ 219075 h 495300"/>
                <a:gd name="connsiteX33" fmla="*/ 228600 w 685800"/>
                <a:gd name="connsiteY33" fmla="*/ 219075 h 495300"/>
                <a:gd name="connsiteX34" fmla="*/ 228600 w 685800"/>
                <a:gd name="connsiteY34" fmla="*/ 295275 h 495300"/>
                <a:gd name="connsiteX35" fmla="*/ 228600 w 685800"/>
                <a:gd name="connsiteY35" fmla="*/ 409575 h 495300"/>
                <a:gd name="connsiteX36" fmla="*/ 152400 w 685800"/>
                <a:gd name="connsiteY36" fmla="*/ 409575 h 495300"/>
                <a:gd name="connsiteX37" fmla="*/ 152400 w 685800"/>
                <a:gd name="connsiteY37" fmla="*/ 333375 h 495300"/>
                <a:gd name="connsiteX38" fmla="*/ 228600 w 685800"/>
                <a:gd name="connsiteY38" fmla="*/ 333375 h 495300"/>
                <a:gd name="connsiteX39" fmla="*/ 228600 w 685800"/>
                <a:gd name="connsiteY39" fmla="*/ 409575 h 495300"/>
                <a:gd name="connsiteX40" fmla="*/ 114300 w 685800"/>
                <a:gd name="connsiteY40" fmla="*/ 295275 h 495300"/>
                <a:gd name="connsiteX41" fmla="*/ 38100 w 685800"/>
                <a:gd name="connsiteY41" fmla="*/ 295275 h 495300"/>
                <a:gd name="connsiteX42" fmla="*/ 38100 w 685800"/>
                <a:gd name="connsiteY42" fmla="*/ 219075 h 495300"/>
                <a:gd name="connsiteX43" fmla="*/ 114300 w 685800"/>
                <a:gd name="connsiteY43" fmla="*/ 219075 h 495300"/>
                <a:gd name="connsiteX44" fmla="*/ 114300 w 685800"/>
                <a:gd name="connsiteY44" fmla="*/ 295275 h 495300"/>
                <a:gd name="connsiteX45" fmla="*/ 114300 w 685800"/>
                <a:gd name="connsiteY45" fmla="*/ 409575 h 495300"/>
                <a:gd name="connsiteX46" fmla="*/ 38100 w 685800"/>
                <a:gd name="connsiteY46" fmla="*/ 409575 h 495300"/>
                <a:gd name="connsiteX47" fmla="*/ 38100 w 685800"/>
                <a:gd name="connsiteY47" fmla="*/ 333375 h 495300"/>
                <a:gd name="connsiteX48" fmla="*/ 114300 w 685800"/>
                <a:gd name="connsiteY48" fmla="*/ 333375 h 495300"/>
                <a:gd name="connsiteX49" fmla="*/ 114300 w 685800"/>
                <a:gd name="connsiteY49" fmla="*/ 409575 h 495300"/>
                <a:gd name="connsiteX50" fmla="*/ 457200 w 685800"/>
                <a:gd name="connsiteY50" fmla="*/ 171450 h 495300"/>
                <a:gd name="connsiteX51" fmla="*/ 457200 w 685800"/>
                <a:gd name="connsiteY51" fmla="*/ 114300 h 495300"/>
                <a:gd name="connsiteX52" fmla="*/ 342900 w 685800"/>
                <a:gd name="connsiteY52" fmla="*/ 0 h 495300"/>
                <a:gd name="connsiteX53" fmla="*/ 228600 w 685800"/>
                <a:gd name="connsiteY53" fmla="*/ 114300 h 495300"/>
                <a:gd name="connsiteX54" fmla="*/ 228600 w 685800"/>
                <a:gd name="connsiteY54" fmla="*/ 171450 h 495300"/>
                <a:gd name="connsiteX55" fmla="*/ 0 w 685800"/>
                <a:gd name="connsiteY55" fmla="*/ 171450 h 495300"/>
                <a:gd name="connsiteX56" fmla="*/ 0 w 685800"/>
                <a:gd name="connsiteY56" fmla="*/ 495300 h 495300"/>
                <a:gd name="connsiteX57" fmla="*/ 276225 w 685800"/>
                <a:gd name="connsiteY57" fmla="*/ 495300 h 495300"/>
                <a:gd name="connsiteX58" fmla="*/ 276225 w 685800"/>
                <a:gd name="connsiteY58" fmla="*/ 390525 h 495300"/>
                <a:gd name="connsiteX59" fmla="*/ 342900 w 685800"/>
                <a:gd name="connsiteY59" fmla="*/ 333375 h 495300"/>
                <a:gd name="connsiteX60" fmla="*/ 409575 w 685800"/>
                <a:gd name="connsiteY60" fmla="*/ 390525 h 495300"/>
                <a:gd name="connsiteX61" fmla="*/ 409575 w 685800"/>
                <a:gd name="connsiteY61" fmla="*/ 495300 h 495300"/>
                <a:gd name="connsiteX62" fmla="*/ 685800 w 685800"/>
                <a:gd name="connsiteY62" fmla="*/ 495300 h 495300"/>
                <a:gd name="connsiteX63" fmla="*/ 685800 w 685800"/>
                <a:gd name="connsiteY63" fmla="*/ 171450 h 495300"/>
                <a:gd name="connsiteX64" fmla="*/ 457200 w 685800"/>
                <a:gd name="connsiteY64" fmla="*/ 171450 h 495300"/>
                <a:gd name="connsiteX0" fmla="*/ 647700 w 685800"/>
                <a:gd name="connsiteY0" fmla="*/ 295275 h 831978"/>
                <a:gd name="connsiteX1" fmla="*/ 571500 w 685800"/>
                <a:gd name="connsiteY1" fmla="*/ 295275 h 831978"/>
                <a:gd name="connsiteX2" fmla="*/ 571500 w 685800"/>
                <a:gd name="connsiteY2" fmla="*/ 219075 h 831978"/>
                <a:gd name="connsiteX3" fmla="*/ 647700 w 685800"/>
                <a:gd name="connsiteY3" fmla="*/ 219075 h 831978"/>
                <a:gd name="connsiteX4" fmla="*/ 647700 w 685800"/>
                <a:gd name="connsiteY4" fmla="*/ 295275 h 831978"/>
                <a:gd name="connsiteX5" fmla="*/ 647700 w 685800"/>
                <a:gd name="connsiteY5" fmla="*/ 409575 h 831978"/>
                <a:gd name="connsiteX6" fmla="*/ 571500 w 685800"/>
                <a:gd name="connsiteY6" fmla="*/ 409575 h 831978"/>
                <a:gd name="connsiteX7" fmla="*/ 571500 w 685800"/>
                <a:gd name="connsiteY7" fmla="*/ 333375 h 831978"/>
                <a:gd name="connsiteX8" fmla="*/ 647700 w 685800"/>
                <a:gd name="connsiteY8" fmla="*/ 333375 h 831978"/>
                <a:gd name="connsiteX9" fmla="*/ 647700 w 685800"/>
                <a:gd name="connsiteY9" fmla="*/ 409575 h 831978"/>
                <a:gd name="connsiteX10" fmla="*/ 533400 w 685800"/>
                <a:gd name="connsiteY10" fmla="*/ 295275 h 831978"/>
                <a:gd name="connsiteX11" fmla="*/ 457200 w 685800"/>
                <a:gd name="connsiteY11" fmla="*/ 295275 h 831978"/>
                <a:gd name="connsiteX12" fmla="*/ 457200 w 685800"/>
                <a:gd name="connsiteY12" fmla="*/ 219075 h 831978"/>
                <a:gd name="connsiteX13" fmla="*/ 533400 w 685800"/>
                <a:gd name="connsiteY13" fmla="*/ 219075 h 831978"/>
                <a:gd name="connsiteX14" fmla="*/ 533400 w 685800"/>
                <a:gd name="connsiteY14" fmla="*/ 295275 h 831978"/>
                <a:gd name="connsiteX15" fmla="*/ 533400 w 685800"/>
                <a:gd name="connsiteY15" fmla="*/ 409575 h 831978"/>
                <a:gd name="connsiteX16" fmla="*/ 457200 w 685800"/>
                <a:gd name="connsiteY16" fmla="*/ 409575 h 831978"/>
                <a:gd name="connsiteX17" fmla="*/ 457200 w 685800"/>
                <a:gd name="connsiteY17" fmla="*/ 333375 h 831978"/>
                <a:gd name="connsiteX18" fmla="*/ 533400 w 685800"/>
                <a:gd name="connsiteY18" fmla="*/ 333375 h 831978"/>
                <a:gd name="connsiteX19" fmla="*/ 533400 w 685800"/>
                <a:gd name="connsiteY19" fmla="*/ 409575 h 831978"/>
                <a:gd name="connsiteX20" fmla="*/ 409575 w 685800"/>
                <a:gd name="connsiteY20" fmla="*/ 295275 h 831978"/>
                <a:gd name="connsiteX21" fmla="*/ 276225 w 685800"/>
                <a:gd name="connsiteY21" fmla="*/ 295275 h 831978"/>
                <a:gd name="connsiteX22" fmla="*/ 276225 w 685800"/>
                <a:gd name="connsiteY22" fmla="*/ 257175 h 831978"/>
                <a:gd name="connsiteX23" fmla="*/ 409575 w 685800"/>
                <a:gd name="connsiteY23" fmla="*/ 257175 h 831978"/>
                <a:gd name="connsiteX24" fmla="*/ 409575 w 685800"/>
                <a:gd name="connsiteY24" fmla="*/ 295275 h 831978"/>
                <a:gd name="connsiteX25" fmla="*/ 342900 w 685800"/>
                <a:gd name="connsiteY25" fmla="*/ 114300 h 831978"/>
                <a:gd name="connsiteX26" fmla="*/ 371475 w 685800"/>
                <a:gd name="connsiteY26" fmla="*/ 142875 h 831978"/>
                <a:gd name="connsiteX27" fmla="*/ 342900 w 685800"/>
                <a:gd name="connsiteY27" fmla="*/ 171450 h 831978"/>
                <a:gd name="connsiteX28" fmla="*/ 314325 w 685800"/>
                <a:gd name="connsiteY28" fmla="*/ 142875 h 831978"/>
                <a:gd name="connsiteX29" fmla="*/ 342900 w 685800"/>
                <a:gd name="connsiteY29" fmla="*/ 114300 h 831978"/>
                <a:gd name="connsiteX30" fmla="*/ 228600 w 685800"/>
                <a:gd name="connsiteY30" fmla="*/ 295275 h 831978"/>
                <a:gd name="connsiteX31" fmla="*/ 152400 w 685800"/>
                <a:gd name="connsiteY31" fmla="*/ 295275 h 831978"/>
                <a:gd name="connsiteX32" fmla="*/ 152400 w 685800"/>
                <a:gd name="connsiteY32" fmla="*/ 219075 h 831978"/>
                <a:gd name="connsiteX33" fmla="*/ 228600 w 685800"/>
                <a:gd name="connsiteY33" fmla="*/ 219075 h 831978"/>
                <a:gd name="connsiteX34" fmla="*/ 228600 w 685800"/>
                <a:gd name="connsiteY34" fmla="*/ 295275 h 831978"/>
                <a:gd name="connsiteX35" fmla="*/ 228600 w 685800"/>
                <a:gd name="connsiteY35" fmla="*/ 409575 h 831978"/>
                <a:gd name="connsiteX36" fmla="*/ 152400 w 685800"/>
                <a:gd name="connsiteY36" fmla="*/ 409575 h 831978"/>
                <a:gd name="connsiteX37" fmla="*/ 152400 w 685800"/>
                <a:gd name="connsiteY37" fmla="*/ 333375 h 831978"/>
                <a:gd name="connsiteX38" fmla="*/ 228600 w 685800"/>
                <a:gd name="connsiteY38" fmla="*/ 333375 h 831978"/>
                <a:gd name="connsiteX39" fmla="*/ 228600 w 685800"/>
                <a:gd name="connsiteY39" fmla="*/ 409575 h 831978"/>
                <a:gd name="connsiteX40" fmla="*/ 114300 w 685800"/>
                <a:gd name="connsiteY40" fmla="*/ 295275 h 831978"/>
                <a:gd name="connsiteX41" fmla="*/ 38100 w 685800"/>
                <a:gd name="connsiteY41" fmla="*/ 295275 h 831978"/>
                <a:gd name="connsiteX42" fmla="*/ 38100 w 685800"/>
                <a:gd name="connsiteY42" fmla="*/ 219075 h 831978"/>
                <a:gd name="connsiteX43" fmla="*/ 114300 w 685800"/>
                <a:gd name="connsiteY43" fmla="*/ 219075 h 831978"/>
                <a:gd name="connsiteX44" fmla="*/ 114300 w 685800"/>
                <a:gd name="connsiteY44" fmla="*/ 295275 h 831978"/>
                <a:gd name="connsiteX45" fmla="*/ 114300 w 685800"/>
                <a:gd name="connsiteY45" fmla="*/ 409575 h 831978"/>
                <a:gd name="connsiteX46" fmla="*/ 38100 w 685800"/>
                <a:gd name="connsiteY46" fmla="*/ 409575 h 831978"/>
                <a:gd name="connsiteX47" fmla="*/ 38100 w 685800"/>
                <a:gd name="connsiteY47" fmla="*/ 333375 h 831978"/>
                <a:gd name="connsiteX48" fmla="*/ 114300 w 685800"/>
                <a:gd name="connsiteY48" fmla="*/ 333375 h 831978"/>
                <a:gd name="connsiteX49" fmla="*/ 114300 w 685800"/>
                <a:gd name="connsiteY49" fmla="*/ 409575 h 831978"/>
                <a:gd name="connsiteX50" fmla="*/ 457200 w 685800"/>
                <a:gd name="connsiteY50" fmla="*/ 171450 h 831978"/>
                <a:gd name="connsiteX51" fmla="*/ 457200 w 685800"/>
                <a:gd name="connsiteY51" fmla="*/ 114300 h 831978"/>
                <a:gd name="connsiteX52" fmla="*/ 342900 w 685800"/>
                <a:gd name="connsiteY52" fmla="*/ 0 h 831978"/>
                <a:gd name="connsiteX53" fmla="*/ 228600 w 685800"/>
                <a:gd name="connsiteY53" fmla="*/ 114300 h 831978"/>
                <a:gd name="connsiteX54" fmla="*/ 228600 w 685800"/>
                <a:gd name="connsiteY54" fmla="*/ 171450 h 831978"/>
                <a:gd name="connsiteX55" fmla="*/ 0 w 685800"/>
                <a:gd name="connsiteY55" fmla="*/ 171450 h 831978"/>
                <a:gd name="connsiteX56" fmla="*/ 0 w 685800"/>
                <a:gd name="connsiteY56" fmla="*/ 495300 h 831978"/>
                <a:gd name="connsiteX57" fmla="*/ 276225 w 685800"/>
                <a:gd name="connsiteY57" fmla="*/ 495300 h 831978"/>
                <a:gd name="connsiteX58" fmla="*/ 276225 w 685800"/>
                <a:gd name="connsiteY58" fmla="*/ 390525 h 831978"/>
                <a:gd name="connsiteX59" fmla="*/ 342900 w 685800"/>
                <a:gd name="connsiteY59" fmla="*/ 333375 h 831978"/>
                <a:gd name="connsiteX60" fmla="*/ 409575 w 685800"/>
                <a:gd name="connsiteY60" fmla="*/ 390525 h 831978"/>
                <a:gd name="connsiteX61" fmla="*/ 409575 w 685800"/>
                <a:gd name="connsiteY61" fmla="*/ 495300 h 831978"/>
                <a:gd name="connsiteX62" fmla="*/ 573295 w 685800"/>
                <a:gd name="connsiteY62" fmla="*/ 831978 h 831978"/>
                <a:gd name="connsiteX63" fmla="*/ 685800 w 685800"/>
                <a:gd name="connsiteY63" fmla="*/ 171450 h 831978"/>
                <a:gd name="connsiteX64" fmla="*/ 457200 w 685800"/>
                <a:gd name="connsiteY64" fmla="*/ 171450 h 831978"/>
                <a:gd name="connsiteX0" fmla="*/ 647700 w 685800"/>
                <a:gd name="connsiteY0" fmla="*/ 295275 h 831978"/>
                <a:gd name="connsiteX1" fmla="*/ 571500 w 685800"/>
                <a:gd name="connsiteY1" fmla="*/ 295275 h 831978"/>
                <a:gd name="connsiteX2" fmla="*/ 571500 w 685800"/>
                <a:gd name="connsiteY2" fmla="*/ 219075 h 831978"/>
                <a:gd name="connsiteX3" fmla="*/ 647700 w 685800"/>
                <a:gd name="connsiteY3" fmla="*/ 219075 h 831978"/>
                <a:gd name="connsiteX4" fmla="*/ 647700 w 685800"/>
                <a:gd name="connsiteY4" fmla="*/ 295275 h 831978"/>
                <a:gd name="connsiteX5" fmla="*/ 647700 w 685800"/>
                <a:gd name="connsiteY5" fmla="*/ 409575 h 831978"/>
                <a:gd name="connsiteX6" fmla="*/ 571500 w 685800"/>
                <a:gd name="connsiteY6" fmla="*/ 409575 h 831978"/>
                <a:gd name="connsiteX7" fmla="*/ 571500 w 685800"/>
                <a:gd name="connsiteY7" fmla="*/ 333375 h 831978"/>
                <a:gd name="connsiteX8" fmla="*/ 647700 w 685800"/>
                <a:gd name="connsiteY8" fmla="*/ 333375 h 831978"/>
                <a:gd name="connsiteX9" fmla="*/ 647700 w 685800"/>
                <a:gd name="connsiteY9" fmla="*/ 409575 h 831978"/>
                <a:gd name="connsiteX10" fmla="*/ 533400 w 685800"/>
                <a:gd name="connsiteY10" fmla="*/ 295275 h 831978"/>
                <a:gd name="connsiteX11" fmla="*/ 457200 w 685800"/>
                <a:gd name="connsiteY11" fmla="*/ 295275 h 831978"/>
                <a:gd name="connsiteX12" fmla="*/ 457200 w 685800"/>
                <a:gd name="connsiteY12" fmla="*/ 219075 h 831978"/>
                <a:gd name="connsiteX13" fmla="*/ 533400 w 685800"/>
                <a:gd name="connsiteY13" fmla="*/ 219075 h 831978"/>
                <a:gd name="connsiteX14" fmla="*/ 533400 w 685800"/>
                <a:gd name="connsiteY14" fmla="*/ 295275 h 831978"/>
                <a:gd name="connsiteX15" fmla="*/ 533400 w 685800"/>
                <a:gd name="connsiteY15" fmla="*/ 409575 h 831978"/>
                <a:gd name="connsiteX16" fmla="*/ 457200 w 685800"/>
                <a:gd name="connsiteY16" fmla="*/ 409575 h 831978"/>
                <a:gd name="connsiteX17" fmla="*/ 457200 w 685800"/>
                <a:gd name="connsiteY17" fmla="*/ 333375 h 831978"/>
                <a:gd name="connsiteX18" fmla="*/ 533400 w 685800"/>
                <a:gd name="connsiteY18" fmla="*/ 333375 h 831978"/>
                <a:gd name="connsiteX19" fmla="*/ 533400 w 685800"/>
                <a:gd name="connsiteY19" fmla="*/ 409575 h 831978"/>
                <a:gd name="connsiteX20" fmla="*/ 409575 w 685800"/>
                <a:gd name="connsiteY20" fmla="*/ 295275 h 831978"/>
                <a:gd name="connsiteX21" fmla="*/ 276225 w 685800"/>
                <a:gd name="connsiteY21" fmla="*/ 295275 h 831978"/>
                <a:gd name="connsiteX22" fmla="*/ 276225 w 685800"/>
                <a:gd name="connsiteY22" fmla="*/ 257175 h 831978"/>
                <a:gd name="connsiteX23" fmla="*/ 409575 w 685800"/>
                <a:gd name="connsiteY23" fmla="*/ 257175 h 831978"/>
                <a:gd name="connsiteX24" fmla="*/ 409575 w 685800"/>
                <a:gd name="connsiteY24" fmla="*/ 295275 h 831978"/>
                <a:gd name="connsiteX25" fmla="*/ 342900 w 685800"/>
                <a:gd name="connsiteY25" fmla="*/ 114300 h 831978"/>
                <a:gd name="connsiteX26" fmla="*/ 371475 w 685800"/>
                <a:gd name="connsiteY26" fmla="*/ 142875 h 831978"/>
                <a:gd name="connsiteX27" fmla="*/ 342900 w 685800"/>
                <a:gd name="connsiteY27" fmla="*/ 171450 h 831978"/>
                <a:gd name="connsiteX28" fmla="*/ 314325 w 685800"/>
                <a:gd name="connsiteY28" fmla="*/ 142875 h 831978"/>
                <a:gd name="connsiteX29" fmla="*/ 342900 w 685800"/>
                <a:gd name="connsiteY29" fmla="*/ 114300 h 831978"/>
                <a:gd name="connsiteX30" fmla="*/ 228600 w 685800"/>
                <a:gd name="connsiteY30" fmla="*/ 295275 h 831978"/>
                <a:gd name="connsiteX31" fmla="*/ 152400 w 685800"/>
                <a:gd name="connsiteY31" fmla="*/ 295275 h 831978"/>
                <a:gd name="connsiteX32" fmla="*/ 152400 w 685800"/>
                <a:gd name="connsiteY32" fmla="*/ 219075 h 831978"/>
                <a:gd name="connsiteX33" fmla="*/ 228600 w 685800"/>
                <a:gd name="connsiteY33" fmla="*/ 219075 h 831978"/>
                <a:gd name="connsiteX34" fmla="*/ 228600 w 685800"/>
                <a:gd name="connsiteY34" fmla="*/ 295275 h 831978"/>
                <a:gd name="connsiteX35" fmla="*/ 228600 w 685800"/>
                <a:gd name="connsiteY35" fmla="*/ 409575 h 831978"/>
                <a:gd name="connsiteX36" fmla="*/ 152400 w 685800"/>
                <a:gd name="connsiteY36" fmla="*/ 409575 h 831978"/>
                <a:gd name="connsiteX37" fmla="*/ 152400 w 685800"/>
                <a:gd name="connsiteY37" fmla="*/ 333375 h 831978"/>
                <a:gd name="connsiteX38" fmla="*/ 228600 w 685800"/>
                <a:gd name="connsiteY38" fmla="*/ 333375 h 831978"/>
                <a:gd name="connsiteX39" fmla="*/ 228600 w 685800"/>
                <a:gd name="connsiteY39" fmla="*/ 409575 h 831978"/>
                <a:gd name="connsiteX40" fmla="*/ 114300 w 685800"/>
                <a:gd name="connsiteY40" fmla="*/ 295275 h 831978"/>
                <a:gd name="connsiteX41" fmla="*/ 38100 w 685800"/>
                <a:gd name="connsiteY41" fmla="*/ 295275 h 831978"/>
                <a:gd name="connsiteX42" fmla="*/ 38100 w 685800"/>
                <a:gd name="connsiteY42" fmla="*/ 219075 h 831978"/>
                <a:gd name="connsiteX43" fmla="*/ 114300 w 685800"/>
                <a:gd name="connsiteY43" fmla="*/ 219075 h 831978"/>
                <a:gd name="connsiteX44" fmla="*/ 114300 w 685800"/>
                <a:gd name="connsiteY44" fmla="*/ 295275 h 831978"/>
                <a:gd name="connsiteX45" fmla="*/ 114300 w 685800"/>
                <a:gd name="connsiteY45" fmla="*/ 409575 h 831978"/>
                <a:gd name="connsiteX46" fmla="*/ 38100 w 685800"/>
                <a:gd name="connsiteY46" fmla="*/ 409575 h 831978"/>
                <a:gd name="connsiteX47" fmla="*/ 38100 w 685800"/>
                <a:gd name="connsiteY47" fmla="*/ 333375 h 831978"/>
                <a:gd name="connsiteX48" fmla="*/ 114300 w 685800"/>
                <a:gd name="connsiteY48" fmla="*/ 333375 h 831978"/>
                <a:gd name="connsiteX49" fmla="*/ 114300 w 685800"/>
                <a:gd name="connsiteY49" fmla="*/ 409575 h 831978"/>
                <a:gd name="connsiteX50" fmla="*/ 457200 w 685800"/>
                <a:gd name="connsiteY50" fmla="*/ 171450 h 831978"/>
                <a:gd name="connsiteX51" fmla="*/ 457200 w 685800"/>
                <a:gd name="connsiteY51" fmla="*/ 114300 h 831978"/>
                <a:gd name="connsiteX52" fmla="*/ 342900 w 685800"/>
                <a:gd name="connsiteY52" fmla="*/ 0 h 831978"/>
                <a:gd name="connsiteX53" fmla="*/ 228600 w 685800"/>
                <a:gd name="connsiteY53" fmla="*/ 114300 h 831978"/>
                <a:gd name="connsiteX54" fmla="*/ 228600 w 685800"/>
                <a:gd name="connsiteY54" fmla="*/ 171450 h 831978"/>
                <a:gd name="connsiteX55" fmla="*/ 0 w 685800"/>
                <a:gd name="connsiteY55" fmla="*/ 171450 h 831978"/>
                <a:gd name="connsiteX56" fmla="*/ 0 w 685800"/>
                <a:gd name="connsiteY56" fmla="*/ 495300 h 831978"/>
                <a:gd name="connsiteX57" fmla="*/ 276225 w 685800"/>
                <a:gd name="connsiteY57" fmla="*/ 495300 h 831978"/>
                <a:gd name="connsiteX58" fmla="*/ 276225 w 685800"/>
                <a:gd name="connsiteY58" fmla="*/ 390525 h 831978"/>
                <a:gd name="connsiteX59" fmla="*/ 342900 w 685800"/>
                <a:gd name="connsiteY59" fmla="*/ 333375 h 831978"/>
                <a:gd name="connsiteX60" fmla="*/ 409575 w 685800"/>
                <a:gd name="connsiteY60" fmla="*/ 390525 h 831978"/>
                <a:gd name="connsiteX61" fmla="*/ 351087 w 685800"/>
                <a:gd name="connsiteY61" fmla="*/ 678110 h 831978"/>
                <a:gd name="connsiteX62" fmla="*/ 573295 w 685800"/>
                <a:gd name="connsiteY62" fmla="*/ 831978 h 831978"/>
                <a:gd name="connsiteX63" fmla="*/ 685800 w 685800"/>
                <a:gd name="connsiteY63" fmla="*/ 171450 h 831978"/>
                <a:gd name="connsiteX64" fmla="*/ 457200 w 685800"/>
                <a:gd name="connsiteY64" fmla="*/ 171450 h 831978"/>
                <a:gd name="connsiteX0" fmla="*/ 647700 w 685800"/>
                <a:gd name="connsiteY0" fmla="*/ 295275 h 808867"/>
                <a:gd name="connsiteX1" fmla="*/ 571500 w 685800"/>
                <a:gd name="connsiteY1" fmla="*/ 295275 h 808867"/>
                <a:gd name="connsiteX2" fmla="*/ 571500 w 685800"/>
                <a:gd name="connsiteY2" fmla="*/ 219075 h 808867"/>
                <a:gd name="connsiteX3" fmla="*/ 647700 w 685800"/>
                <a:gd name="connsiteY3" fmla="*/ 219075 h 808867"/>
                <a:gd name="connsiteX4" fmla="*/ 647700 w 685800"/>
                <a:gd name="connsiteY4" fmla="*/ 295275 h 808867"/>
                <a:gd name="connsiteX5" fmla="*/ 647700 w 685800"/>
                <a:gd name="connsiteY5" fmla="*/ 409575 h 808867"/>
                <a:gd name="connsiteX6" fmla="*/ 571500 w 685800"/>
                <a:gd name="connsiteY6" fmla="*/ 409575 h 808867"/>
                <a:gd name="connsiteX7" fmla="*/ 571500 w 685800"/>
                <a:gd name="connsiteY7" fmla="*/ 333375 h 808867"/>
                <a:gd name="connsiteX8" fmla="*/ 647700 w 685800"/>
                <a:gd name="connsiteY8" fmla="*/ 333375 h 808867"/>
                <a:gd name="connsiteX9" fmla="*/ 647700 w 685800"/>
                <a:gd name="connsiteY9" fmla="*/ 409575 h 808867"/>
                <a:gd name="connsiteX10" fmla="*/ 533400 w 685800"/>
                <a:gd name="connsiteY10" fmla="*/ 295275 h 808867"/>
                <a:gd name="connsiteX11" fmla="*/ 457200 w 685800"/>
                <a:gd name="connsiteY11" fmla="*/ 295275 h 808867"/>
                <a:gd name="connsiteX12" fmla="*/ 457200 w 685800"/>
                <a:gd name="connsiteY12" fmla="*/ 219075 h 808867"/>
                <a:gd name="connsiteX13" fmla="*/ 533400 w 685800"/>
                <a:gd name="connsiteY13" fmla="*/ 219075 h 808867"/>
                <a:gd name="connsiteX14" fmla="*/ 533400 w 685800"/>
                <a:gd name="connsiteY14" fmla="*/ 295275 h 808867"/>
                <a:gd name="connsiteX15" fmla="*/ 533400 w 685800"/>
                <a:gd name="connsiteY15" fmla="*/ 409575 h 808867"/>
                <a:gd name="connsiteX16" fmla="*/ 457200 w 685800"/>
                <a:gd name="connsiteY16" fmla="*/ 409575 h 808867"/>
                <a:gd name="connsiteX17" fmla="*/ 457200 w 685800"/>
                <a:gd name="connsiteY17" fmla="*/ 333375 h 808867"/>
                <a:gd name="connsiteX18" fmla="*/ 533400 w 685800"/>
                <a:gd name="connsiteY18" fmla="*/ 333375 h 808867"/>
                <a:gd name="connsiteX19" fmla="*/ 533400 w 685800"/>
                <a:gd name="connsiteY19" fmla="*/ 409575 h 808867"/>
                <a:gd name="connsiteX20" fmla="*/ 409575 w 685800"/>
                <a:gd name="connsiteY20" fmla="*/ 295275 h 808867"/>
                <a:gd name="connsiteX21" fmla="*/ 276225 w 685800"/>
                <a:gd name="connsiteY21" fmla="*/ 295275 h 808867"/>
                <a:gd name="connsiteX22" fmla="*/ 276225 w 685800"/>
                <a:gd name="connsiteY22" fmla="*/ 257175 h 808867"/>
                <a:gd name="connsiteX23" fmla="*/ 409575 w 685800"/>
                <a:gd name="connsiteY23" fmla="*/ 257175 h 808867"/>
                <a:gd name="connsiteX24" fmla="*/ 409575 w 685800"/>
                <a:gd name="connsiteY24" fmla="*/ 295275 h 808867"/>
                <a:gd name="connsiteX25" fmla="*/ 342900 w 685800"/>
                <a:gd name="connsiteY25" fmla="*/ 114300 h 808867"/>
                <a:gd name="connsiteX26" fmla="*/ 371475 w 685800"/>
                <a:gd name="connsiteY26" fmla="*/ 142875 h 808867"/>
                <a:gd name="connsiteX27" fmla="*/ 342900 w 685800"/>
                <a:gd name="connsiteY27" fmla="*/ 171450 h 808867"/>
                <a:gd name="connsiteX28" fmla="*/ 314325 w 685800"/>
                <a:gd name="connsiteY28" fmla="*/ 142875 h 808867"/>
                <a:gd name="connsiteX29" fmla="*/ 342900 w 685800"/>
                <a:gd name="connsiteY29" fmla="*/ 114300 h 808867"/>
                <a:gd name="connsiteX30" fmla="*/ 228600 w 685800"/>
                <a:gd name="connsiteY30" fmla="*/ 295275 h 808867"/>
                <a:gd name="connsiteX31" fmla="*/ 152400 w 685800"/>
                <a:gd name="connsiteY31" fmla="*/ 295275 h 808867"/>
                <a:gd name="connsiteX32" fmla="*/ 152400 w 685800"/>
                <a:gd name="connsiteY32" fmla="*/ 219075 h 808867"/>
                <a:gd name="connsiteX33" fmla="*/ 228600 w 685800"/>
                <a:gd name="connsiteY33" fmla="*/ 219075 h 808867"/>
                <a:gd name="connsiteX34" fmla="*/ 228600 w 685800"/>
                <a:gd name="connsiteY34" fmla="*/ 295275 h 808867"/>
                <a:gd name="connsiteX35" fmla="*/ 228600 w 685800"/>
                <a:gd name="connsiteY35" fmla="*/ 409575 h 808867"/>
                <a:gd name="connsiteX36" fmla="*/ 152400 w 685800"/>
                <a:gd name="connsiteY36" fmla="*/ 409575 h 808867"/>
                <a:gd name="connsiteX37" fmla="*/ 152400 w 685800"/>
                <a:gd name="connsiteY37" fmla="*/ 333375 h 808867"/>
                <a:gd name="connsiteX38" fmla="*/ 228600 w 685800"/>
                <a:gd name="connsiteY38" fmla="*/ 333375 h 808867"/>
                <a:gd name="connsiteX39" fmla="*/ 228600 w 685800"/>
                <a:gd name="connsiteY39" fmla="*/ 409575 h 808867"/>
                <a:gd name="connsiteX40" fmla="*/ 114300 w 685800"/>
                <a:gd name="connsiteY40" fmla="*/ 295275 h 808867"/>
                <a:gd name="connsiteX41" fmla="*/ 38100 w 685800"/>
                <a:gd name="connsiteY41" fmla="*/ 295275 h 808867"/>
                <a:gd name="connsiteX42" fmla="*/ 38100 w 685800"/>
                <a:gd name="connsiteY42" fmla="*/ 219075 h 808867"/>
                <a:gd name="connsiteX43" fmla="*/ 114300 w 685800"/>
                <a:gd name="connsiteY43" fmla="*/ 219075 h 808867"/>
                <a:gd name="connsiteX44" fmla="*/ 114300 w 685800"/>
                <a:gd name="connsiteY44" fmla="*/ 295275 h 808867"/>
                <a:gd name="connsiteX45" fmla="*/ 114300 w 685800"/>
                <a:gd name="connsiteY45" fmla="*/ 409575 h 808867"/>
                <a:gd name="connsiteX46" fmla="*/ 38100 w 685800"/>
                <a:gd name="connsiteY46" fmla="*/ 409575 h 808867"/>
                <a:gd name="connsiteX47" fmla="*/ 38100 w 685800"/>
                <a:gd name="connsiteY47" fmla="*/ 333375 h 808867"/>
                <a:gd name="connsiteX48" fmla="*/ 114300 w 685800"/>
                <a:gd name="connsiteY48" fmla="*/ 333375 h 808867"/>
                <a:gd name="connsiteX49" fmla="*/ 114300 w 685800"/>
                <a:gd name="connsiteY49" fmla="*/ 409575 h 808867"/>
                <a:gd name="connsiteX50" fmla="*/ 457200 w 685800"/>
                <a:gd name="connsiteY50" fmla="*/ 171450 h 808867"/>
                <a:gd name="connsiteX51" fmla="*/ 457200 w 685800"/>
                <a:gd name="connsiteY51" fmla="*/ 114300 h 808867"/>
                <a:gd name="connsiteX52" fmla="*/ 342900 w 685800"/>
                <a:gd name="connsiteY52" fmla="*/ 0 h 808867"/>
                <a:gd name="connsiteX53" fmla="*/ 228600 w 685800"/>
                <a:gd name="connsiteY53" fmla="*/ 114300 h 808867"/>
                <a:gd name="connsiteX54" fmla="*/ 228600 w 685800"/>
                <a:gd name="connsiteY54" fmla="*/ 171450 h 808867"/>
                <a:gd name="connsiteX55" fmla="*/ 0 w 685800"/>
                <a:gd name="connsiteY55" fmla="*/ 171450 h 808867"/>
                <a:gd name="connsiteX56" fmla="*/ 0 w 685800"/>
                <a:gd name="connsiteY56" fmla="*/ 495300 h 808867"/>
                <a:gd name="connsiteX57" fmla="*/ 276225 w 685800"/>
                <a:gd name="connsiteY57" fmla="*/ 495300 h 808867"/>
                <a:gd name="connsiteX58" fmla="*/ 276225 w 685800"/>
                <a:gd name="connsiteY58" fmla="*/ 390525 h 808867"/>
                <a:gd name="connsiteX59" fmla="*/ 342900 w 685800"/>
                <a:gd name="connsiteY59" fmla="*/ 333375 h 808867"/>
                <a:gd name="connsiteX60" fmla="*/ 409575 w 685800"/>
                <a:gd name="connsiteY60" fmla="*/ 390525 h 808867"/>
                <a:gd name="connsiteX61" fmla="*/ 351087 w 685800"/>
                <a:gd name="connsiteY61" fmla="*/ 678110 h 808867"/>
                <a:gd name="connsiteX62" fmla="*/ 580752 w 685800"/>
                <a:gd name="connsiteY62" fmla="*/ 808867 h 808867"/>
                <a:gd name="connsiteX63" fmla="*/ 685800 w 685800"/>
                <a:gd name="connsiteY63" fmla="*/ 171450 h 808867"/>
                <a:gd name="connsiteX64" fmla="*/ 457200 w 685800"/>
                <a:gd name="connsiteY64" fmla="*/ 171450 h 808867"/>
                <a:gd name="connsiteX0" fmla="*/ 647700 w 685800"/>
                <a:gd name="connsiteY0" fmla="*/ 295275 h 808867"/>
                <a:gd name="connsiteX1" fmla="*/ 571500 w 685800"/>
                <a:gd name="connsiteY1" fmla="*/ 295275 h 808867"/>
                <a:gd name="connsiteX2" fmla="*/ 571500 w 685800"/>
                <a:gd name="connsiteY2" fmla="*/ 219075 h 808867"/>
                <a:gd name="connsiteX3" fmla="*/ 647700 w 685800"/>
                <a:gd name="connsiteY3" fmla="*/ 219075 h 808867"/>
                <a:gd name="connsiteX4" fmla="*/ 647700 w 685800"/>
                <a:gd name="connsiteY4" fmla="*/ 295275 h 808867"/>
                <a:gd name="connsiteX5" fmla="*/ 647700 w 685800"/>
                <a:gd name="connsiteY5" fmla="*/ 409575 h 808867"/>
                <a:gd name="connsiteX6" fmla="*/ 571500 w 685800"/>
                <a:gd name="connsiteY6" fmla="*/ 409575 h 808867"/>
                <a:gd name="connsiteX7" fmla="*/ 571500 w 685800"/>
                <a:gd name="connsiteY7" fmla="*/ 333375 h 808867"/>
                <a:gd name="connsiteX8" fmla="*/ 647700 w 685800"/>
                <a:gd name="connsiteY8" fmla="*/ 333375 h 808867"/>
                <a:gd name="connsiteX9" fmla="*/ 647700 w 685800"/>
                <a:gd name="connsiteY9" fmla="*/ 409575 h 808867"/>
                <a:gd name="connsiteX10" fmla="*/ 533400 w 685800"/>
                <a:gd name="connsiteY10" fmla="*/ 295275 h 808867"/>
                <a:gd name="connsiteX11" fmla="*/ 457200 w 685800"/>
                <a:gd name="connsiteY11" fmla="*/ 295275 h 808867"/>
                <a:gd name="connsiteX12" fmla="*/ 457200 w 685800"/>
                <a:gd name="connsiteY12" fmla="*/ 219075 h 808867"/>
                <a:gd name="connsiteX13" fmla="*/ 533400 w 685800"/>
                <a:gd name="connsiteY13" fmla="*/ 219075 h 808867"/>
                <a:gd name="connsiteX14" fmla="*/ 533400 w 685800"/>
                <a:gd name="connsiteY14" fmla="*/ 295275 h 808867"/>
                <a:gd name="connsiteX15" fmla="*/ 533400 w 685800"/>
                <a:gd name="connsiteY15" fmla="*/ 409575 h 808867"/>
                <a:gd name="connsiteX16" fmla="*/ 457200 w 685800"/>
                <a:gd name="connsiteY16" fmla="*/ 409575 h 808867"/>
                <a:gd name="connsiteX17" fmla="*/ 457200 w 685800"/>
                <a:gd name="connsiteY17" fmla="*/ 333375 h 808867"/>
                <a:gd name="connsiteX18" fmla="*/ 533400 w 685800"/>
                <a:gd name="connsiteY18" fmla="*/ 333375 h 808867"/>
                <a:gd name="connsiteX19" fmla="*/ 533400 w 685800"/>
                <a:gd name="connsiteY19" fmla="*/ 409575 h 808867"/>
                <a:gd name="connsiteX20" fmla="*/ 409575 w 685800"/>
                <a:gd name="connsiteY20" fmla="*/ 295275 h 808867"/>
                <a:gd name="connsiteX21" fmla="*/ 276225 w 685800"/>
                <a:gd name="connsiteY21" fmla="*/ 295275 h 808867"/>
                <a:gd name="connsiteX22" fmla="*/ 276225 w 685800"/>
                <a:gd name="connsiteY22" fmla="*/ 257175 h 808867"/>
                <a:gd name="connsiteX23" fmla="*/ 409575 w 685800"/>
                <a:gd name="connsiteY23" fmla="*/ 257175 h 808867"/>
                <a:gd name="connsiteX24" fmla="*/ 409575 w 685800"/>
                <a:gd name="connsiteY24" fmla="*/ 295275 h 808867"/>
                <a:gd name="connsiteX25" fmla="*/ 342900 w 685800"/>
                <a:gd name="connsiteY25" fmla="*/ 114300 h 808867"/>
                <a:gd name="connsiteX26" fmla="*/ 371475 w 685800"/>
                <a:gd name="connsiteY26" fmla="*/ 142875 h 808867"/>
                <a:gd name="connsiteX27" fmla="*/ 342900 w 685800"/>
                <a:gd name="connsiteY27" fmla="*/ 171450 h 808867"/>
                <a:gd name="connsiteX28" fmla="*/ 314325 w 685800"/>
                <a:gd name="connsiteY28" fmla="*/ 142875 h 808867"/>
                <a:gd name="connsiteX29" fmla="*/ 342900 w 685800"/>
                <a:gd name="connsiteY29" fmla="*/ 114300 h 808867"/>
                <a:gd name="connsiteX30" fmla="*/ 228600 w 685800"/>
                <a:gd name="connsiteY30" fmla="*/ 295275 h 808867"/>
                <a:gd name="connsiteX31" fmla="*/ 152400 w 685800"/>
                <a:gd name="connsiteY31" fmla="*/ 295275 h 808867"/>
                <a:gd name="connsiteX32" fmla="*/ 152400 w 685800"/>
                <a:gd name="connsiteY32" fmla="*/ 219075 h 808867"/>
                <a:gd name="connsiteX33" fmla="*/ 228600 w 685800"/>
                <a:gd name="connsiteY33" fmla="*/ 219075 h 808867"/>
                <a:gd name="connsiteX34" fmla="*/ 228600 w 685800"/>
                <a:gd name="connsiteY34" fmla="*/ 295275 h 808867"/>
                <a:gd name="connsiteX35" fmla="*/ 228600 w 685800"/>
                <a:gd name="connsiteY35" fmla="*/ 409575 h 808867"/>
                <a:gd name="connsiteX36" fmla="*/ 152400 w 685800"/>
                <a:gd name="connsiteY36" fmla="*/ 409575 h 808867"/>
                <a:gd name="connsiteX37" fmla="*/ 152400 w 685800"/>
                <a:gd name="connsiteY37" fmla="*/ 333375 h 808867"/>
                <a:gd name="connsiteX38" fmla="*/ 228600 w 685800"/>
                <a:gd name="connsiteY38" fmla="*/ 333375 h 808867"/>
                <a:gd name="connsiteX39" fmla="*/ 228600 w 685800"/>
                <a:gd name="connsiteY39" fmla="*/ 409575 h 808867"/>
                <a:gd name="connsiteX40" fmla="*/ 114300 w 685800"/>
                <a:gd name="connsiteY40" fmla="*/ 295275 h 808867"/>
                <a:gd name="connsiteX41" fmla="*/ 38100 w 685800"/>
                <a:gd name="connsiteY41" fmla="*/ 295275 h 808867"/>
                <a:gd name="connsiteX42" fmla="*/ 38100 w 685800"/>
                <a:gd name="connsiteY42" fmla="*/ 219075 h 808867"/>
                <a:gd name="connsiteX43" fmla="*/ 114300 w 685800"/>
                <a:gd name="connsiteY43" fmla="*/ 219075 h 808867"/>
                <a:gd name="connsiteX44" fmla="*/ 114300 w 685800"/>
                <a:gd name="connsiteY44" fmla="*/ 295275 h 808867"/>
                <a:gd name="connsiteX45" fmla="*/ 114300 w 685800"/>
                <a:gd name="connsiteY45" fmla="*/ 409575 h 808867"/>
                <a:gd name="connsiteX46" fmla="*/ 38100 w 685800"/>
                <a:gd name="connsiteY46" fmla="*/ 409575 h 808867"/>
                <a:gd name="connsiteX47" fmla="*/ 38100 w 685800"/>
                <a:gd name="connsiteY47" fmla="*/ 333375 h 808867"/>
                <a:gd name="connsiteX48" fmla="*/ 114300 w 685800"/>
                <a:gd name="connsiteY48" fmla="*/ 333375 h 808867"/>
                <a:gd name="connsiteX49" fmla="*/ 114300 w 685800"/>
                <a:gd name="connsiteY49" fmla="*/ 409575 h 808867"/>
                <a:gd name="connsiteX50" fmla="*/ 457200 w 685800"/>
                <a:gd name="connsiteY50" fmla="*/ 171450 h 808867"/>
                <a:gd name="connsiteX51" fmla="*/ 457200 w 685800"/>
                <a:gd name="connsiteY51" fmla="*/ 114300 h 808867"/>
                <a:gd name="connsiteX52" fmla="*/ 342900 w 685800"/>
                <a:gd name="connsiteY52" fmla="*/ 0 h 808867"/>
                <a:gd name="connsiteX53" fmla="*/ 228600 w 685800"/>
                <a:gd name="connsiteY53" fmla="*/ 114300 h 808867"/>
                <a:gd name="connsiteX54" fmla="*/ 228600 w 685800"/>
                <a:gd name="connsiteY54" fmla="*/ 171450 h 808867"/>
                <a:gd name="connsiteX55" fmla="*/ 0 w 685800"/>
                <a:gd name="connsiteY55" fmla="*/ 171450 h 808867"/>
                <a:gd name="connsiteX56" fmla="*/ 0 w 685800"/>
                <a:gd name="connsiteY56" fmla="*/ 495300 h 808867"/>
                <a:gd name="connsiteX57" fmla="*/ 237110 w 685800"/>
                <a:gd name="connsiteY57" fmla="*/ 604375 h 808867"/>
                <a:gd name="connsiteX58" fmla="*/ 276225 w 685800"/>
                <a:gd name="connsiteY58" fmla="*/ 390525 h 808867"/>
                <a:gd name="connsiteX59" fmla="*/ 342900 w 685800"/>
                <a:gd name="connsiteY59" fmla="*/ 333375 h 808867"/>
                <a:gd name="connsiteX60" fmla="*/ 409575 w 685800"/>
                <a:gd name="connsiteY60" fmla="*/ 390525 h 808867"/>
                <a:gd name="connsiteX61" fmla="*/ 351087 w 685800"/>
                <a:gd name="connsiteY61" fmla="*/ 678110 h 808867"/>
                <a:gd name="connsiteX62" fmla="*/ 580752 w 685800"/>
                <a:gd name="connsiteY62" fmla="*/ 808867 h 808867"/>
                <a:gd name="connsiteX63" fmla="*/ 685800 w 685800"/>
                <a:gd name="connsiteY63" fmla="*/ 171450 h 808867"/>
                <a:gd name="connsiteX64" fmla="*/ 457200 w 685800"/>
                <a:gd name="connsiteY64" fmla="*/ 171450 h 808867"/>
                <a:gd name="connsiteX0" fmla="*/ 664272 w 702372"/>
                <a:gd name="connsiteY0" fmla="*/ 295275 h 808867"/>
                <a:gd name="connsiteX1" fmla="*/ 588072 w 702372"/>
                <a:gd name="connsiteY1" fmla="*/ 295275 h 808867"/>
                <a:gd name="connsiteX2" fmla="*/ 588072 w 702372"/>
                <a:gd name="connsiteY2" fmla="*/ 219075 h 808867"/>
                <a:gd name="connsiteX3" fmla="*/ 664272 w 702372"/>
                <a:gd name="connsiteY3" fmla="*/ 219075 h 808867"/>
                <a:gd name="connsiteX4" fmla="*/ 664272 w 702372"/>
                <a:gd name="connsiteY4" fmla="*/ 295275 h 808867"/>
                <a:gd name="connsiteX5" fmla="*/ 664272 w 702372"/>
                <a:gd name="connsiteY5" fmla="*/ 409575 h 808867"/>
                <a:gd name="connsiteX6" fmla="*/ 588072 w 702372"/>
                <a:gd name="connsiteY6" fmla="*/ 409575 h 808867"/>
                <a:gd name="connsiteX7" fmla="*/ 588072 w 702372"/>
                <a:gd name="connsiteY7" fmla="*/ 333375 h 808867"/>
                <a:gd name="connsiteX8" fmla="*/ 664272 w 702372"/>
                <a:gd name="connsiteY8" fmla="*/ 333375 h 808867"/>
                <a:gd name="connsiteX9" fmla="*/ 664272 w 702372"/>
                <a:gd name="connsiteY9" fmla="*/ 409575 h 808867"/>
                <a:gd name="connsiteX10" fmla="*/ 549972 w 702372"/>
                <a:gd name="connsiteY10" fmla="*/ 295275 h 808867"/>
                <a:gd name="connsiteX11" fmla="*/ 473772 w 702372"/>
                <a:gd name="connsiteY11" fmla="*/ 295275 h 808867"/>
                <a:gd name="connsiteX12" fmla="*/ 473772 w 702372"/>
                <a:gd name="connsiteY12" fmla="*/ 219075 h 808867"/>
                <a:gd name="connsiteX13" fmla="*/ 549972 w 702372"/>
                <a:gd name="connsiteY13" fmla="*/ 219075 h 808867"/>
                <a:gd name="connsiteX14" fmla="*/ 549972 w 702372"/>
                <a:gd name="connsiteY14" fmla="*/ 295275 h 808867"/>
                <a:gd name="connsiteX15" fmla="*/ 549972 w 702372"/>
                <a:gd name="connsiteY15" fmla="*/ 409575 h 808867"/>
                <a:gd name="connsiteX16" fmla="*/ 473772 w 702372"/>
                <a:gd name="connsiteY16" fmla="*/ 409575 h 808867"/>
                <a:gd name="connsiteX17" fmla="*/ 473772 w 702372"/>
                <a:gd name="connsiteY17" fmla="*/ 333375 h 808867"/>
                <a:gd name="connsiteX18" fmla="*/ 549972 w 702372"/>
                <a:gd name="connsiteY18" fmla="*/ 333375 h 808867"/>
                <a:gd name="connsiteX19" fmla="*/ 549972 w 702372"/>
                <a:gd name="connsiteY19" fmla="*/ 409575 h 808867"/>
                <a:gd name="connsiteX20" fmla="*/ 426147 w 702372"/>
                <a:gd name="connsiteY20" fmla="*/ 295275 h 808867"/>
                <a:gd name="connsiteX21" fmla="*/ 292797 w 702372"/>
                <a:gd name="connsiteY21" fmla="*/ 295275 h 808867"/>
                <a:gd name="connsiteX22" fmla="*/ 292797 w 702372"/>
                <a:gd name="connsiteY22" fmla="*/ 257175 h 808867"/>
                <a:gd name="connsiteX23" fmla="*/ 426147 w 702372"/>
                <a:gd name="connsiteY23" fmla="*/ 257175 h 808867"/>
                <a:gd name="connsiteX24" fmla="*/ 426147 w 702372"/>
                <a:gd name="connsiteY24" fmla="*/ 295275 h 808867"/>
                <a:gd name="connsiteX25" fmla="*/ 359472 w 702372"/>
                <a:gd name="connsiteY25" fmla="*/ 114300 h 808867"/>
                <a:gd name="connsiteX26" fmla="*/ 388047 w 702372"/>
                <a:gd name="connsiteY26" fmla="*/ 142875 h 808867"/>
                <a:gd name="connsiteX27" fmla="*/ 359472 w 702372"/>
                <a:gd name="connsiteY27" fmla="*/ 171450 h 808867"/>
                <a:gd name="connsiteX28" fmla="*/ 330897 w 702372"/>
                <a:gd name="connsiteY28" fmla="*/ 142875 h 808867"/>
                <a:gd name="connsiteX29" fmla="*/ 359472 w 702372"/>
                <a:gd name="connsiteY29" fmla="*/ 114300 h 808867"/>
                <a:gd name="connsiteX30" fmla="*/ 245172 w 702372"/>
                <a:gd name="connsiteY30" fmla="*/ 295275 h 808867"/>
                <a:gd name="connsiteX31" fmla="*/ 168972 w 702372"/>
                <a:gd name="connsiteY31" fmla="*/ 295275 h 808867"/>
                <a:gd name="connsiteX32" fmla="*/ 168972 w 702372"/>
                <a:gd name="connsiteY32" fmla="*/ 219075 h 808867"/>
                <a:gd name="connsiteX33" fmla="*/ 245172 w 702372"/>
                <a:gd name="connsiteY33" fmla="*/ 219075 h 808867"/>
                <a:gd name="connsiteX34" fmla="*/ 245172 w 702372"/>
                <a:gd name="connsiteY34" fmla="*/ 295275 h 808867"/>
                <a:gd name="connsiteX35" fmla="*/ 245172 w 702372"/>
                <a:gd name="connsiteY35" fmla="*/ 409575 h 808867"/>
                <a:gd name="connsiteX36" fmla="*/ 168972 w 702372"/>
                <a:gd name="connsiteY36" fmla="*/ 409575 h 808867"/>
                <a:gd name="connsiteX37" fmla="*/ 168972 w 702372"/>
                <a:gd name="connsiteY37" fmla="*/ 333375 h 808867"/>
                <a:gd name="connsiteX38" fmla="*/ 245172 w 702372"/>
                <a:gd name="connsiteY38" fmla="*/ 333375 h 808867"/>
                <a:gd name="connsiteX39" fmla="*/ 245172 w 702372"/>
                <a:gd name="connsiteY39" fmla="*/ 409575 h 808867"/>
                <a:gd name="connsiteX40" fmla="*/ 130872 w 702372"/>
                <a:gd name="connsiteY40" fmla="*/ 295275 h 808867"/>
                <a:gd name="connsiteX41" fmla="*/ 54672 w 702372"/>
                <a:gd name="connsiteY41" fmla="*/ 295275 h 808867"/>
                <a:gd name="connsiteX42" fmla="*/ 54672 w 702372"/>
                <a:gd name="connsiteY42" fmla="*/ 219075 h 808867"/>
                <a:gd name="connsiteX43" fmla="*/ 130872 w 702372"/>
                <a:gd name="connsiteY43" fmla="*/ 219075 h 808867"/>
                <a:gd name="connsiteX44" fmla="*/ 130872 w 702372"/>
                <a:gd name="connsiteY44" fmla="*/ 295275 h 808867"/>
                <a:gd name="connsiteX45" fmla="*/ 130872 w 702372"/>
                <a:gd name="connsiteY45" fmla="*/ 409575 h 808867"/>
                <a:gd name="connsiteX46" fmla="*/ 54672 w 702372"/>
                <a:gd name="connsiteY46" fmla="*/ 409575 h 808867"/>
                <a:gd name="connsiteX47" fmla="*/ 54672 w 702372"/>
                <a:gd name="connsiteY47" fmla="*/ 333375 h 808867"/>
                <a:gd name="connsiteX48" fmla="*/ 130872 w 702372"/>
                <a:gd name="connsiteY48" fmla="*/ 333375 h 808867"/>
                <a:gd name="connsiteX49" fmla="*/ 130872 w 702372"/>
                <a:gd name="connsiteY49" fmla="*/ 409575 h 808867"/>
                <a:gd name="connsiteX50" fmla="*/ 473772 w 702372"/>
                <a:gd name="connsiteY50" fmla="*/ 171450 h 808867"/>
                <a:gd name="connsiteX51" fmla="*/ 473772 w 702372"/>
                <a:gd name="connsiteY51" fmla="*/ 114300 h 808867"/>
                <a:gd name="connsiteX52" fmla="*/ 359472 w 702372"/>
                <a:gd name="connsiteY52" fmla="*/ 0 h 808867"/>
                <a:gd name="connsiteX53" fmla="*/ 245172 w 702372"/>
                <a:gd name="connsiteY53" fmla="*/ 114300 h 808867"/>
                <a:gd name="connsiteX54" fmla="*/ 245172 w 702372"/>
                <a:gd name="connsiteY54" fmla="*/ 171450 h 808867"/>
                <a:gd name="connsiteX55" fmla="*/ 16572 w 702372"/>
                <a:gd name="connsiteY55" fmla="*/ 171450 h 808867"/>
                <a:gd name="connsiteX56" fmla="*/ 0 w 702372"/>
                <a:gd name="connsiteY56" fmla="*/ 461493 h 808867"/>
                <a:gd name="connsiteX57" fmla="*/ 253682 w 702372"/>
                <a:gd name="connsiteY57" fmla="*/ 604375 h 808867"/>
                <a:gd name="connsiteX58" fmla="*/ 292797 w 702372"/>
                <a:gd name="connsiteY58" fmla="*/ 390525 h 808867"/>
                <a:gd name="connsiteX59" fmla="*/ 359472 w 702372"/>
                <a:gd name="connsiteY59" fmla="*/ 333375 h 808867"/>
                <a:gd name="connsiteX60" fmla="*/ 426147 w 702372"/>
                <a:gd name="connsiteY60" fmla="*/ 390525 h 808867"/>
                <a:gd name="connsiteX61" fmla="*/ 367659 w 702372"/>
                <a:gd name="connsiteY61" fmla="*/ 678110 h 808867"/>
                <a:gd name="connsiteX62" fmla="*/ 597324 w 702372"/>
                <a:gd name="connsiteY62" fmla="*/ 808867 h 808867"/>
                <a:gd name="connsiteX63" fmla="*/ 702372 w 702372"/>
                <a:gd name="connsiteY63" fmla="*/ 171450 h 808867"/>
                <a:gd name="connsiteX64" fmla="*/ 473772 w 702372"/>
                <a:gd name="connsiteY64" fmla="*/ 171450 h 808867"/>
                <a:gd name="connsiteX0" fmla="*/ 664272 w 702372"/>
                <a:gd name="connsiteY0" fmla="*/ 295275 h 808867"/>
                <a:gd name="connsiteX1" fmla="*/ 588072 w 702372"/>
                <a:gd name="connsiteY1" fmla="*/ 295275 h 808867"/>
                <a:gd name="connsiteX2" fmla="*/ 588072 w 702372"/>
                <a:gd name="connsiteY2" fmla="*/ 219075 h 808867"/>
                <a:gd name="connsiteX3" fmla="*/ 664272 w 702372"/>
                <a:gd name="connsiteY3" fmla="*/ 219075 h 808867"/>
                <a:gd name="connsiteX4" fmla="*/ 664272 w 702372"/>
                <a:gd name="connsiteY4" fmla="*/ 295275 h 808867"/>
                <a:gd name="connsiteX5" fmla="*/ 624239 w 702372"/>
                <a:gd name="connsiteY5" fmla="*/ 515410 h 808867"/>
                <a:gd name="connsiteX6" fmla="*/ 588072 w 702372"/>
                <a:gd name="connsiteY6" fmla="*/ 409575 h 808867"/>
                <a:gd name="connsiteX7" fmla="*/ 588072 w 702372"/>
                <a:gd name="connsiteY7" fmla="*/ 333375 h 808867"/>
                <a:gd name="connsiteX8" fmla="*/ 664272 w 702372"/>
                <a:gd name="connsiteY8" fmla="*/ 333375 h 808867"/>
                <a:gd name="connsiteX9" fmla="*/ 624239 w 702372"/>
                <a:gd name="connsiteY9" fmla="*/ 515410 h 808867"/>
                <a:gd name="connsiteX10" fmla="*/ 549972 w 702372"/>
                <a:gd name="connsiteY10" fmla="*/ 295275 h 808867"/>
                <a:gd name="connsiteX11" fmla="*/ 473772 w 702372"/>
                <a:gd name="connsiteY11" fmla="*/ 295275 h 808867"/>
                <a:gd name="connsiteX12" fmla="*/ 473772 w 702372"/>
                <a:gd name="connsiteY12" fmla="*/ 219075 h 808867"/>
                <a:gd name="connsiteX13" fmla="*/ 549972 w 702372"/>
                <a:gd name="connsiteY13" fmla="*/ 219075 h 808867"/>
                <a:gd name="connsiteX14" fmla="*/ 549972 w 702372"/>
                <a:gd name="connsiteY14" fmla="*/ 295275 h 808867"/>
                <a:gd name="connsiteX15" fmla="*/ 549972 w 702372"/>
                <a:gd name="connsiteY15" fmla="*/ 409575 h 808867"/>
                <a:gd name="connsiteX16" fmla="*/ 473772 w 702372"/>
                <a:gd name="connsiteY16" fmla="*/ 409575 h 808867"/>
                <a:gd name="connsiteX17" fmla="*/ 473772 w 702372"/>
                <a:gd name="connsiteY17" fmla="*/ 333375 h 808867"/>
                <a:gd name="connsiteX18" fmla="*/ 549972 w 702372"/>
                <a:gd name="connsiteY18" fmla="*/ 333375 h 808867"/>
                <a:gd name="connsiteX19" fmla="*/ 549972 w 702372"/>
                <a:gd name="connsiteY19" fmla="*/ 409575 h 808867"/>
                <a:gd name="connsiteX20" fmla="*/ 426147 w 702372"/>
                <a:gd name="connsiteY20" fmla="*/ 295275 h 808867"/>
                <a:gd name="connsiteX21" fmla="*/ 292797 w 702372"/>
                <a:gd name="connsiteY21" fmla="*/ 295275 h 808867"/>
                <a:gd name="connsiteX22" fmla="*/ 292797 w 702372"/>
                <a:gd name="connsiteY22" fmla="*/ 257175 h 808867"/>
                <a:gd name="connsiteX23" fmla="*/ 426147 w 702372"/>
                <a:gd name="connsiteY23" fmla="*/ 257175 h 808867"/>
                <a:gd name="connsiteX24" fmla="*/ 426147 w 702372"/>
                <a:gd name="connsiteY24" fmla="*/ 295275 h 808867"/>
                <a:gd name="connsiteX25" fmla="*/ 359472 w 702372"/>
                <a:gd name="connsiteY25" fmla="*/ 114300 h 808867"/>
                <a:gd name="connsiteX26" fmla="*/ 388047 w 702372"/>
                <a:gd name="connsiteY26" fmla="*/ 142875 h 808867"/>
                <a:gd name="connsiteX27" fmla="*/ 359472 w 702372"/>
                <a:gd name="connsiteY27" fmla="*/ 171450 h 808867"/>
                <a:gd name="connsiteX28" fmla="*/ 330897 w 702372"/>
                <a:gd name="connsiteY28" fmla="*/ 142875 h 808867"/>
                <a:gd name="connsiteX29" fmla="*/ 359472 w 702372"/>
                <a:gd name="connsiteY29" fmla="*/ 114300 h 808867"/>
                <a:gd name="connsiteX30" fmla="*/ 245172 w 702372"/>
                <a:gd name="connsiteY30" fmla="*/ 295275 h 808867"/>
                <a:gd name="connsiteX31" fmla="*/ 168972 w 702372"/>
                <a:gd name="connsiteY31" fmla="*/ 295275 h 808867"/>
                <a:gd name="connsiteX32" fmla="*/ 168972 w 702372"/>
                <a:gd name="connsiteY32" fmla="*/ 219075 h 808867"/>
                <a:gd name="connsiteX33" fmla="*/ 245172 w 702372"/>
                <a:gd name="connsiteY33" fmla="*/ 219075 h 808867"/>
                <a:gd name="connsiteX34" fmla="*/ 245172 w 702372"/>
                <a:gd name="connsiteY34" fmla="*/ 295275 h 808867"/>
                <a:gd name="connsiteX35" fmla="*/ 245172 w 702372"/>
                <a:gd name="connsiteY35" fmla="*/ 409575 h 808867"/>
                <a:gd name="connsiteX36" fmla="*/ 168972 w 702372"/>
                <a:gd name="connsiteY36" fmla="*/ 409575 h 808867"/>
                <a:gd name="connsiteX37" fmla="*/ 168972 w 702372"/>
                <a:gd name="connsiteY37" fmla="*/ 333375 h 808867"/>
                <a:gd name="connsiteX38" fmla="*/ 245172 w 702372"/>
                <a:gd name="connsiteY38" fmla="*/ 333375 h 808867"/>
                <a:gd name="connsiteX39" fmla="*/ 245172 w 702372"/>
                <a:gd name="connsiteY39" fmla="*/ 409575 h 808867"/>
                <a:gd name="connsiteX40" fmla="*/ 130872 w 702372"/>
                <a:gd name="connsiteY40" fmla="*/ 295275 h 808867"/>
                <a:gd name="connsiteX41" fmla="*/ 54672 w 702372"/>
                <a:gd name="connsiteY41" fmla="*/ 295275 h 808867"/>
                <a:gd name="connsiteX42" fmla="*/ 54672 w 702372"/>
                <a:gd name="connsiteY42" fmla="*/ 219075 h 808867"/>
                <a:gd name="connsiteX43" fmla="*/ 130872 w 702372"/>
                <a:gd name="connsiteY43" fmla="*/ 219075 h 808867"/>
                <a:gd name="connsiteX44" fmla="*/ 130872 w 702372"/>
                <a:gd name="connsiteY44" fmla="*/ 295275 h 808867"/>
                <a:gd name="connsiteX45" fmla="*/ 130872 w 702372"/>
                <a:gd name="connsiteY45" fmla="*/ 409575 h 808867"/>
                <a:gd name="connsiteX46" fmla="*/ 54672 w 702372"/>
                <a:gd name="connsiteY46" fmla="*/ 409575 h 808867"/>
                <a:gd name="connsiteX47" fmla="*/ 54672 w 702372"/>
                <a:gd name="connsiteY47" fmla="*/ 333375 h 808867"/>
                <a:gd name="connsiteX48" fmla="*/ 130872 w 702372"/>
                <a:gd name="connsiteY48" fmla="*/ 333375 h 808867"/>
                <a:gd name="connsiteX49" fmla="*/ 130872 w 702372"/>
                <a:gd name="connsiteY49" fmla="*/ 409575 h 808867"/>
                <a:gd name="connsiteX50" fmla="*/ 473772 w 702372"/>
                <a:gd name="connsiteY50" fmla="*/ 171450 h 808867"/>
                <a:gd name="connsiteX51" fmla="*/ 473772 w 702372"/>
                <a:gd name="connsiteY51" fmla="*/ 114300 h 808867"/>
                <a:gd name="connsiteX52" fmla="*/ 359472 w 702372"/>
                <a:gd name="connsiteY52" fmla="*/ 0 h 808867"/>
                <a:gd name="connsiteX53" fmla="*/ 245172 w 702372"/>
                <a:gd name="connsiteY53" fmla="*/ 114300 h 808867"/>
                <a:gd name="connsiteX54" fmla="*/ 245172 w 702372"/>
                <a:gd name="connsiteY54" fmla="*/ 171450 h 808867"/>
                <a:gd name="connsiteX55" fmla="*/ 16572 w 702372"/>
                <a:gd name="connsiteY55" fmla="*/ 171450 h 808867"/>
                <a:gd name="connsiteX56" fmla="*/ 0 w 702372"/>
                <a:gd name="connsiteY56" fmla="*/ 461493 h 808867"/>
                <a:gd name="connsiteX57" fmla="*/ 253682 w 702372"/>
                <a:gd name="connsiteY57" fmla="*/ 604375 h 808867"/>
                <a:gd name="connsiteX58" fmla="*/ 292797 w 702372"/>
                <a:gd name="connsiteY58" fmla="*/ 390525 h 808867"/>
                <a:gd name="connsiteX59" fmla="*/ 359472 w 702372"/>
                <a:gd name="connsiteY59" fmla="*/ 333375 h 808867"/>
                <a:gd name="connsiteX60" fmla="*/ 426147 w 702372"/>
                <a:gd name="connsiteY60" fmla="*/ 390525 h 808867"/>
                <a:gd name="connsiteX61" fmla="*/ 367659 w 702372"/>
                <a:gd name="connsiteY61" fmla="*/ 678110 h 808867"/>
                <a:gd name="connsiteX62" fmla="*/ 597324 w 702372"/>
                <a:gd name="connsiteY62" fmla="*/ 808867 h 808867"/>
                <a:gd name="connsiteX63" fmla="*/ 702372 w 702372"/>
                <a:gd name="connsiteY63" fmla="*/ 171450 h 808867"/>
                <a:gd name="connsiteX64" fmla="*/ 473772 w 702372"/>
                <a:gd name="connsiteY64" fmla="*/ 171450 h 808867"/>
                <a:gd name="connsiteX0" fmla="*/ 664272 w 702372"/>
                <a:gd name="connsiteY0" fmla="*/ 295275 h 808867"/>
                <a:gd name="connsiteX1" fmla="*/ 588072 w 702372"/>
                <a:gd name="connsiteY1" fmla="*/ 295275 h 808867"/>
                <a:gd name="connsiteX2" fmla="*/ 588072 w 702372"/>
                <a:gd name="connsiteY2" fmla="*/ 219075 h 808867"/>
                <a:gd name="connsiteX3" fmla="*/ 664272 w 702372"/>
                <a:gd name="connsiteY3" fmla="*/ 219075 h 808867"/>
                <a:gd name="connsiteX4" fmla="*/ 664272 w 702372"/>
                <a:gd name="connsiteY4" fmla="*/ 295275 h 808867"/>
                <a:gd name="connsiteX5" fmla="*/ 624239 w 702372"/>
                <a:gd name="connsiteY5" fmla="*/ 515410 h 808867"/>
                <a:gd name="connsiteX6" fmla="*/ 581230 w 702372"/>
                <a:gd name="connsiteY6" fmla="*/ 465762 h 808867"/>
                <a:gd name="connsiteX7" fmla="*/ 588072 w 702372"/>
                <a:gd name="connsiteY7" fmla="*/ 333375 h 808867"/>
                <a:gd name="connsiteX8" fmla="*/ 664272 w 702372"/>
                <a:gd name="connsiteY8" fmla="*/ 333375 h 808867"/>
                <a:gd name="connsiteX9" fmla="*/ 624239 w 702372"/>
                <a:gd name="connsiteY9" fmla="*/ 515410 h 808867"/>
                <a:gd name="connsiteX10" fmla="*/ 549972 w 702372"/>
                <a:gd name="connsiteY10" fmla="*/ 295275 h 808867"/>
                <a:gd name="connsiteX11" fmla="*/ 473772 w 702372"/>
                <a:gd name="connsiteY11" fmla="*/ 295275 h 808867"/>
                <a:gd name="connsiteX12" fmla="*/ 473772 w 702372"/>
                <a:gd name="connsiteY12" fmla="*/ 219075 h 808867"/>
                <a:gd name="connsiteX13" fmla="*/ 549972 w 702372"/>
                <a:gd name="connsiteY13" fmla="*/ 219075 h 808867"/>
                <a:gd name="connsiteX14" fmla="*/ 549972 w 702372"/>
                <a:gd name="connsiteY14" fmla="*/ 295275 h 808867"/>
                <a:gd name="connsiteX15" fmla="*/ 549972 w 702372"/>
                <a:gd name="connsiteY15" fmla="*/ 409575 h 808867"/>
                <a:gd name="connsiteX16" fmla="*/ 473772 w 702372"/>
                <a:gd name="connsiteY16" fmla="*/ 409575 h 808867"/>
                <a:gd name="connsiteX17" fmla="*/ 473772 w 702372"/>
                <a:gd name="connsiteY17" fmla="*/ 333375 h 808867"/>
                <a:gd name="connsiteX18" fmla="*/ 549972 w 702372"/>
                <a:gd name="connsiteY18" fmla="*/ 333375 h 808867"/>
                <a:gd name="connsiteX19" fmla="*/ 549972 w 702372"/>
                <a:gd name="connsiteY19" fmla="*/ 409575 h 808867"/>
                <a:gd name="connsiteX20" fmla="*/ 426147 w 702372"/>
                <a:gd name="connsiteY20" fmla="*/ 295275 h 808867"/>
                <a:gd name="connsiteX21" fmla="*/ 292797 w 702372"/>
                <a:gd name="connsiteY21" fmla="*/ 295275 h 808867"/>
                <a:gd name="connsiteX22" fmla="*/ 292797 w 702372"/>
                <a:gd name="connsiteY22" fmla="*/ 257175 h 808867"/>
                <a:gd name="connsiteX23" fmla="*/ 426147 w 702372"/>
                <a:gd name="connsiteY23" fmla="*/ 257175 h 808867"/>
                <a:gd name="connsiteX24" fmla="*/ 426147 w 702372"/>
                <a:gd name="connsiteY24" fmla="*/ 295275 h 808867"/>
                <a:gd name="connsiteX25" fmla="*/ 359472 w 702372"/>
                <a:gd name="connsiteY25" fmla="*/ 114300 h 808867"/>
                <a:gd name="connsiteX26" fmla="*/ 388047 w 702372"/>
                <a:gd name="connsiteY26" fmla="*/ 142875 h 808867"/>
                <a:gd name="connsiteX27" fmla="*/ 359472 w 702372"/>
                <a:gd name="connsiteY27" fmla="*/ 171450 h 808867"/>
                <a:gd name="connsiteX28" fmla="*/ 330897 w 702372"/>
                <a:gd name="connsiteY28" fmla="*/ 142875 h 808867"/>
                <a:gd name="connsiteX29" fmla="*/ 359472 w 702372"/>
                <a:gd name="connsiteY29" fmla="*/ 114300 h 808867"/>
                <a:gd name="connsiteX30" fmla="*/ 245172 w 702372"/>
                <a:gd name="connsiteY30" fmla="*/ 295275 h 808867"/>
                <a:gd name="connsiteX31" fmla="*/ 168972 w 702372"/>
                <a:gd name="connsiteY31" fmla="*/ 295275 h 808867"/>
                <a:gd name="connsiteX32" fmla="*/ 168972 w 702372"/>
                <a:gd name="connsiteY32" fmla="*/ 219075 h 808867"/>
                <a:gd name="connsiteX33" fmla="*/ 245172 w 702372"/>
                <a:gd name="connsiteY33" fmla="*/ 219075 h 808867"/>
                <a:gd name="connsiteX34" fmla="*/ 245172 w 702372"/>
                <a:gd name="connsiteY34" fmla="*/ 295275 h 808867"/>
                <a:gd name="connsiteX35" fmla="*/ 245172 w 702372"/>
                <a:gd name="connsiteY35" fmla="*/ 409575 h 808867"/>
                <a:gd name="connsiteX36" fmla="*/ 168972 w 702372"/>
                <a:gd name="connsiteY36" fmla="*/ 409575 h 808867"/>
                <a:gd name="connsiteX37" fmla="*/ 168972 w 702372"/>
                <a:gd name="connsiteY37" fmla="*/ 333375 h 808867"/>
                <a:gd name="connsiteX38" fmla="*/ 245172 w 702372"/>
                <a:gd name="connsiteY38" fmla="*/ 333375 h 808867"/>
                <a:gd name="connsiteX39" fmla="*/ 245172 w 702372"/>
                <a:gd name="connsiteY39" fmla="*/ 409575 h 808867"/>
                <a:gd name="connsiteX40" fmla="*/ 130872 w 702372"/>
                <a:gd name="connsiteY40" fmla="*/ 295275 h 808867"/>
                <a:gd name="connsiteX41" fmla="*/ 54672 w 702372"/>
                <a:gd name="connsiteY41" fmla="*/ 295275 h 808867"/>
                <a:gd name="connsiteX42" fmla="*/ 54672 w 702372"/>
                <a:gd name="connsiteY42" fmla="*/ 219075 h 808867"/>
                <a:gd name="connsiteX43" fmla="*/ 130872 w 702372"/>
                <a:gd name="connsiteY43" fmla="*/ 219075 h 808867"/>
                <a:gd name="connsiteX44" fmla="*/ 130872 w 702372"/>
                <a:gd name="connsiteY44" fmla="*/ 295275 h 808867"/>
                <a:gd name="connsiteX45" fmla="*/ 130872 w 702372"/>
                <a:gd name="connsiteY45" fmla="*/ 409575 h 808867"/>
                <a:gd name="connsiteX46" fmla="*/ 54672 w 702372"/>
                <a:gd name="connsiteY46" fmla="*/ 409575 h 808867"/>
                <a:gd name="connsiteX47" fmla="*/ 54672 w 702372"/>
                <a:gd name="connsiteY47" fmla="*/ 333375 h 808867"/>
                <a:gd name="connsiteX48" fmla="*/ 130872 w 702372"/>
                <a:gd name="connsiteY48" fmla="*/ 333375 h 808867"/>
                <a:gd name="connsiteX49" fmla="*/ 130872 w 702372"/>
                <a:gd name="connsiteY49" fmla="*/ 409575 h 808867"/>
                <a:gd name="connsiteX50" fmla="*/ 473772 w 702372"/>
                <a:gd name="connsiteY50" fmla="*/ 171450 h 808867"/>
                <a:gd name="connsiteX51" fmla="*/ 473772 w 702372"/>
                <a:gd name="connsiteY51" fmla="*/ 114300 h 808867"/>
                <a:gd name="connsiteX52" fmla="*/ 359472 w 702372"/>
                <a:gd name="connsiteY52" fmla="*/ 0 h 808867"/>
                <a:gd name="connsiteX53" fmla="*/ 245172 w 702372"/>
                <a:gd name="connsiteY53" fmla="*/ 114300 h 808867"/>
                <a:gd name="connsiteX54" fmla="*/ 245172 w 702372"/>
                <a:gd name="connsiteY54" fmla="*/ 171450 h 808867"/>
                <a:gd name="connsiteX55" fmla="*/ 16572 w 702372"/>
                <a:gd name="connsiteY55" fmla="*/ 171450 h 808867"/>
                <a:gd name="connsiteX56" fmla="*/ 0 w 702372"/>
                <a:gd name="connsiteY56" fmla="*/ 461493 h 808867"/>
                <a:gd name="connsiteX57" fmla="*/ 253682 w 702372"/>
                <a:gd name="connsiteY57" fmla="*/ 604375 h 808867"/>
                <a:gd name="connsiteX58" fmla="*/ 292797 w 702372"/>
                <a:gd name="connsiteY58" fmla="*/ 390525 h 808867"/>
                <a:gd name="connsiteX59" fmla="*/ 359472 w 702372"/>
                <a:gd name="connsiteY59" fmla="*/ 333375 h 808867"/>
                <a:gd name="connsiteX60" fmla="*/ 426147 w 702372"/>
                <a:gd name="connsiteY60" fmla="*/ 390525 h 808867"/>
                <a:gd name="connsiteX61" fmla="*/ 367659 w 702372"/>
                <a:gd name="connsiteY61" fmla="*/ 678110 h 808867"/>
                <a:gd name="connsiteX62" fmla="*/ 597324 w 702372"/>
                <a:gd name="connsiteY62" fmla="*/ 808867 h 808867"/>
                <a:gd name="connsiteX63" fmla="*/ 702372 w 702372"/>
                <a:gd name="connsiteY63" fmla="*/ 171450 h 808867"/>
                <a:gd name="connsiteX64" fmla="*/ 473772 w 702372"/>
                <a:gd name="connsiteY64" fmla="*/ 171450 h 808867"/>
                <a:gd name="connsiteX0" fmla="*/ 664272 w 702372"/>
                <a:gd name="connsiteY0" fmla="*/ 295275 h 808867"/>
                <a:gd name="connsiteX1" fmla="*/ 588072 w 702372"/>
                <a:gd name="connsiteY1" fmla="*/ 295275 h 808867"/>
                <a:gd name="connsiteX2" fmla="*/ 588072 w 702372"/>
                <a:gd name="connsiteY2" fmla="*/ 219075 h 808867"/>
                <a:gd name="connsiteX3" fmla="*/ 664272 w 702372"/>
                <a:gd name="connsiteY3" fmla="*/ 219075 h 808867"/>
                <a:gd name="connsiteX4" fmla="*/ 664272 w 702372"/>
                <a:gd name="connsiteY4" fmla="*/ 295275 h 808867"/>
                <a:gd name="connsiteX5" fmla="*/ 624239 w 702372"/>
                <a:gd name="connsiteY5" fmla="*/ 515410 h 808867"/>
                <a:gd name="connsiteX6" fmla="*/ 581230 w 702372"/>
                <a:gd name="connsiteY6" fmla="*/ 465762 h 808867"/>
                <a:gd name="connsiteX7" fmla="*/ 588072 w 702372"/>
                <a:gd name="connsiteY7" fmla="*/ 333375 h 808867"/>
                <a:gd name="connsiteX8" fmla="*/ 664272 w 702372"/>
                <a:gd name="connsiteY8" fmla="*/ 333375 h 808867"/>
                <a:gd name="connsiteX9" fmla="*/ 624239 w 702372"/>
                <a:gd name="connsiteY9" fmla="*/ 515410 h 808867"/>
                <a:gd name="connsiteX10" fmla="*/ 549972 w 702372"/>
                <a:gd name="connsiteY10" fmla="*/ 295275 h 808867"/>
                <a:gd name="connsiteX11" fmla="*/ 473772 w 702372"/>
                <a:gd name="connsiteY11" fmla="*/ 295275 h 808867"/>
                <a:gd name="connsiteX12" fmla="*/ 473772 w 702372"/>
                <a:gd name="connsiteY12" fmla="*/ 219075 h 808867"/>
                <a:gd name="connsiteX13" fmla="*/ 549972 w 702372"/>
                <a:gd name="connsiteY13" fmla="*/ 219075 h 808867"/>
                <a:gd name="connsiteX14" fmla="*/ 549972 w 702372"/>
                <a:gd name="connsiteY14" fmla="*/ 295275 h 808867"/>
                <a:gd name="connsiteX15" fmla="*/ 542702 w 702372"/>
                <a:gd name="connsiteY15" fmla="*/ 451884 h 808867"/>
                <a:gd name="connsiteX16" fmla="*/ 473772 w 702372"/>
                <a:gd name="connsiteY16" fmla="*/ 409575 h 808867"/>
                <a:gd name="connsiteX17" fmla="*/ 473772 w 702372"/>
                <a:gd name="connsiteY17" fmla="*/ 333375 h 808867"/>
                <a:gd name="connsiteX18" fmla="*/ 549972 w 702372"/>
                <a:gd name="connsiteY18" fmla="*/ 333375 h 808867"/>
                <a:gd name="connsiteX19" fmla="*/ 542702 w 702372"/>
                <a:gd name="connsiteY19" fmla="*/ 451884 h 808867"/>
                <a:gd name="connsiteX20" fmla="*/ 426147 w 702372"/>
                <a:gd name="connsiteY20" fmla="*/ 295275 h 808867"/>
                <a:gd name="connsiteX21" fmla="*/ 292797 w 702372"/>
                <a:gd name="connsiteY21" fmla="*/ 295275 h 808867"/>
                <a:gd name="connsiteX22" fmla="*/ 292797 w 702372"/>
                <a:gd name="connsiteY22" fmla="*/ 257175 h 808867"/>
                <a:gd name="connsiteX23" fmla="*/ 426147 w 702372"/>
                <a:gd name="connsiteY23" fmla="*/ 257175 h 808867"/>
                <a:gd name="connsiteX24" fmla="*/ 426147 w 702372"/>
                <a:gd name="connsiteY24" fmla="*/ 295275 h 808867"/>
                <a:gd name="connsiteX25" fmla="*/ 359472 w 702372"/>
                <a:gd name="connsiteY25" fmla="*/ 114300 h 808867"/>
                <a:gd name="connsiteX26" fmla="*/ 388047 w 702372"/>
                <a:gd name="connsiteY26" fmla="*/ 142875 h 808867"/>
                <a:gd name="connsiteX27" fmla="*/ 359472 w 702372"/>
                <a:gd name="connsiteY27" fmla="*/ 171450 h 808867"/>
                <a:gd name="connsiteX28" fmla="*/ 330897 w 702372"/>
                <a:gd name="connsiteY28" fmla="*/ 142875 h 808867"/>
                <a:gd name="connsiteX29" fmla="*/ 359472 w 702372"/>
                <a:gd name="connsiteY29" fmla="*/ 114300 h 808867"/>
                <a:gd name="connsiteX30" fmla="*/ 245172 w 702372"/>
                <a:gd name="connsiteY30" fmla="*/ 295275 h 808867"/>
                <a:gd name="connsiteX31" fmla="*/ 168972 w 702372"/>
                <a:gd name="connsiteY31" fmla="*/ 295275 h 808867"/>
                <a:gd name="connsiteX32" fmla="*/ 168972 w 702372"/>
                <a:gd name="connsiteY32" fmla="*/ 219075 h 808867"/>
                <a:gd name="connsiteX33" fmla="*/ 245172 w 702372"/>
                <a:gd name="connsiteY33" fmla="*/ 219075 h 808867"/>
                <a:gd name="connsiteX34" fmla="*/ 245172 w 702372"/>
                <a:gd name="connsiteY34" fmla="*/ 295275 h 808867"/>
                <a:gd name="connsiteX35" fmla="*/ 245172 w 702372"/>
                <a:gd name="connsiteY35" fmla="*/ 409575 h 808867"/>
                <a:gd name="connsiteX36" fmla="*/ 168972 w 702372"/>
                <a:gd name="connsiteY36" fmla="*/ 409575 h 808867"/>
                <a:gd name="connsiteX37" fmla="*/ 168972 w 702372"/>
                <a:gd name="connsiteY37" fmla="*/ 333375 h 808867"/>
                <a:gd name="connsiteX38" fmla="*/ 245172 w 702372"/>
                <a:gd name="connsiteY38" fmla="*/ 333375 h 808867"/>
                <a:gd name="connsiteX39" fmla="*/ 245172 w 702372"/>
                <a:gd name="connsiteY39" fmla="*/ 409575 h 808867"/>
                <a:gd name="connsiteX40" fmla="*/ 130872 w 702372"/>
                <a:gd name="connsiteY40" fmla="*/ 295275 h 808867"/>
                <a:gd name="connsiteX41" fmla="*/ 54672 w 702372"/>
                <a:gd name="connsiteY41" fmla="*/ 295275 h 808867"/>
                <a:gd name="connsiteX42" fmla="*/ 54672 w 702372"/>
                <a:gd name="connsiteY42" fmla="*/ 219075 h 808867"/>
                <a:gd name="connsiteX43" fmla="*/ 130872 w 702372"/>
                <a:gd name="connsiteY43" fmla="*/ 219075 h 808867"/>
                <a:gd name="connsiteX44" fmla="*/ 130872 w 702372"/>
                <a:gd name="connsiteY44" fmla="*/ 295275 h 808867"/>
                <a:gd name="connsiteX45" fmla="*/ 130872 w 702372"/>
                <a:gd name="connsiteY45" fmla="*/ 409575 h 808867"/>
                <a:gd name="connsiteX46" fmla="*/ 54672 w 702372"/>
                <a:gd name="connsiteY46" fmla="*/ 409575 h 808867"/>
                <a:gd name="connsiteX47" fmla="*/ 54672 w 702372"/>
                <a:gd name="connsiteY47" fmla="*/ 333375 h 808867"/>
                <a:gd name="connsiteX48" fmla="*/ 130872 w 702372"/>
                <a:gd name="connsiteY48" fmla="*/ 333375 h 808867"/>
                <a:gd name="connsiteX49" fmla="*/ 130872 w 702372"/>
                <a:gd name="connsiteY49" fmla="*/ 409575 h 808867"/>
                <a:gd name="connsiteX50" fmla="*/ 473772 w 702372"/>
                <a:gd name="connsiteY50" fmla="*/ 171450 h 808867"/>
                <a:gd name="connsiteX51" fmla="*/ 473772 w 702372"/>
                <a:gd name="connsiteY51" fmla="*/ 114300 h 808867"/>
                <a:gd name="connsiteX52" fmla="*/ 359472 w 702372"/>
                <a:gd name="connsiteY52" fmla="*/ 0 h 808867"/>
                <a:gd name="connsiteX53" fmla="*/ 245172 w 702372"/>
                <a:gd name="connsiteY53" fmla="*/ 114300 h 808867"/>
                <a:gd name="connsiteX54" fmla="*/ 245172 w 702372"/>
                <a:gd name="connsiteY54" fmla="*/ 171450 h 808867"/>
                <a:gd name="connsiteX55" fmla="*/ 16572 w 702372"/>
                <a:gd name="connsiteY55" fmla="*/ 171450 h 808867"/>
                <a:gd name="connsiteX56" fmla="*/ 0 w 702372"/>
                <a:gd name="connsiteY56" fmla="*/ 461493 h 808867"/>
                <a:gd name="connsiteX57" fmla="*/ 253682 w 702372"/>
                <a:gd name="connsiteY57" fmla="*/ 604375 h 808867"/>
                <a:gd name="connsiteX58" fmla="*/ 292797 w 702372"/>
                <a:gd name="connsiteY58" fmla="*/ 390525 h 808867"/>
                <a:gd name="connsiteX59" fmla="*/ 359472 w 702372"/>
                <a:gd name="connsiteY59" fmla="*/ 333375 h 808867"/>
                <a:gd name="connsiteX60" fmla="*/ 426147 w 702372"/>
                <a:gd name="connsiteY60" fmla="*/ 390525 h 808867"/>
                <a:gd name="connsiteX61" fmla="*/ 367659 w 702372"/>
                <a:gd name="connsiteY61" fmla="*/ 678110 h 808867"/>
                <a:gd name="connsiteX62" fmla="*/ 597324 w 702372"/>
                <a:gd name="connsiteY62" fmla="*/ 808867 h 808867"/>
                <a:gd name="connsiteX63" fmla="*/ 702372 w 702372"/>
                <a:gd name="connsiteY63" fmla="*/ 171450 h 808867"/>
                <a:gd name="connsiteX64" fmla="*/ 473772 w 702372"/>
                <a:gd name="connsiteY64" fmla="*/ 171450 h 808867"/>
                <a:gd name="connsiteX0" fmla="*/ 664272 w 702372"/>
                <a:gd name="connsiteY0" fmla="*/ 295275 h 808867"/>
                <a:gd name="connsiteX1" fmla="*/ 588072 w 702372"/>
                <a:gd name="connsiteY1" fmla="*/ 295275 h 808867"/>
                <a:gd name="connsiteX2" fmla="*/ 588072 w 702372"/>
                <a:gd name="connsiteY2" fmla="*/ 219075 h 808867"/>
                <a:gd name="connsiteX3" fmla="*/ 664272 w 702372"/>
                <a:gd name="connsiteY3" fmla="*/ 219075 h 808867"/>
                <a:gd name="connsiteX4" fmla="*/ 664272 w 702372"/>
                <a:gd name="connsiteY4" fmla="*/ 295275 h 808867"/>
                <a:gd name="connsiteX5" fmla="*/ 624239 w 702372"/>
                <a:gd name="connsiteY5" fmla="*/ 515410 h 808867"/>
                <a:gd name="connsiteX6" fmla="*/ 581230 w 702372"/>
                <a:gd name="connsiteY6" fmla="*/ 465762 h 808867"/>
                <a:gd name="connsiteX7" fmla="*/ 588072 w 702372"/>
                <a:gd name="connsiteY7" fmla="*/ 333375 h 808867"/>
                <a:gd name="connsiteX8" fmla="*/ 664272 w 702372"/>
                <a:gd name="connsiteY8" fmla="*/ 333375 h 808867"/>
                <a:gd name="connsiteX9" fmla="*/ 624239 w 702372"/>
                <a:gd name="connsiteY9" fmla="*/ 515410 h 808867"/>
                <a:gd name="connsiteX10" fmla="*/ 549972 w 702372"/>
                <a:gd name="connsiteY10" fmla="*/ 295275 h 808867"/>
                <a:gd name="connsiteX11" fmla="*/ 473772 w 702372"/>
                <a:gd name="connsiteY11" fmla="*/ 295275 h 808867"/>
                <a:gd name="connsiteX12" fmla="*/ 473772 w 702372"/>
                <a:gd name="connsiteY12" fmla="*/ 219075 h 808867"/>
                <a:gd name="connsiteX13" fmla="*/ 549972 w 702372"/>
                <a:gd name="connsiteY13" fmla="*/ 219075 h 808867"/>
                <a:gd name="connsiteX14" fmla="*/ 549972 w 702372"/>
                <a:gd name="connsiteY14" fmla="*/ 295275 h 808867"/>
                <a:gd name="connsiteX15" fmla="*/ 542702 w 702372"/>
                <a:gd name="connsiteY15" fmla="*/ 451884 h 808867"/>
                <a:gd name="connsiteX16" fmla="*/ 473772 w 702372"/>
                <a:gd name="connsiteY16" fmla="*/ 409575 h 808867"/>
                <a:gd name="connsiteX17" fmla="*/ 473772 w 702372"/>
                <a:gd name="connsiteY17" fmla="*/ 333375 h 808867"/>
                <a:gd name="connsiteX18" fmla="*/ 549972 w 702372"/>
                <a:gd name="connsiteY18" fmla="*/ 333375 h 808867"/>
                <a:gd name="connsiteX19" fmla="*/ 542702 w 702372"/>
                <a:gd name="connsiteY19" fmla="*/ 451884 h 808867"/>
                <a:gd name="connsiteX20" fmla="*/ 426147 w 702372"/>
                <a:gd name="connsiteY20" fmla="*/ 295275 h 808867"/>
                <a:gd name="connsiteX21" fmla="*/ 292797 w 702372"/>
                <a:gd name="connsiteY21" fmla="*/ 295275 h 808867"/>
                <a:gd name="connsiteX22" fmla="*/ 292797 w 702372"/>
                <a:gd name="connsiteY22" fmla="*/ 257175 h 808867"/>
                <a:gd name="connsiteX23" fmla="*/ 426147 w 702372"/>
                <a:gd name="connsiteY23" fmla="*/ 257175 h 808867"/>
                <a:gd name="connsiteX24" fmla="*/ 426147 w 702372"/>
                <a:gd name="connsiteY24" fmla="*/ 295275 h 808867"/>
                <a:gd name="connsiteX25" fmla="*/ 359472 w 702372"/>
                <a:gd name="connsiteY25" fmla="*/ 114300 h 808867"/>
                <a:gd name="connsiteX26" fmla="*/ 388047 w 702372"/>
                <a:gd name="connsiteY26" fmla="*/ 142875 h 808867"/>
                <a:gd name="connsiteX27" fmla="*/ 359472 w 702372"/>
                <a:gd name="connsiteY27" fmla="*/ 171450 h 808867"/>
                <a:gd name="connsiteX28" fmla="*/ 330897 w 702372"/>
                <a:gd name="connsiteY28" fmla="*/ 142875 h 808867"/>
                <a:gd name="connsiteX29" fmla="*/ 359472 w 702372"/>
                <a:gd name="connsiteY29" fmla="*/ 114300 h 808867"/>
                <a:gd name="connsiteX30" fmla="*/ 245172 w 702372"/>
                <a:gd name="connsiteY30" fmla="*/ 295275 h 808867"/>
                <a:gd name="connsiteX31" fmla="*/ 168972 w 702372"/>
                <a:gd name="connsiteY31" fmla="*/ 295275 h 808867"/>
                <a:gd name="connsiteX32" fmla="*/ 168972 w 702372"/>
                <a:gd name="connsiteY32" fmla="*/ 219075 h 808867"/>
                <a:gd name="connsiteX33" fmla="*/ 245172 w 702372"/>
                <a:gd name="connsiteY33" fmla="*/ 219075 h 808867"/>
                <a:gd name="connsiteX34" fmla="*/ 245172 w 702372"/>
                <a:gd name="connsiteY34" fmla="*/ 295275 h 808867"/>
                <a:gd name="connsiteX35" fmla="*/ 229771 w 702372"/>
                <a:gd name="connsiteY35" fmla="*/ 466436 h 808867"/>
                <a:gd name="connsiteX36" fmla="*/ 168972 w 702372"/>
                <a:gd name="connsiteY36" fmla="*/ 409575 h 808867"/>
                <a:gd name="connsiteX37" fmla="*/ 168972 w 702372"/>
                <a:gd name="connsiteY37" fmla="*/ 333375 h 808867"/>
                <a:gd name="connsiteX38" fmla="*/ 245172 w 702372"/>
                <a:gd name="connsiteY38" fmla="*/ 333375 h 808867"/>
                <a:gd name="connsiteX39" fmla="*/ 229771 w 702372"/>
                <a:gd name="connsiteY39" fmla="*/ 466436 h 808867"/>
                <a:gd name="connsiteX40" fmla="*/ 130872 w 702372"/>
                <a:gd name="connsiteY40" fmla="*/ 295275 h 808867"/>
                <a:gd name="connsiteX41" fmla="*/ 54672 w 702372"/>
                <a:gd name="connsiteY41" fmla="*/ 295275 h 808867"/>
                <a:gd name="connsiteX42" fmla="*/ 54672 w 702372"/>
                <a:gd name="connsiteY42" fmla="*/ 219075 h 808867"/>
                <a:gd name="connsiteX43" fmla="*/ 130872 w 702372"/>
                <a:gd name="connsiteY43" fmla="*/ 219075 h 808867"/>
                <a:gd name="connsiteX44" fmla="*/ 130872 w 702372"/>
                <a:gd name="connsiteY44" fmla="*/ 295275 h 808867"/>
                <a:gd name="connsiteX45" fmla="*/ 130872 w 702372"/>
                <a:gd name="connsiteY45" fmla="*/ 409575 h 808867"/>
                <a:gd name="connsiteX46" fmla="*/ 54672 w 702372"/>
                <a:gd name="connsiteY46" fmla="*/ 409575 h 808867"/>
                <a:gd name="connsiteX47" fmla="*/ 54672 w 702372"/>
                <a:gd name="connsiteY47" fmla="*/ 333375 h 808867"/>
                <a:gd name="connsiteX48" fmla="*/ 130872 w 702372"/>
                <a:gd name="connsiteY48" fmla="*/ 333375 h 808867"/>
                <a:gd name="connsiteX49" fmla="*/ 130872 w 702372"/>
                <a:gd name="connsiteY49" fmla="*/ 409575 h 808867"/>
                <a:gd name="connsiteX50" fmla="*/ 473772 w 702372"/>
                <a:gd name="connsiteY50" fmla="*/ 171450 h 808867"/>
                <a:gd name="connsiteX51" fmla="*/ 473772 w 702372"/>
                <a:gd name="connsiteY51" fmla="*/ 114300 h 808867"/>
                <a:gd name="connsiteX52" fmla="*/ 359472 w 702372"/>
                <a:gd name="connsiteY52" fmla="*/ 0 h 808867"/>
                <a:gd name="connsiteX53" fmla="*/ 245172 w 702372"/>
                <a:gd name="connsiteY53" fmla="*/ 114300 h 808867"/>
                <a:gd name="connsiteX54" fmla="*/ 245172 w 702372"/>
                <a:gd name="connsiteY54" fmla="*/ 171450 h 808867"/>
                <a:gd name="connsiteX55" fmla="*/ 16572 w 702372"/>
                <a:gd name="connsiteY55" fmla="*/ 171450 h 808867"/>
                <a:gd name="connsiteX56" fmla="*/ 0 w 702372"/>
                <a:gd name="connsiteY56" fmla="*/ 461493 h 808867"/>
                <a:gd name="connsiteX57" fmla="*/ 253682 w 702372"/>
                <a:gd name="connsiteY57" fmla="*/ 604375 h 808867"/>
                <a:gd name="connsiteX58" fmla="*/ 292797 w 702372"/>
                <a:gd name="connsiteY58" fmla="*/ 390525 h 808867"/>
                <a:gd name="connsiteX59" fmla="*/ 359472 w 702372"/>
                <a:gd name="connsiteY59" fmla="*/ 333375 h 808867"/>
                <a:gd name="connsiteX60" fmla="*/ 426147 w 702372"/>
                <a:gd name="connsiteY60" fmla="*/ 390525 h 808867"/>
                <a:gd name="connsiteX61" fmla="*/ 367659 w 702372"/>
                <a:gd name="connsiteY61" fmla="*/ 678110 h 808867"/>
                <a:gd name="connsiteX62" fmla="*/ 597324 w 702372"/>
                <a:gd name="connsiteY62" fmla="*/ 808867 h 808867"/>
                <a:gd name="connsiteX63" fmla="*/ 702372 w 702372"/>
                <a:gd name="connsiteY63" fmla="*/ 171450 h 808867"/>
                <a:gd name="connsiteX64" fmla="*/ 473772 w 702372"/>
                <a:gd name="connsiteY64" fmla="*/ 171450 h 808867"/>
                <a:gd name="connsiteX0" fmla="*/ 664272 w 702372"/>
                <a:gd name="connsiteY0" fmla="*/ 295275 h 808867"/>
                <a:gd name="connsiteX1" fmla="*/ 588072 w 702372"/>
                <a:gd name="connsiteY1" fmla="*/ 295275 h 808867"/>
                <a:gd name="connsiteX2" fmla="*/ 588072 w 702372"/>
                <a:gd name="connsiteY2" fmla="*/ 219075 h 808867"/>
                <a:gd name="connsiteX3" fmla="*/ 664272 w 702372"/>
                <a:gd name="connsiteY3" fmla="*/ 219075 h 808867"/>
                <a:gd name="connsiteX4" fmla="*/ 664272 w 702372"/>
                <a:gd name="connsiteY4" fmla="*/ 295275 h 808867"/>
                <a:gd name="connsiteX5" fmla="*/ 624239 w 702372"/>
                <a:gd name="connsiteY5" fmla="*/ 515410 h 808867"/>
                <a:gd name="connsiteX6" fmla="*/ 581230 w 702372"/>
                <a:gd name="connsiteY6" fmla="*/ 465762 h 808867"/>
                <a:gd name="connsiteX7" fmla="*/ 588072 w 702372"/>
                <a:gd name="connsiteY7" fmla="*/ 333375 h 808867"/>
                <a:gd name="connsiteX8" fmla="*/ 664272 w 702372"/>
                <a:gd name="connsiteY8" fmla="*/ 333375 h 808867"/>
                <a:gd name="connsiteX9" fmla="*/ 624239 w 702372"/>
                <a:gd name="connsiteY9" fmla="*/ 515410 h 808867"/>
                <a:gd name="connsiteX10" fmla="*/ 549972 w 702372"/>
                <a:gd name="connsiteY10" fmla="*/ 295275 h 808867"/>
                <a:gd name="connsiteX11" fmla="*/ 473772 w 702372"/>
                <a:gd name="connsiteY11" fmla="*/ 295275 h 808867"/>
                <a:gd name="connsiteX12" fmla="*/ 473772 w 702372"/>
                <a:gd name="connsiteY12" fmla="*/ 219075 h 808867"/>
                <a:gd name="connsiteX13" fmla="*/ 549972 w 702372"/>
                <a:gd name="connsiteY13" fmla="*/ 219075 h 808867"/>
                <a:gd name="connsiteX14" fmla="*/ 549972 w 702372"/>
                <a:gd name="connsiteY14" fmla="*/ 295275 h 808867"/>
                <a:gd name="connsiteX15" fmla="*/ 542702 w 702372"/>
                <a:gd name="connsiteY15" fmla="*/ 451884 h 808867"/>
                <a:gd name="connsiteX16" fmla="*/ 473772 w 702372"/>
                <a:gd name="connsiteY16" fmla="*/ 409575 h 808867"/>
                <a:gd name="connsiteX17" fmla="*/ 473772 w 702372"/>
                <a:gd name="connsiteY17" fmla="*/ 333375 h 808867"/>
                <a:gd name="connsiteX18" fmla="*/ 549972 w 702372"/>
                <a:gd name="connsiteY18" fmla="*/ 333375 h 808867"/>
                <a:gd name="connsiteX19" fmla="*/ 542702 w 702372"/>
                <a:gd name="connsiteY19" fmla="*/ 451884 h 808867"/>
                <a:gd name="connsiteX20" fmla="*/ 426147 w 702372"/>
                <a:gd name="connsiteY20" fmla="*/ 295275 h 808867"/>
                <a:gd name="connsiteX21" fmla="*/ 292797 w 702372"/>
                <a:gd name="connsiteY21" fmla="*/ 295275 h 808867"/>
                <a:gd name="connsiteX22" fmla="*/ 292797 w 702372"/>
                <a:gd name="connsiteY22" fmla="*/ 257175 h 808867"/>
                <a:gd name="connsiteX23" fmla="*/ 426147 w 702372"/>
                <a:gd name="connsiteY23" fmla="*/ 257175 h 808867"/>
                <a:gd name="connsiteX24" fmla="*/ 426147 w 702372"/>
                <a:gd name="connsiteY24" fmla="*/ 295275 h 808867"/>
                <a:gd name="connsiteX25" fmla="*/ 359472 w 702372"/>
                <a:gd name="connsiteY25" fmla="*/ 114300 h 808867"/>
                <a:gd name="connsiteX26" fmla="*/ 388047 w 702372"/>
                <a:gd name="connsiteY26" fmla="*/ 142875 h 808867"/>
                <a:gd name="connsiteX27" fmla="*/ 359472 w 702372"/>
                <a:gd name="connsiteY27" fmla="*/ 171450 h 808867"/>
                <a:gd name="connsiteX28" fmla="*/ 330897 w 702372"/>
                <a:gd name="connsiteY28" fmla="*/ 142875 h 808867"/>
                <a:gd name="connsiteX29" fmla="*/ 359472 w 702372"/>
                <a:gd name="connsiteY29" fmla="*/ 114300 h 808867"/>
                <a:gd name="connsiteX30" fmla="*/ 245172 w 702372"/>
                <a:gd name="connsiteY30" fmla="*/ 295275 h 808867"/>
                <a:gd name="connsiteX31" fmla="*/ 168972 w 702372"/>
                <a:gd name="connsiteY31" fmla="*/ 295275 h 808867"/>
                <a:gd name="connsiteX32" fmla="*/ 168972 w 702372"/>
                <a:gd name="connsiteY32" fmla="*/ 219075 h 808867"/>
                <a:gd name="connsiteX33" fmla="*/ 245172 w 702372"/>
                <a:gd name="connsiteY33" fmla="*/ 219075 h 808867"/>
                <a:gd name="connsiteX34" fmla="*/ 245172 w 702372"/>
                <a:gd name="connsiteY34" fmla="*/ 295275 h 808867"/>
                <a:gd name="connsiteX35" fmla="*/ 229771 w 702372"/>
                <a:gd name="connsiteY35" fmla="*/ 466436 h 808867"/>
                <a:gd name="connsiteX36" fmla="*/ 163350 w 702372"/>
                <a:gd name="connsiteY36" fmla="*/ 439167 h 808867"/>
                <a:gd name="connsiteX37" fmla="*/ 168972 w 702372"/>
                <a:gd name="connsiteY37" fmla="*/ 333375 h 808867"/>
                <a:gd name="connsiteX38" fmla="*/ 245172 w 702372"/>
                <a:gd name="connsiteY38" fmla="*/ 333375 h 808867"/>
                <a:gd name="connsiteX39" fmla="*/ 229771 w 702372"/>
                <a:gd name="connsiteY39" fmla="*/ 466436 h 808867"/>
                <a:gd name="connsiteX40" fmla="*/ 130872 w 702372"/>
                <a:gd name="connsiteY40" fmla="*/ 295275 h 808867"/>
                <a:gd name="connsiteX41" fmla="*/ 54672 w 702372"/>
                <a:gd name="connsiteY41" fmla="*/ 295275 h 808867"/>
                <a:gd name="connsiteX42" fmla="*/ 54672 w 702372"/>
                <a:gd name="connsiteY42" fmla="*/ 219075 h 808867"/>
                <a:gd name="connsiteX43" fmla="*/ 130872 w 702372"/>
                <a:gd name="connsiteY43" fmla="*/ 219075 h 808867"/>
                <a:gd name="connsiteX44" fmla="*/ 130872 w 702372"/>
                <a:gd name="connsiteY44" fmla="*/ 295275 h 808867"/>
                <a:gd name="connsiteX45" fmla="*/ 130872 w 702372"/>
                <a:gd name="connsiteY45" fmla="*/ 409575 h 808867"/>
                <a:gd name="connsiteX46" fmla="*/ 54672 w 702372"/>
                <a:gd name="connsiteY46" fmla="*/ 409575 h 808867"/>
                <a:gd name="connsiteX47" fmla="*/ 54672 w 702372"/>
                <a:gd name="connsiteY47" fmla="*/ 333375 h 808867"/>
                <a:gd name="connsiteX48" fmla="*/ 130872 w 702372"/>
                <a:gd name="connsiteY48" fmla="*/ 333375 h 808867"/>
                <a:gd name="connsiteX49" fmla="*/ 130872 w 702372"/>
                <a:gd name="connsiteY49" fmla="*/ 409575 h 808867"/>
                <a:gd name="connsiteX50" fmla="*/ 473772 w 702372"/>
                <a:gd name="connsiteY50" fmla="*/ 171450 h 808867"/>
                <a:gd name="connsiteX51" fmla="*/ 473772 w 702372"/>
                <a:gd name="connsiteY51" fmla="*/ 114300 h 808867"/>
                <a:gd name="connsiteX52" fmla="*/ 359472 w 702372"/>
                <a:gd name="connsiteY52" fmla="*/ 0 h 808867"/>
                <a:gd name="connsiteX53" fmla="*/ 245172 w 702372"/>
                <a:gd name="connsiteY53" fmla="*/ 114300 h 808867"/>
                <a:gd name="connsiteX54" fmla="*/ 245172 w 702372"/>
                <a:gd name="connsiteY54" fmla="*/ 171450 h 808867"/>
                <a:gd name="connsiteX55" fmla="*/ 16572 w 702372"/>
                <a:gd name="connsiteY55" fmla="*/ 171450 h 808867"/>
                <a:gd name="connsiteX56" fmla="*/ 0 w 702372"/>
                <a:gd name="connsiteY56" fmla="*/ 461493 h 808867"/>
                <a:gd name="connsiteX57" fmla="*/ 253682 w 702372"/>
                <a:gd name="connsiteY57" fmla="*/ 604375 h 808867"/>
                <a:gd name="connsiteX58" fmla="*/ 292797 w 702372"/>
                <a:gd name="connsiteY58" fmla="*/ 390525 h 808867"/>
                <a:gd name="connsiteX59" fmla="*/ 359472 w 702372"/>
                <a:gd name="connsiteY59" fmla="*/ 333375 h 808867"/>
                <a:gd name="connsiteX60" fmla="*/ 426147 w 702372"/>
                <a:gd name="connsiteY60" fmla="*/ 390525 h 808867"/>
                <a:gd name="connsiteX61" fmla="*/ 367659 w 702372"/>
                <a:gd name="connsiteY61" fmla="*/ 678110 h 808867"/>
                <a:gd name="connsiteX62" fmla="*/ 597324 w 702372"/>
                <a:gd name="connsiteY62" fmla="*/ 808867 h 808867"/>
                <a:gd name="connsiteX63" fmla="*/ 702372 w 702372"/>
                <a:gd name="connsiteY63" fmla="*/ 171450 h 808867"/>
                <a:gd name="connsiteX64" fmla="*/ 473772 w 702372"/>
                <a:gd name="connsiteY64" fmla="*/ 171450 h 808867"/>
                <a:gd name="connsiteX0" fmla="*/ 664272 w 702372"/>
                <a:gd name="connsiteY0" fmla="*/ 295275 h 808867"/>
                <a:gd name="connsiteX1" fmla="*/ 588072 w 702372"/>
                <a:gd name="connsiteY1" fmla="*/ 295275 h 808867"/>
                <a:gd name="connsiteX2" fmla="*/ 588072 w 702372"/>
                <a:gd name="connsiteY2" fmla="*/ 219075 h 808867"/>
                <a:gd name="connsiteX3" fmla="*/ 664272 w 702372"/>
                <a:gd name="connsiteY3" fmla="*/ 219075 h 808867"/>
                <a:gd name="connsiteX4" fmla="*/ 664272 w 702372"/>
                <a:gd name="connsiteY4" fmla="*/ 295275 h 808867"/>
                <a:gd name="connsiteX5" fmla="*/ 624239 w 702372"/>
                <a:gd name="connsiteY5" fmla="*/ 515410 h 808867"/>
                <a:gd name="connsiteX6" fmla="*/ 581230 w 702372"/>
                <a:gd name="connsiteY6" fmla="*/ 465762 h 808867"/>
                <a:gd name="connsiteX7" fmla="*/ 588072 w 702372"/>
                <a:gd name="connsiteY7" fmla="*/ 333375 h 808867"/>
                <a:gd name="connsiteX8" fmla="*/ 664272 w 702372"/>
                <a:gd name="connsiteY8" fmla="*/ 333375 h 808867"/>
                <a:gd name="connsiteX9" fmla="*/ 624239 w 702372"/>
                <a:gd name="connsiteY9" fmla="*/ 515410 h 808867"/>
                <a:gd name="connsiteX10" fmla="*/ 549972 w 702372"/>
                <a:gd name="connsiteY10" fmla="*/ 295275 h 808867"/>
                <a:gd name="connsiteX11" fmla="*/ 473772 w 702372"/>
                <a:gd name="connsiteY11" fmla="*/ 295275 h 808867"/>
                <a:gd name="connsiteX12" fmla="*/ 473772 w 702372"/>
                <a:gd name="connsiteY12" fmla="*/ 219075 h 808867"/>
                <a:gd name="connsiteX13" fmla="*/ 549972 w 702372"/>
                <a:gd name="connsiteY13" fmla="*/ 219075 h 808867"/>
                <a:gd name="connsiteX14" fmla="*/ 549972 w 702372"/>
                <a:gd name="connsiteY14" fmla="*/ 295275 h 808867"/>
                <a:gd name="connsiteX15" fmla="*/ 542702 w 702372"/>
                <a:gd name="connsiteY15" fmla="*/ 451884 h 808867"/>
                <a:gd name="connsiteX16" fmla="*/ 473772 w 702372"/>
                <a:gd name="connsiteY16" fmla="*/ 409575 h 808867"/>
                <a:gd name="connsiteX17" fmla="*/ 473772 w 702372"/>
                <a:gd name="connsiteY17" fmla="*/ 333375 h 808867"/>
                <a:gd name="connsiteX18" fmla="*/ 549972 w 702372"/>
                <a:gd name="connsiteY18" fmla="*/ 333375 h 808867"/>
                <a:gd name="connsiteX19" fmla="*/ 542702 w 702372"/>
                <a:gd name="connsiteY19" fmla="*/ 451884 h 808867"/>
                <a:gd name="connsiteX20" fmla="*/ 426147 w 702372"/>
                <a:gd name="connsiteY20" fmla="*/ 295275 h 808867"/>
                <a:gd name="connsiteX21" fmla="*/ 292797 w 702372"/>
                <a:gd name="connsiteY21" fmla="*/ 295275 h 808867"/>
                <a:gd name="connsiteX22" fmla="*/ 292797 w 702372"/>
                <a:gd name="connsiteY22" fmla="*/ 257175 h 808867"/>
                <a:gd name="connsiteX23" fmla="*/ 426147 w 702372"/>
                <a:gd name="connsiteY23" fmla="*/ 257175 h 808867"/>
                <a:gd name="connsiteX24" fmla="*/ 426147 w 702372"/>
                <a:gd name="connsiteY24" fmla="*/ 295275 h 808867"/>
                <a:gd name="connsiteX25" fmla="*/ 359472 w 702372"/>
                <a:gd name="connsiteY25" fmla="*/ 114300 h 808867"/>
                <a:gd name="connsiteX26" fmla="*/ 388047 w 702372"/>
                <a:gd name="connsiteY26" fmla="*/ 142875 h 808867"/>
                <a:gd name="connsiteX27" fmla="*/ 359472 w 702372"/>
                <a:gd name="connsiteY27" fmla="*/ 171450 h 808867"/>
                <a:gd name="connsiteX28" fmla="*/ 330897 w 702372"/>
                <a:gd name="connsiteY28" fmla="*/ 142875 h 808867"/>
                <a:gd name="connsiteX29" fmla="*/ 359472 w 702372"/>
                <a:gd name="connsiteY29" fmla="*/ 114300 h 808867"/>
                <a:gd name="connsiteX30" fmla="*/ 245172 w 702372"/>
                <a:gd name="connsiteY30" fmla="*/ 295275 h 808867"/>
                <a:gd name="connsiteX31" fmla="*/ 168972 w 702372"/>
                <a:gd name="connsiteY31" fmla="*/ 295275 h 808867"/>
                <a:gd name="connsiteX32" fmla="*/ 168972 w 702372"/>
                <a:gd name="connsiteY32" fmla="*/ 219075 h 808867"/>
                <a:gd name="connsiteX33" fmla="*/ 245172 w 702372"/>
                <a:gd name="connsiteY33" fmla="*/ 219075 h 808867"/>
                <a:gd name="connsiteX34" fmla="*/ 245172 w 702372"/>
                <a:gd name="connsiteY34" fmla="*/ 295275 h 808867"/>
                <a:gd name="connsiteX35" fmla="*/ 229771 w 702372"/>
                <a:gd name="connsiteY35" fmla="*/ 466436 h 808867"/>
                <a:gd name="connsiteX36" fmla="*/ 163350 w 702372"/>
                <a:gd name="connsiteY36" fmla="*/ 439167 h 808867"/>
                <a:gd name="connsiteX37" fmla="*/ 168972 w 702372"/>
                <a:gd name="connsiteY37" fmla="*/ 333375 h 808867"/>
                <a:gd name="connsiteX38" fmla="*/ 245172 w 702372"/>
                <a:gd name="connsiteY38" fmla="*/ 333375 h 808867"/>
                <a:gd name="connsiteX39" fmla="*/ 229771 w 702372"/>
                <a:gd name="connsiteY39" fmla="*/ 466436 h 808867"/>
                <a:gd name="connsiteX40" fmla="*/ 130872 w 702372"/>
                <a:gd name="connsiteY40" fmla="*/ 295275 h 808867"/>
                <a:gd name="connsiteX41" fmla="*/ 54672 w 702372"/>
                <a:gd name="connsiteY41" fmla="*/ 295275 h 808867"/>
                <a:gd name="connsiteX42" fmla="*/ 54672 w 702372"/>
                <a:gd name="connsiteY42" fmla="*/ 219075 h 808867"/>
                <a:gd name="connsiteX43" fmla="*/ 130872 w 702372"/>
                <a:gd name="connsiteY43" fmla="*/ 219075 h 808867"/>
                <a:gd name="connsiteX44" fmla="*/ 130872 w 702372"/>
                <a:gd name="connsiteY44" fmla="*/ 295275 h 808867"/>
                <a:gd name="connsiteX45" fmla="*/ 121523 w 702372"/>
                <a:gd name="connsiteY45" fmla="*/ 450722 h 808867"/>
                <a:gd name="connsiteX46" fmla="*/ 54672 w 702372"/>
                <a:gd name="connsiteY46" fmla="*/ 409575 h 808867"/>
                <a:gd name="connsiteX47" fmla="*/ 54672 w 702372"/>
                <a:gd name="connsiteY47" fmla="*/ 333375 h 808867"/>
                <a:gd name="connsiteX48" fmla="*/ 130872 w 702372"/>
                <a:gd name="connsiteY48" fmla="*/ 333375 h 808867"/>
                <a:gd name="connsiteX49" fmla="*/ 121523 w 702372"/>
                <a:gd name="connsiteY49" fmla="*/ 450722 h 808867"/>
                <a:gd name="connsiteX50" fmla="*/ 473772 w 702372"/>
                <a:gd name="connsiteY50" fmla="*/ 171450 h 808867"/>
                <a:gd name="connsiteX51" fmla="*/ 473772 w 702372"/>
                <a:gd name="connsiteY51" fmla="*/ 114300 h 808867"/>
                <a:gd name="connsiteX52" fmla="*/ 359472 w 702372"/>
                <a:gd name="connsiteY52" fmla="*/ 0 h 808867"/>
                <a:gd name="connsiteX53" fmla="*/ 245172 w 702372"/>
                <a:gd name="connsiteY53" fmla="*/ 114300 h 808867"/>
                <a:gd name="connsiteX54" fmla="*/ 245172 w 702372"/>
                <a:gd name="connsiteY54" fmla="*/ 171450 h 808867"/>
                <a:gd name="connsiteX55" fmla="*/ 16572 w 702372"/>
                <a:gd name="connsiteY55" fmla="*/ 171450 h 808867"/>
                <a:gd name="connsiteX56" fmla="*/ 0 w 702372"/>
                <a:gd name="connsiteY56" fmla="*/ 461493 h 808867"/>
                <a:gd name="connsiteX57" fmla="*/ 253682 w 702372"/>
                <a:gd name="connsiteY57" fmla="*/ 604375 h 808867"/>
                <a:gd name="connsiteX58" fmla="*/ 292797 w 702372"/>
                <a:gd name="connsiteY58" fmla="*/ 390525 h 808867"/>
                <a:gd name="connsiteX59" fmla="*/ 359472 w 702372"/>
                <a:gd name="connsiteY59" fmla="*/ 333375 h 808867"/>
                <a:gd name="connsiteX60" fmla="*/ 426147 w 702372"/>
                <a:gd name="connsiteY60" fmla="*/ 390525 h 808867"/>
                <a:gd name="connsiteX61" fmla="*/ 367659 w 702372"/>
                <a:gd name="connsiteY61" fmla="*/ 678110 h 808867"/>
                <a:gd name="connsiteX62" fmla="*/ 597324 w 702372"/>
                <a:gd name="connsiteY62" fmla="*/ 808867 h 808867"/>
                <a:gd name="connsiteX63" fmla="*/ 702372 w 702372"/>
                <a:gd name="connsiteY63" fmla="*/ 171450 h 808867"/>
                <a:gd name="connsiteX64" fmla="*/ 473772 w 702372"/>
                <a:gd name="connsiteY64" fmla="*/ 171450 h 808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702372" h="808867">
                  <a:moveTo>
                    <a:pt x="664272" y="295275"/>
                  </a:moveTo>
                  <a:lnTo>
                    <a:pt x="588072" y="295275"/>
                  </a:lnTo>
                  <a:lnTo>
                    <a:pt x="588072" y="219075"/>
                  </a:lnTo>
                  <a:lnTo>
                    <a:pt x="664272" y="219075"/>
                  </a:lnTo>
                  <a:lnTo>
                    <a:pt x="664272" y="295275"/>
                  </a:lnTo>
                  <a:close/>
                  <a:moveTo>
                    <a:pt x="624239" y="515410"/>
                  </a:moveTo>
                  <a:lnTo>
                    <a:pt x="581230" y="465762"/>
                  </a:lnTo>
                  <a:lnTo>
                    <a:pt x="588072" y="333375"/>
                  </a:lnTo>
                  <a:lnTo>
                    <a:pt x="664272" y="333375"/>
                  </a:lnTo>
                  <a:lnTo>
                    <a:pt x="624239" y="515410"/>
                  </a:lnTo>
                  <a:close/>
                  <a:moveTo>
                    <a:pt x="549972" y="295275"/>
                  </a:moveTo>
                  <a:lnTo>
                    <a:pt x="473772" y="295275"/>
                  </a:lnTo>
                  <a:lnTo>
                    <a:pt x="473772" y="219075"/>
                  </a:lnTo>
                  <a:lnTo>
                    <a:pt x="549972" y="219075"/>
                  </a:lnTo>
                  <a:lnTo>
                    <a:pt x="549972" y="295275"/>
                  </a:lnTo>
                  <a:close/>
                  <a:moveTo>
                    <a:pt x="542702" y="451884"/>
                  </a:moveTo>
                  <a:lnTo>
                    <a:pt x="473772" y="409575"/>
                  </a:lnTo>
                  <a:lnTo>
                    <a:pt x="473772" y="333375"/>
                  </a:lnTo>
                  <a:lnTo>
                    <a:pt x="549972" y="333375"/>
                  </a:lnTo>
                  <a:lnTo>
                    <a:pt x="542702" y="451884"/>
                  </a:lnTo>
                  <a:close/>
                  <a:moveTo>
                    <a:pt x="426147" y="295275"/>
                  </a:moveTo>
                  <a:lnTo>
                    <a:pt x="292797" y="295275"/>
                  </a:lnTo>
                  <a:lnTo>
                    <a:pt x="292797" y="257175"/>
                  </a:lnTo>
                  <a:lnTo>
                    <a:pt x="426147" y="257175"/>
                  </a:lnTo>
                  <a:lnTo>
                    <a:pt x="426147" y="295275"/>
                  </a:lnTo>
                  <a:close/>
                  <a:moveTo>
                    <a:pt x="359472" y="114300"/>
                  </a:moveTo>
                  <a:cubicBezTo>
                    <a:pt x="375665" y="114300"/>
                    <a:pt x="388047" y="126683"/>
                    <a:pt x="388047" y="142875"/>
                  </a:cubicBezTo>
                  <a:cubicBezTo>
                    <a:pt x="388047" y="159067"/>
                    <a:pt x="375665" y="171450"/>
                    <a:pt x="359472" y="171450"/>
                  </a:cubicBezTo>
                  <a:cubicBezTo>
                    <a:pt x="343280" y="171450"/>
                    <a:pt x="330897" y="159067"/>
                    <a:pt x="330897" y="142875"/>
                  </a:cubicBezTo>
                  <a:cubicBezTo>
                    <a:pt x="330897" y="126683"/>
                    <a:pt x="343280" y="114300"/>
                    <a:pt x="359472" y="114300"/>
                  </a:cubicBezTo>
                  <a:close/>
                  <a:moveTo>
                    <a:pt x="245172" y="295275"/>
                  </a:moveTo>
                  <a:lnTo>
                    <a:pt x="168972" y="295275"/>
                  </a:lnTo>
                  <a:lnTo>
                    <a:pt x="168972" y="219075"/>
                  </a:lnTo>
                  <a:lnTo>
                    <a:pt x="245172" y="219075"/>
                  </a:lnTo>
                  <a:lnTo>
                    <a:pt x="245172" y="295275"/>
                  </a:lnTo>
                  <a:close/>
                  <a:moveTo>
                    <a:pt x="229771" y="466436"/>
                  </a:moveTo>
                  <a:lnTo>
                    <a:pt x="163350" y="439167"/>
                  </a:lnTo>
                  <a:lnTo>
                    <a:pt x="168972" y="333375"/>
                  </a:lnTo>
                  <a:lnTo>
                    <a:pt x="245172" y="333375"/>
                  </a:lnTo>
                  <a:lnTo>
                    <a:pt x="229771" y="466436"/>
                  </a:lnTo>
                  <a:close/>
                  <a:moveTo>
                    <a:pt x="130872" y="295275"/>
                  </a:moveTo>
                  <a:lnTo>
                    <a:pt x="54672" y="295275"/>
                  </a:lnTo>
                  <a:lnTo>
                    <a:pt x="54672" y="219075"/>
                  </a:lnTo>
                  <a:lnTo>
                    <a:pt x="130872" y="219075"/>
                  </a:lnTo>
                  <a:lnTo>
                    <a:pt x="130872" y="295275"/>
                  </a:lnTo>
                  <a:close/>
                  <a:moveTo>
                    <a:pt x="121523" y="450722"/>
                  </a:moveTo>
                  <a:lnTo>
                    <a:pt x="54672" y="409575"/>
                  </a:lnTo>
                  <a:lnTo>
                    <a:pt x="54672" y="333375"/>
                  </a:lnTo>
                  <a:lnTo>
                    <a:pt x="130872" y="333375"/>
                  </a:lnTo>
                  <a:lnTo>
                    <a:pt x="121523" y="450722"/>
                  </a:lnTo>
                  <a:close/>
                  <a:moveTo>
                    <a:pt x="473772" y="171450"/>
                  </a:moveTo>
                  <a:lnTo>
                    <a:pt x="473772" y="114300"/>
                  </a:lnTo>
                  <a:lnTo>
                    <a:pt x="359472" y="0"/>
                  </a:lnTo>
                  <a:lnTo>
                    <a:pt x="245172" y="114300"/>
                  </a:lnTo>
                  <a:lnTo>
                    <a:pt x="245172" y="171450"/>
                  </a:lnTo>
                  <a:lnTo>
                    <a:pt x="16572" y="171450"/>
                  </a:lnTo>
                  <a:lnTo>
                    <a:pt x="0" y="461493"/>
                  </a:lnTo>
                  <a:lnTo>
                    <a:pt x="253682" y="604375"/>
                  </a:lnTo>
                  <a:lnTo>
                    <a:pt x="292797" y="390525"/>
                  </a:lnTo>
                  <a:cubicBezTo>
                    <a:pt x="292797" y="363855"/>
                    <a:pt x="311847" y="333375"/>
                    <a:pt x="359472" y="333375"/>
                  </a:cubicBezTo>
                  <a:cubicBezTo>
                    <a:pt x="407097" y="333375"/>
                    <a:pt x="426147" y="363855"/>
                    <a:pt x="426147" y="390525"/>
                  </a:cubicBezTo>
                  <a:lnTo>
                    <a:pt x="367659" y="678110"/>
                  </a:lnTo>
                  <a:lnTo>
                    <a:pt x="597324" y="808867"/>
                  </a:lnTo>
                  <a:lnTo>
                    <a:pt x="702372" y="171450"/>
                  </a:lnTo>
                  <a:lnTo>
                    <a:pt x="473772" y="171450"/>
                  </a:lnTo>
                  <a:close/>
                </a:path>
              </a:pathLst>
            </a:custGeom>
            <a:solidFill>
              <a:srgbClr val="000000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A7AD4073-7B88-83A3-529B-444103195F8C}"/>
              </a:ext>
            </a:extLst>
          </p:cNvPr>
          <p:cNvSpPr/>
          <p:nvPr/>
        </p:nvSpPr>
        <p:spPr>
          <a:xfrm>
            <a:off x="3164324" y="1388839"/>
            <a:ext cx="291963" cy="2773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CB3DAEF-9976-0854-FEA7-88FC4E2E5E52}"/>
              </a:ext>
            </a:extLst>
          </p:cNvPr>
          <p:cNvSpPr/>
          <p:nvPr/>
        </p:nvSpPr>
        <p:spPr>
          <a:xfrm>
            <a:off x="8035413" y="1386141"/>
            <a:ext cx="291963" cy="2723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D6F1DF0-14E6-BB0F-5C77-6B1AE33E92A0}"/>
              </a:ext>
            </a:extLst>
          </p:cNvPr>
          <p:cNvGrpSpPr/>
          <p:nvPr/>
        </p:nvGrpSpPr>
        <p:grpSpPr>
          <a:xfrm>
            <a:off x="6668168" y="5403079"/>
            <a:ext cx="1200492" cy="1159421"/>
            <a:chOff x="4518315" y="3378600"/>
            <a:chExt cx="2982685" cy="2880642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44A90B-7ECC-FC13-4584-458141A6FA2A}"/>
                </a:ext>
              </a:extLst>
            </p:cNvPr>
            <p:cNvSpPr/>
            <p:nvPr/>
          </p:nvSpPr>
          <p:spPr>
            <a:xfrm rot="20682319">
              <a:off x="4518315" y="4442215"/>
              <a:ext cx="2982685" cy="1817027"/>
            </a:xfrm>
            <a:custGeom>
              <a:avLst/>
              <a:gdLst>
                <a:gd name="connsiteX0" fmla="*/ 1975308 w 3999407"/>
                <a:gd name="connsiteY0" fmla="*/ 2516 h 3013832"/>
                <a:gd name="connsiteX1" fmla="*/ 3983217 w 3999407"/>
                <a:gd name="connsiteY1" fmla="*/ 935769 h 3013832"/>
                <a:gd name="connsiteX2" fmla="*/ 2842574 w 3999407"/>
                <a:gd name="connsiteY2" fmla="*/ 2990813 h 3013832"/>
                <a:gd name="connsiteX3" fmla="*/ 1428553 w 3999407"/>
                <a:gd name="connsiteY3" fmla="*/ 2038706 h 3013832"/>
                <a:gd name="connsiteX4" fmla="*/ 80520 w 3999407"/>
                <a:gd name="connsiteY4" fmla="*/ 2010425 h 3013832"/>
                <a:gd name="connsiteX5" fmla="*/ 259630 w 3999407"/>
                <a:gd name="connsiteY5" fmla="*/ 1020611 h 3013832"/>
                <a:gd name="connsiteX6" fmla="*/ 1136322 w 3999407"/>
                <a:gd name="connsiteY6" fmla="*/ 671819 h 3013832"/>
                <a:gd name="connsiteX7" fmla="*/ 1975308 w 3999407"/>
                <a:gd name="connsiteY7" fmla="*/ 2516 h 3013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9407" h="3013832">
                  <a:moveTo>
                    <a:pt x="1975308" y="2516"/>
                  </a:moveTo>
                  <a:cubicBezTo>
                    <a:pt x="2449790" y="46508"/>
                    <a:pt x="3838673" y="437720"/>
                    <a:pt x="3983217" y="935769"/>
                  </a:cubicBezTo>
                  <a:cubicBezTo>
                    <a:pt x="4127761" y="1433818"/>
                    <a:pt x="3268351" y="2806990"/>
                    <a:pt x="2842574" y="2990813"/>
                  </a:cubicBezTo>
                  <a:cubicBezTo>
                    <a:pt x="2416797" y="3174636"/>
                    <a:pt x="1888895" y="2202104"/>
                    <a:pt x="1428553" y="2038706"/>
                  </a:cubicBezTo>
                  <a:cubicBezTo>
                    <a:pt x="968211" y="1875308"/>
                    <a:pt x="275340" y="2180107"/>
                    <a:pt x="80520" y="2010425"/>
                  </a:cubicBezTo>
                  <a:cubicBezTo>
                    <a:pt x="-114300" y="1840743"/>
                    <a:pt x="83663" y="1243712"/>
                    <a:pt x="259630" y="1020611"/>
                  </a:cubicBezTo>
                  <a:cubicBezTo>
                    <a:pt x="435597" y="797510"/>
                    <a:pt x="850376" y="839930"/>
                    <a:pt x="1136322" y="671819"/>
                  </a:cubicBezTo>
                  <a:cubicBezTo>
                    <a:pt x="1422268" y="503708"/>
                    <a:pt x="1500826" y="-41476"/>
                    <a:pt x="1975308" y="2516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34" name="Graphic 33" descr="Group success with solid fill">
              <a:extLst>
                <a:ext uri="{FF2B5EF4-FFF2-40B4-BE49-F238E27FC236}">
                  <a16:creationId xmlns:a16="http://schemas.microsoft.com/office/drawing/2014/main" id="{3A18D580-9DF8-5A83-7DFE-EA7D1D46D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18342" y="3378600"/>
              <a:ext cx="1349207" cy="1349207"/>
            </a:xfrm>
            <a:prstGeom prst="rect">
              <a:avLst/>
            </a:prstGeom>
          </p:spPr>
        </p:pic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4F04F2B-8C81-9997-4D69-DC00B3A4CF64}"/>
                </a:ext>
              </a:extLst>
            </p:cNvPr>
            <p:cNvSpPr/>
            <p:nvPr/>
          </p:nvSpPr>
          <p:spPr>
            <a:xfrm rot="9812182">
              <a:off x="6140348" y="5320794"/>
              <a:ext cx="140542" cy="140542"/>
            </a:xfrm>
            <a:custGeom>
              <a:avLst/>
              <a:gdLst>
                <a:gd name="connsiteX0" fmla="*/ 140542 w 140542"/>
                <a:gd name="connsiteY0" fmla="*/ 70271 h 140542"/>
                <a:gd name="connsiteX1" fmla="*/ 70271 w 140542"/>
                <a:gd name="connsiteY1" fmla="*/ 140542 h 140542"/>
                <a:gd name="connsiteX2" fmla="*/ 0 w 140542"/>
                <a:gd name="connsiteY2" fmla="*/ 70271 h 140542"/>
                <a:gd name="connsiteX3" fmla="*/ 70271 w 140542"/>
                <a:gd name="connsiteY3" fmla="*/ 0 h 140542"/>
                <a:gd name="connsiteX4" fmla="*/ 140542 w 140542"/>
                <a:gd name="connsiteY4" fmla="*/ 70271 h 14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542" h="140542">
                  <a:moveTo>
                    <a:pt x="140542" y="70271"/>
                  </a:moveTo>
                  <a:cubicBezTo>
                    <a:pt x="140542" y="109081"/>
                    <a:pt x="109081" y="140542"/>
                    <a:pt x="70271" y="140542"/>
                  </a:cubicBezTo>
                  <a:cubicBezTo>
                    <a:pt x="31462" y="140542"/>
                    <a:pt x="0" y="109081"/>
                    <a:pt x="0" y="70271"/>
                  </a:cubicBezTo>
                  <a:cubicBezTo>
                    <a:pt x="0" y="31461"/>
                    <a:pt x="31462" y="0"/>
                    <a:pt x="70271" y="0"/>
                  </a:cubicBezTo>
                  <a:cubicBezTo>
                    <a:pt x="109081" y="0"/>
                    <a:pt x="140542" y="31461"/>
                    <a:pt x="140542" y="70271"/>
                  </a:cubicBezTo>
                  <a:close/>
                </a:path>
              </a:pathLst>
            </a:custGeom>
            <a:solidFill>
              <a:srgbClr val="000000">
                <a:alpha val="50000"/>
              </a:srgbClr>
            </a:solidFill>
            <a:ln w="139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36BFD13-F597-10F3-D890-6DF284EF06EE}"/>
                </a:ext>
              </a:extLst>
            </p:cNvPr>
            <p:cNvSpPr/>
            <p:nvPr/>
          </p:nvSpPr>
          <p:spPr>
            <a:xfrm rot="9812182">
              <a:off x="6409908" y="5241132"/>
              <a:ext cx="140542" cy="140542"/>
            </a:xfrm>
            <a:custGeom>
              <a:avLst/>
              <a:gdLst>
                <a:gd name="connsiteX0" fmla="*/ 140542 w 140542"/>
                <a:gd name="connsiteY0" fmla="*/ 70271 h 140542"/>
                <a:gd name="connsiteX1" fmla="*/ 70271 w 140542"/>
                <a:gd name="connsiteY1" fmla="*/ 140542 h 140542"/>
                <a:gd name="connsiteX2" fmla="*/ 0 w 140542"/>
                <a:gd name="connsiteY2" fmla="*/ 70271 h 140542"/>
                <a:gd name="connsiteX3" fmla="*/ 70271 w 140542"/>
                <a:gd name="connsiteY3" fmla="*/ 0 h 140542"/>
                <a:gd name="connsiteX4" fmla="*/ 140542 w 140542"/>
                <a:gd name="connsiteY4" fmla="*/ 70271 h 14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542" h="140542">
                  <a:moveTo>
                    <a:pt x="140542" y="70271"/>
                  </a:moveTo>
                  <a:cubicBezTo>
                    <a:pt x="140542" y="109081"/>
                    <a:pt x="109081" y="140542"/>
                    <a:pt x="70271" y="140542"/>
                  </a:cubicBezTo>
                  <a:cubicBezTo>
                    <a:pt x="31461" y="140542"/>
                    <a:pt x="0" y="109081"/>
                    <a:pt x="0" y="70271"/>
                  </a:cubicBezTo>
                  <a:cubicBezTo>
                    <a:pt x="0" y="31461"/>
                    <a:pt x="31461" y="0"/>
                    <a:pt x="70271" y="0"/>
                  </a:cubicBezTo>
                  <a:cubicBezTo>
                    <a:pt x="109081" y="0"/>
                    <a:pt x="140542" y="31461"/>
                    <a:pt x="140542" y="70271"/>
                  </a:cubicBezTo>
                  <a:close/>
                </a:path>
              </a:pathLst>
            </a:custGeom>
            <a:solidFill>
              <a:srgbClr val="000000">
                <a:alpha val="50000"/>
              </a:srgbClr>
            </a:solidFill>
            <a:ln w="139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3AE91EE-1FD0-9E9F-D470-333ECE0C88A5}"/>
                </a:ext>
              </a:extLst>
            </p:cNvPr>
            <p:cNvSpPr/>
            <p:nvPr/>
          </p:nvSpPr>
          <p:spPr>
            <a:xfrm rot="9812182">
              <a:off x="6679468" y="5161471"/>
              <a:ext cx="140542" cy="140542"/>
            </a:xfrm>
            <a:custGeom>
              <a:avLst/>
              <a:gdLst>
                <a:gd name="connsiteX0" fmla="*/ 140542 w 140542"/>
                <a:gd name="connsiteY0" fmla="*/ 70271 h 140542"/>
                <a:gd name="connsiteX1" fmla="*/ 70271 w 140542"/>
                <a:gd name="connsiteY1" fmla="*/ 140542 h 140542"/>
                <a:gd name="connsiteX2" fmla="*/ 0 w 140542"/>
                <a:gd name="connsiteY2" fmla="*/ 70271 h 140542"/>
                <a:gd name="connsiteX3" fmla="*/ 70271 w 140542"/>
                <a:gd name="connsiteY3" fmla="*/ 0 h 140542"/>
                <a:gd name="connsiteX4" fmla="*/ 140542 w 140542"/>
                <a:gd name="connsiteY4" fmla="*/ 70271 h 14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542" h="140542">
                  <a:moveTo>
                    <a:pt x="140542" y="70271"/>
                  </a:moveTo>
                  <a:cubicBezTo>
                    <a:pt x="140542" y="109081"/>
                    <a:pt x="109081" y="140542"/>
                    <a:pt x="70271" y="140542"/>
                  </a:cubicBezTo>
                  <a:cubicBezTo>
                    <a:pt x="31461" y="140542"/>
                    <a:pt x="0" y="109081"/>
                    <a:pt x="0" y="70271"/>
                  </a:cubicBezTo>
                  <a:cubicBezTo>
                    <a:pt x="0" y="31461"/>
                    <a:pt x="31461" y="0"/>
                    <a:pt x="70271" y="0"/>
                  </a:cubicBezTo>
                  <a:cubicBezTo>
                    <a:pt x="109081" y="0"/>
                    <a:pt x="140542" y="31461"/>
                    <a:pt x="140542" y="70271"/>
                  </a:cubicBezTo>
                  <a:close/>
                </a:path>
              </a:pathLst>
            </a:custGeom>
            <a:solidFill>
              <a:srgbClr val="000000">
                <a:alpha val="50000"/>
              </a:srgbClr>
            </a:solidFill>
            <a:ln w="139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8E8FCDE-CF67-2854-7D6D-B6D810567D71}"/>
                </a:ext>
              </a:extLst>
            </p:cNvPr>
            <p:cNvSpPr/>
            <p:nvPr/>
          </p:nvSpPr>
          <p:spPr>
            <a:xfrm rot="9812182">
              <a:off x="6949028" y="5081810"/>
              <a:ext cx="140542" cy="140542"/>
            </a:xfrm>
            <a:custGeom>
              <a:avLst/>
              <a:gdLst>
                <a:gd name="connsiteX0" fmla="*/ 140542 w 140542"/>
                <a:gd name="connsiteY0" fmla="*/ 70271 h 140542"/>
                <a:gd name="connsiteX1" fmla="*/ 70271 w 140542"/>
                <a:gd name="connsiteY1" fmla="*/ 140542 h 140542"/>
                <a:gd name="connsiteX2" fmla="*/ 0 w 140542"/>
                <a:gd name="connsiteY2" fmla="*/ 70271 h 140542"/>
                <a:gd name="connsiteX3" fmla="*/ 70271 w 140542"/>
                <a:gd name="connsiteY3" fmla="*/ 0 h 140542"/>
                <a:gd name="connsiteX4" fmla="*/ 140542 w 140542"/>
                <a:gd name="connsiteY4" fmla="*/ 70271 h 14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542" h="140542">
                  <a:moveTo>
                    <a:pt x="140542" y="70271"/>
                  </a:moveTo>
                  <a:cubicBezTo>
                    <a:pt x="140542" y="109081"/>
                    <a:pt x="109081" y="140542"/>
                    <a:pt x="70271" y="140542"/>
                  </a:cubicBezTo>
                  <a:cubicBezTo>
                    <a:pt x="31461" y="140542"/>
                    <a:pt x="0" y="109081"/>
                    <a:pt x="0" y="70271"/>
                  </a:cubicBezTo>
                  <a:cubicBezTo>
                    <a:pt x="0" y="31461"/>
                    <a:pt x="31461" y="0"/>
                    <a:pt x="70271" y="0"/>
                  </a:cubicBezTo>
                  <a:cubicBezTo>
                    <a:pt x="109081" y="0"/>
                    <a:pt x="140542" y="31461"/>
                    <a:pt x="140542" y="70271"/>
                  </a:cubicBezTo>
                  <a:close/>
                </a:path>
              </a:pathLst>
            </a:custGeom>
            <a:solidFill>
              <a:srgbClr val="000000">
                <a:alpha val="50000"/>
              </a:srgbClr>
            </a:solidFill>
            <a:ln w="139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2719312-A8CE-88F6-1C03-E47E5235ED2C}"/>
                </a:ext>
              </a:extLst>
            </p:cNvPr>
            <p:cNvGrpSpPr/>
            <p:nvPr/>
          </p:nvGrpSpPr>
          <p:grpSpPr>
            <a:xfrm>
              <a:off x="5896177" y="4298428"/>
              <a:ext cx="1178215" cy="1070781"/>
              <a:chOff x="5896177" y="4298428"/>
              <a:chExt cx="1178215" cy="1070781"/>
            </a:xfrm>
            <a:solidFill>
              <a:srgbClr val="25686E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7C066031-3E02-E982-5C61-A17DFFB4F153}"/>
                  </a:ext>
                </a:extLst>
              </p:cNvPr>
              <p:cNvSpPr/>
              <p:nvPr/>
            </p:nvSpPr>
            <p:spPr>
              <a:xfrm rot="9812182">
                <a:off x="5896177" y="4298428"/>
                <a:ext cx="1178215" cy="1070781"/>
              </a:xfrm>
              <a:custGeom>
                <a:avLst/>
                <a:gdLst>
                  <a:gd name="connsiteX0" fmla="*/ 1159133 w 1178215"/>
                  <a:gd name="connsiteY0" fmla="*/ 1677 h 795601"/>
                  <a:gd name="connsiteX1" fmla="*/ 1123152 w 1178215"/>
                  <a:gd name="connsiteY1" fmla="*/ 18574 h 795601"/>
                  <a:gd name="connsiteX2" fmla="*/ 1122873 w 1178215"/>
                  <a:gd name="connsiteY2" fmla="*/ 19385 h 795601"/>
                  <a:gd name="connsiteX3" fmla="*/ 1070451 w 1178215"/>
                  <a:gd name="connsiteY3" fmla="*/ 173982 h 795601"/>
                  <a:gd name="connsiteX4" fmla="*/ 1010439 w 1178215"/>
                  <a:gd name="connsiteY4" fmla="*/ 163160 h 795601"/>
                  <a:gd name="connsiteX5" fmla="*/ 949725 w 1178215"/>
                  <a:gd name="connsiteY5" fmla="*/ 174123 h 795601"/>
                  <a:gd name="connsiteX6" fmla="*/ 898005 w 1178215"/>
                  <a:gd name="connsiteY6" fmla="*/ 19385 h 795601"/>
                  <a:gd name="connsiteX7" fmla="*/ 859864 w 1178215"/>
                  <a:gd name="connsiteY7" fmla="*/ 2435 h 795601"/>
                  <a:gd name="connsiteX8" fmla="*/ 842913 w 1178215"/>
                  <a:gd name="connsiteY8" fmla="*/ 19385 h 795601"/>
                  <a:gd name="connsiteX9" fmla="*/ 790491 w 1178215"/>
                  <a:gd name="connsiteY9" fmla="*/ 173982 h 795601"/>
                  <a:gd name="connsiteX10" fmla="*/ 729355 w 1178215"/>
                  <a:gd name="connsiteY10" fmla="*/ 163160 h 795601"/>
                  <a:gd name="connsiteX11" fmla="*/ 668640 w 1178215"/>
                  <a:gd name="connsiteY11" fmla="*/ 173982 h 795601"/>
                  <a:gd name="connsiteX12" fmla="*/ 616921 w 1178215"/>
                  <a:gd name="connsiteY12" fmla="*/ 19385 h 795601"/>
                  <a:gd name="connsiteX13" fmla="*/ 578779 w 1178215"/>
                  <a:gd name="connsiteY13" fmla="*/ 2435 h 795601"/>
                  <a:gd name="connsiteX14" fmla="*/ 561828 w 1178215"/>
                  <a:gd name="connsiteY14" fmla="*/ 19385 h 795601"/>
                  <a:gd name="connsiteX15" fmla="*/ 509546 w 1178215"/>
                  <a:gd name="connsiteY15" fmla="*/ 173982 h 795601"/>
                  <a:gd name="connsiteX16" fmla="*/ 448270 w 1178215"/>
                  <a:gd name="connsiteY16" fmla="*/ 163160 h 795601"/>
                  <a:gd name="connsiteX17" fmla="*/ 387555 w 1178215"/>
                  <a:gd name="connsiteY17" fmla="*/ 174123 h 795601"/>
                  <a:gd name="connsiteX18" fmla="*/ 335836 w 1178215"/>
                  <a:gd name="connsiteY18" fmla="*/ 19385 h 795601"/>
                  <a:gd name="connsiteX19" fmla="*/ 297694 w 1178215"/>
                  <a:gd name="connsiteY19" fmla="*/ 2435 h 795601"/>
                  <a:gd name="connsiteX20" fmla="*/ 280743 w 1178215"/>
                  <a:gd name="connsiteY20" fmla="*/ 19385 h 795601"/>
                  <a:gd name="connsiteX21" fmla="*/ 228321 w 1178215"/>
                  <a:gd name="connsiteY21" fmla="*/ 173982 h 795601"/>
                  <a:gd name="connsiteX22" fmla="*/ 167185 w 1178215"/>
                  <a:gd name="connsiteY22" fmla="*/ 163160 h 795601"/>
                  <a:gd name="connsiteX23" fmla="*/ 106471 w 1178215"/>
                  <a:gd name="connsiteY23" fmla="*/ 174123 h 795601"/>
                  <a:gd name="connsiteX24" fmla="*/ 54751 w 1178215"/>
                  <a:gd name="connsiteY24" fmla="*/ 19385 h 795601"/>
                  <a:gd name="connsiteX25" fmla="*/ 19124 w 1178215"/>
                  <a:gd name="connsiteY25" fmla="*/ 1747 h 795601"/>
                  <a:gd name="connsiteX26" fmla="*/ 1486 w 1178215"/>
                  <a:gd name="connsiteY26" fmla="*/ 37375 h 795601"/>
                  <a:gd name="connsiteX27" fmla="*/ 70913 w 1178215"/>
                  <a:gd name="connsiteY27" fmla="*/ 242426 h 795601"/>
                  <a:gd name="connsiteX28" fmla="*/ 96914 w 1178215"/>
                  <a:gd name="connsiteY28" fmla="*/ 261540 h 795601"/>
                  <a:gd name="connsiteX29" fmla="*/ 96914 w 1178215"/>
                  <a:gd name="connsiteY29" fmla="*/ 345865 h 795601"/>
                  <a:gd name="connsiteX30" fmla="*/ 54751 w 1178215"/>
                  <a:gd name="connsiteY30" fmla="*/ 556679 h 795601"/>
                  <a:gd name="connsiteX31" fmla="*/ 96914 w 1178215"/>
                  <a:gd name="connsiteY31" fmla="*/ 556679 h 795601"/>
                  <a:gd name="connsiteX32" fmla="*/ 96914 w 1178215"/>
                  <a:gd name="connsiteY32" fmla="*/ 795601 h 795601"/>
                  <a:gd name="connsiteX33" fmla="*/ 153131 w 1178215"/>
                  <a:gd name="connsiteY33" fmla="*/ 795601 h 795601"/>
                  <a:gd name="connsiteX34" fmla="*/ 153131 w 1178215"/>
                  <a:gd name="connsiteY34" fmla="*/ 556679 h 795601"/>
                  <a:gd name="connsiteX35" fmla="*/ 181239 w 1178215"/>
                  <a:gd name="connsiteY35" fmla="*/ 556679 h 795601"/>
                  <a:gd name="connsiteX36" fmla="*/ 181239 w 1178215"/>
                  <a:gd name="connsiteY36" fmla="*/ 795601 h 795601"/>
                  <a:gd name="connsiteX37" fmla="*/ 237456 w 1178215"/>
                  <a:gd name="connsiteY37" fmla="*/ 795601 h 795601"/>
                  <a:gd name="connsiteX38" fmla="*/ 237456 w 1178215"/>
                  <a:gd name="connsiteY38" fmla="*/ 556679 h 795601"/>
                  <a:gd name="connsiteX39" fmla="*/ 279619 w 1178215"/>
                  <a:gd name="connsiteY39" fmla="*/ 556679 h 795601"/>
                  <a:gd name="connsiteX40" fmla="*/ 237456 w 1178215"/>
                  <a:gd name="connsiteY40" fmla="*/ 345865 h 795601"/>
                  <a:gd name="connsiteX41" fmla="*/ 237456 w 1178215"/>
                  <a:gd name="connsiteY41" fmla="*/ 261540 h 795601"/>
                  <a:gd name="connsiteX42" fmla="*/ 264019 w 1178215"/>
                  <a:gd name="connsiteY42" fmla="*/ 242426 h 795601"/>
                  <a:gd name="connsiteX43" fmla="*/ 307727 w 1178215"/>
                  <a:gd name="connsiteY43" fmla="*/ 113408 h 795601"/>
                  <a:gd name="connsiteX44" fmla="*/ 351436 w 1178215"/>
                  <a:gd name="connsiteY44" fmla="*/ 242426 h 795601"/>
                  <a:gd name="connsiteX45" fmla="*/ 377999 w 1178215"/>
                  <a:gd name="connsiteY45" fmla="*/ 261540 h 795601"/>
                  <a:gd name="connsiteX46" fmla="*/ 377999 w 1178215"/>
                  <a:gd name="connsiteY46" fmla="*/ 795601 h 795601"/>
                  <a:gd name="connsiteX47" fmla="*/ 434216 w 1178215"/>
                  <a:gd name="connsiteY47" fmla="*/ 795601 h 795601"/>
                  <a:gd name="connsiteX48" fmla="*/ 434216 w 1178215"/>
                  <a:gd name="connsiteY48" fmla="*/ 472354 h 795601"/>
                  <a:gd name="connsiteX49" fmla="*/ 462324 w 1178215"/>
                  <a:gd name="connsiteY49" fmla="*/ 472354 h 795601"/>
                  <a:gd name="connsiteX50" fmla="*/ 462324 w 1178215"/>
                  <a:gd name="connsiteY50" fmla="*/ 795601 h 795601"/>
                  <a:gd name="connsiteX51" fmla="*/ 518541 w 1178215"/>
                  <a:gd name="connsiteY51" fmla="*/ 795601 h 795601"/>
                  <a:gd name="connsiteX52" fmla="*/ 518541 w 1178215"/>
                  <a:gd name="connsiteY52" fmla="*/ 261540 h 795601"/>
                  <a:gd name="connsiteX53" fmla="*/ 545104 w 1178215"/>
                  <a:gd name="connsiteY53" fmla="*/ 242426 h 795601"/>
                  <a:gd name="connsiteX54" fmla="*/ 588812 w 1178215"/>
                  <a:gd name="connsiteY54" fmla="*/ 113408 h 795601"/>
                  <a:gd name="connsiteX55" fmla="*/ 632521 w 1178215"/>
                  <a:gd name="connsiteY55" fmla="*/ 242426 h 795601"/>
                  <a:gd name="connsiteX56" fmla="*/ 659083 w 1178215"/>
                  <a:gd name="connsiteY56" fmla="*/ 261540 h 795601"/>
                  <a:gd name="connsiteX57" fmla="*/ 659083 w 1178215"/>
                  <a:gd name="connsiteY57" fmla="*/ 345865 h 795601"/>
                  <a:gd name="connsiteX58" fmla="*/ 616921 w 1178215"/>
                  <a:gd name="connsiteY58" fmla="*/ 556679 h 795601"/>
                  <a:gd name="connsiteX59" fmla="*/ 659083 w 1178215"/>
                  <a:gd name="connsiteY59" fmla="*/ 556679 h 795601"/>
                  <a:gd name="connsiteX60" fmla="*/ 659083 w 1178215"/>
                  <a:gd name="connsiteY60" fmla="*/ 795601 h 795601"/>
                  <a:gd name="connsiteX61" fmla="*/ 715300 w 1178215"/>
                  <a:gd name="connsiteY61" fmla="*/ 795601 h 795601"/>
                  <a:gd name="connsiteX62" fmla="*/ 715300 w 1178215"/>
                  <a:gd name="connsiteY62" fmla="*/ 556679 h 795601"/>
                  <a:gd name="connsiteX63" fmla="*/ 743409 w 1178215"/>
                  <a:gd name="connsiteY63" fmla="*/ 556679 h 795601"/>
                  <a:gd name="connsiteX64" fmla="*/ 743409 w 1178215"/>
                  <a:gd name="connsiteY64" fmla="*/ 795601 h 795601"/>
                  <a:gd name="connsiteX65" fmla="*/ 799626 w 1178215"/>
                  <a:gd name="connsiteY65" fmla="*/ 795601 h 795601"/>
                  <a:gd name="connsiteX66" fmla="*/ 799626 w 1178215"/>
                  <a:gd name="connsiteY66" fmla="*/ 556679 h 795601"/>
                  <a:gd name="connsiteX67" fmla="*/ 841789 w 1178215"/>
                  <a:gd name="connsiteY67" fmla="*/ 556679 h 795601"/>
                  <a:gd name="connsiteX68" fmla="*/ 799626 w 1178215"/>
                  <a:gd name="connsiteY68" fmla="*/ 345865 h 795601"/>
                  <a:gd name="connsiteX69" fmla="*/ 799626 w 1178215"/>
                  <a:gd name="connsiteY69" fmla="*/ 261540 h 795601"/>
                  <a:gd name="connsiteX70" fmla="*/ 826188 w 1178215"/>
                  <a:gd name="connsiteY70" fmla="*/ 242426 h 795601"/>
                  <a:gd name="connsiteX71" fmla="*/ 869897 w 1178215"/>
                  <a:gd name="connsiteY71" fmla="*/ 113408 h 795601"/>
                  <a:gd name="connsiteX72" fmla="*/ 913606 w 1178215"/>
                  <a:gd name="connsiteY72" fmla="*/ 242426 h 795601"/>
                  <a:gd name="connsiteX73" fmla="*/ 940168 w 1178215"/>
                  <a:gd name="connsiteY73" fmla="*/ 261540 h 795601"/>
                  <a:gd name="connsiteX74" fmla="*/ 940168 w 1178215"/>
                  <a:gd name="connsiteY74" fmla="*/ 795601 h 795601"/>
                  <a:gd name="connsiteX75" fmla="*/ 996385 w 1178215"/>
                  <a:gd name="connsiteY75" fmla="*/ 795601 h 795601"/>
                  <a:gd name="connsiteX76" fmla="*/ 996385 w 1178215"/>
                  <a:gd name="connsiteY76" fmla="*/ 472354 h 795601"/>
                  <a:gd name="connsiteX77" fmla="*/ 1024494 w 1178215"/>
                  <a:gd name="connsiteY77" fmla="*/ 472354 h 795601"/>
                  <a:gd name="connsiteX78" fmla="*/ 1024494 w 1178215"/>
                  <a:gd name="connsiteY78" fmla="*/ 795601 h 795601"/>
                  <a:gd name="connsiteX79" fmla="*/ 1080711 w 1178215"/>
                  <a:gd name="connsiteY79" fmla="*/ 795601 h 795601"/>
                  <a:gd name="connsiteX80" fmla="*/ 1080711 w 1178215"/>
                  <a:gd name="connsiteY80" fmla="*/ 261540 h 795601"/>
                  <a:gd name="connsiteX81" fmla="*/ 1107273 w 1178215"/>
                  <a:gd name="connsiteY81" fmla="*/ 242426 h 795601"/>
                  <a:gd name="connsiteX82" fmla="*/ 1176701 w 1178215"/>
                  <a:gd name="connsiteY82" fmla="*/ 37375 h 795601"/>
                  <a:gd name="connsiteX83" fmla="*/ 1159180 w 1178215"/>
                  <a:gd name="connsiteY83" fmla="*/ 1692 h 795601"/>
                  <a:gd name="connsiteX84" fmla="*/ 1159133 w 1178215"/>
                  <a:gd name="connsiteY84" fmla="*/ 1677 h 795601"/>
                  <a:gd name="connsiteX0" fmla="*/ 1159133 w 1178215"/>
                  <a:gd name="connsiteY0" fmla="*/ 1677 h 1065382"/>
                  <a:gd name="connsiteX1" fmla="*/ 1123152 w 1178215"/>
                  <a:gd name="connsiteY1" fmla="*/ 18574 h 1065382"/>
                  <a:gd name="connsiteX2" fmla="*/ 1122873 w 1178215"/>
                  <a:gd name="connsiteY2" fmla="*/ 19385 h 1065382"/>
                  <a:gd name="connsiteX3" fmla="*/ 1070451 w 1178215"/>
                  <a:gd name="connsiteY3" fmla="*/ 173982 h 1065382"/>
                  <a:gd name="connsiteX4" fmla="*/ 1010439 w 1178215"/>
                  <a:gd name="connsiteY4" fmla="*/ 163160 h 1065382"/>
                  <a:gd name="connsiteX5" fmla="*/ 949725 w 1178215"/>
                  <a:gd name="connsiteY5" fmla="*/ 174123 h 1065382"/>
                  <a:gd name="connsiteX6" fmla="*/ 898005 w 1178215"/>
                  <a:gd name="connsiteY6" fmla="*/ 19385 h 1065382"/>
                  <a:gd name="connsiteX7" fmla="*/ 859864 w 1178215"/>
                  <a:gd name="connsiteY7" fmla="*/ 2435 h 1065382"/>
                  <a:gd name="connsiteX8" fmla="*/ 842913 w 1178215"/>
                  <a:gd name="connsiteY8" fmla="*/ 19385 h 1065382"/>
                  <a:gd name="connsiteX9" fmla="*/ 790491 w 1178215"/>
                  <a:gd name="connsiteY9" fmla="*/ 173982 h 1065382"/>
                  <a:gd name="connsiteX10" fmla="*/ 729355 w 1178215"/>
                  <a:gd name="connsiteY10" fmla="*/ 163160 h 1065382"/>
                  <a:gd name="connsiteX11" fmla="*/ 668640 w 1178215"/>
                  <a:gd name="connsiteY11" fmla="*/ 173982 h 1065382"/>
                  <a:gd name="connsiteX12" fmla="*/ 616921 w 1178215"/>
                  <a:gd name="connsiteY12" fmla="*/ 19385 h 1065382"/>
                  <a:gd name="connsiteX13" fmla="*/ 578779 w 1178215"/>
                  <a:gd name="connsiteY13" fmla="*/ 2435 h 1065382"/>
                  <a:gd name="connsiteX14" fmla="*/ 561828 w 1178215"/>
                  <a:gd name="connsiteY14" fmla="*/ 19385 h 1065382"/>
                  <a:gd name="connsiteX15" fmla="*/ 509546 w 1178215"/>
                  <a:gd name="connsiteY15" fmla="*/ 173982 h 1065382"/>
                  <a:gd name="connsiteX16" fmla="*/ 448270 w 1178215"/>
                  <a:gd name="connsiteY16" fmla="*/ 163160 h 1065382"/>
                  <a:gd name="connsiteX17" fmla="*/ 387555 w 1178215"/>
                  <a:gd name="connsiteY17" fmla="*/ 174123 h 1065382"/>
                  <a:gd name="connsiteX18" fmla="*/ 335836 w 1178215"/>
                  <a:gd name="connsiteY18" fmla="*/ 19385 h 1065382"/>
                  <a:gd name="connsiteX19" fmla="*/ 297694 w 1178215"/>
                  <a:gd name="connsiteY19" fmla="*/ 2435 h 1065382"/>
                  <a:gd name="connsiteX20" fmla="*/ 280743 w 1178215"/>
                  <a:gd name="connsiteY20" fmla="*/ 19385 h 1065382"/>
                  <a:gd name="connsiteX21" fmla="*/ 228321 w 1178215"/>
                  <a:gd name="connsiteY21" fmla="*/ 173982 h 1065382"/>
                  <a:gd name="connsiteX22" fmla="*/ 167185 w 1178215"/>
                  <a:gd name="connsiteY22" fmla="*/ 163160 h 1065382"/>
                  <a:gd name="connsiteX23" fmla="*/ 106471 w 1178215"/>
                  <a:gd name="connsiteY23" fmla="*/ 174123 h 1065382"/>
                  <a:gd name="connsiteX24" fmla="*/ 54751 w 1178215"/>
                  <a:gd name="connsiteY24" fmla="*/ 19385 h 1065382"/>
                  <a:gd name="connsiteX25" fmla="*/ 19124 w 1178215"/>
                  <a:gd name="connsiteY25" fmla="*/ 1747 h 1065382"/>
                  <a:gd name="connsiteX26" fmla="*/ 1486 w 1178215"/>
                  <a:gd name="connsiteY26" fmla="*/ 37375 h 1065382"/>
                  <a:gd name="connsiteX27" fmla="*/ 70913 w 1178215"/>
                  <a:gd name="connsiteY27" fmla="*/ 242426 h 1065382"/>
                  <a:gd name="connsiteX28" fmla="*/ 96914 w 1178215"/>
                  <a:gd name="connsiteY28" fmla="*/ 261540 h 1065382"/>
                  <a:gd name="connsiteX29" fmla="*/ 96914 w 1178215"/>
                  <a:gd name="connsiteY29" fmla="*/ 345865 h 1065382"/>
                  <a:gd name="connsiteX30" fmla="*/ 54751 w 1178215"/>
                  <a:gd name="connsiteY30" fmla="*/ 556679 h 1065382"/>
                  <a:gd name="connsiteX31" fmla="*/ 96914 w 1178215"/>
                  <a:gd name="connsiteY31" fmla="*/ 556679 h 1065382"/>
                  <a:gd name="connsiteX32" fmla="*/ 96914 w 1178215"/>
                  <a:gd name="connsiteY32" fmla="*/ 795601 h 1065382"/>
                  <a:gd name="connsiteX33" fmla="*/ 153131 w 1178215"/>
                  <a:gd name="connsiteY33" fmla="*/ 795601 h 1065382"/>
                  <a:gd name="connsiteX34" fmla="*/ 153131 w 1178215"/>
                  <a:gd name="connsiteY34" fmla="*/ 556679 h 1065382"/>
                  <a:gd name="connsiteX35" fmla="*/ 181239 w 1178215"/>
                  <a:gd name="connsiteY35" fmla="*/ 556679 h 1065382"/>
                  <a:gd name="connsiteX36" fmla="*/ 181239 w 1178215"/>
                  <a:gd name="connsiteY36" fmla="*/ 795601 h 1065382"/>
                  <a:gd name="connsiteX37" fmla="*/ 237456 w 1178215"/>
                  <a:gd name="connsiteY37" fmla="*/ 795601 h 1065382"/>
                  <a:gd name="connsiteX38" fmla="*/ 237456 w 1178215"/>
                  <a:gd name="connsiteY38" fmla="*/ 556679 h 1065382"/>
                  <a:gd name="connsiteX39" fmla="*/ 279619 w 1178215"/>
                  <a:gd name="connsiteY39" fmla="*/ 556679 h 1065382"/>
                  <a:gd name="connsiteX40" fmla="*/ 237456 w 1178215"/>
                  <a:gd name="connsiteY40" fmla="*/ 345865 h 1065382"/>
                  <a:gd name="connsiteX41" fmla="*/ 237456 w 1178215"/>
                  <a:gd name="connsiteY41" fmla="*/ 261540 h 1065382"/>
                  <a:gd name="connsiteX42" fmla="*/ 264019 w 1178215"/>
                  <a:gd name="connsiteY42" fmla="*/ 242426 h 1065382"/>
                  <a:gd name="connsiteX43" fmla="*/ 307727 w 1178215"/>
                  <a:gd name="connsiteY43" fmla="*/ 113408 h 1065382"/>
                  <a:gd name="connsiteX44" fmla="*/ 351436 w 1178215"/>
                  <a:gd name="connsiteY44" fmla="*/ 242426 h 1065382"/>
                  <a:gd name="connsiteX45" fmla="*/ 377999 w 1178215"/>
                  <a:gd name="connsiteY45" fmla="*/ 261540 h 1065382"/>
                  <a:gd name="connsiteX46" fmla="*/ 377999 w 1178215"/>
                  <a:gd name="connsiteY46" fmla="*/ 795601 h 1065382"/>
                  <a:gd name="connsiteX47" fmla="*/ 434216 w 1178215"/>
                  <a:gd name="connsiteY47" fmla="*/ 795601 h 1065382"/>
                  <a:gd name="connsiteX48" fmla="*/ 434216 w 1178215"/>
                  <a:gd name="connsiteY48" fmla="*/ 472354 h 1065382"/>
                  <a:gd name="connsiteX49" fmla="*/ 462324 w 1178215"/>
                  <a:gd name="connsiteY49" fmla="*/ 472354 h 1065382"/>
                  <a:gd name="connsiteX50" fmla="*/ 462324 w 1178215"/>
                  <a:gd name="connsiteY50" fmla="*/ 795601 h 1065382"/>
                  <a:gd name="connsiteX51" fmla="*/ 518541 w 1178215"/>
                  <a:gd name="connsiteY51" fmla="*/ 795601 h 1065382"/>
                  <a:gd name="connsiteX52" fmla="*/ 518541 w 1178215"/>
                  <a:gd name="connsiteY52" fmla="*/ 261540 h 1065382"/>
                  <a:gd name="connsiteX53" fmla="*/ 545104 w 1178215"/>
                  <a:gd name="connsiteY53" fmla="*/ 242426 h 1065382"/>
                  <a:gd name="connsiteX54" fmla="*/ 588812 w 1178215"/>
                  <a:gd name="connsiteY54" fmla="*/ 113408 h 1065382"/>
                  <a:gd name="connsiteX55" fmla="*/ 632521 w 1178215"/>
                  <a:gd name="connsiteY55" fmla="*/ 242426 h 1065382"/>
                  <a:gd name="connsiteX56" fmla="*/ 659083 w 1178215"/>
                  <a:gd name="connsiteY56" fmla="*/ 261540 h 1065382"/>
                  <a:gd name="connsiteX57" fmla="*/ 659083 w 1178215"/>
                  <a:gd name="connsiteY57" fmla="*/ 345865 h 1065382"/>
                  <a:gd name="connsiteX58" fmla="*/ 616921 w 1178215"/>
                  <a:gd name="connsiteY58" fmla="*/ 556679 h 1065382"/>
                  <a:gd name="connsiteX59" fmla="*/ 659083 w 1178215"/>
                  <a:gd name="connsiteY59" fmla="*/ 556679 h 1065382"/>
                  <a:gd name="connsiteX60" fmla="*/ 659083 w 1178215"/>
                  <a:gd name="connsiteY60" fmla="*/ 795601 h 1065382"/>
                  <a:gd name="connsiteX61" fmla="*/ 715300 w 1178215"/>
                  <a:gd name="connsiteY61" fmla="*/ 795601 h 1065382"/>
                  <a:gd name="connsiteX62" fmla="*/ 715300 w 1178215"/>
                  <a:gd name="connsiteY62" fmla="*/ 556679 h 1065382"/>
                  <a:gd name="connsiteX63" fmla="*/ 743409 w 1178215"/>
                  <a:gd name="connsiteY63" fmla="*/ 556679 h 1065382"/>
                  <a:gd name="connsiteX64" fmla="*/ 743409 w 1178215"/>
                  <a:gd name="connsiteY64" fmla="*/ 795601 h 1065382"/>
                  <a:gd name="connsiteX65" fmla="*/ 799626 w 1178215"/>
                  <a:gd name="connsiteY65" fmla="*/ 795601 h 1065382"/>
                  <a:gd name="connsiteX66" fmla="*/ 799626 w 1178215"/>
                  <a:gd name="connsiteY66" fmla="*/ 556679 h 1065382"/>
                  <a:gd name="connsiteX67" fmla="*/ 841789 w 1178215"/>
                  <a:gd name="connsiteY67" fmla="*/ 556679 h 1065382"/>
                  <a:gd name="connsiteX68" fmla="*/ 799626 w 1178215"/>
                  <a:gd name="connsiteY68" fmla="*/ 345865 h 1065382"/>
                  <a:gd name="connsiteX69" fmla="*/ 799626 w 1178215"/>
                  <a:gd name="connsiteY69" fmla="*/ 261540 h 1065382"/>
                  <a:gd name="connsiteX70" fmla="*/ 826188 w 1178215"/>
                  <a:gd name="connsiteY70" fmla="*/ 242426 h 1065382"/>
                  <a:gd name="connsiteX71" fmla="*/ 869897 w 1178215"/>
                  <a:gd name="connsiteY71" fmla="*/ 113408 h 1065382"/>
                  <a:gd name="connsiteX72" fmla="*/ 913606 w 1178215"/>
                  <a:gd name="connsiteY72" fmla="*/ 242426 h 1065382"/>
                  <a:gd name="connsiteX73" fmla="*/ 940168 w 1178215"/>
                  <a:gd name="connsiteY73" fmla="*/ 261540 h 1065382"/>
                  <a:gd name="connsiteX74" fmla="*/ 940168 w 1178215"/>
                  <a:gd name="connsiteY74" fmla="*/ 795601 h 1065382"/>
                  <a:gd name="connsiteX75" fmla="*/ 996385 w 1178215"/>
                  <a:gd name="connsiteY75" fmla="*/ 795601 h 1065382"/>
                  <a:gd name="connsiteX76" fmla="*/ 996385 w 1178215"/>
                  <a:gd name="connsiteY76" fmla="*/ 472354 h 1065382"/>
                  <a:gd name="connsiteX77" fmla="*/ 1024494 w 1178215"/>
                  <a:gd name="connsiteY77" fmla="*/ 472354 h 1065382"/>
                  <a:gd name="connsiteX78" fmla="*/ 1024494 w 1178215"/>
                  <a:gd name="connsiteY78" fmla="*/ 795601 h 1065382"/>
                  <a:gd name="connsiteX79" fmla="*/ 1035747 w 1178215"/>
                  <a:gd name="connsiteY79" fmla="*/ 1065382 h 1065382"/>
                  <a:gd name="connsiteX80" fmla="*/ 1080711 w 1178215"/>
                  <a:gd name="connsiteY80" fmla="*/ 261540 h 1065382"/>
                  <a:gd name="connsiteX81" fmla="*/ 1107273 w 1178215"/>
                  <a:gd name="connsiteY81" fmla="*/ 242426 h 1065382"/>
                  <a:gd name="connsiteX82" fmla="*/ 1176701 w 1178215"/>
                  <a:gd name="connsiteY82" fmla="*/ 37375 h 1065382"/>
                  <a:gd name="connsiteX83" fmla="*/ 1159180 w 1178215"/>
                  <a:gd name="connsiteY83" fmla="*/ 1692 h 1065382"/>
                  <a:gd name="connsiteX84" fmla="*/ 1159133 w 1178215"/>
                  <a:gd name="connsiteY84" fmla="*/ 1677 h 1065382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34216 w 1178215"/>
                  <a:gd name="connsiteY47" fmla="*/ 795601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62324 w 1178215"/>
                  <a:gd name="connsiteY50" fmla="*/ 795601 h 1070781"/>
                  <a:gd name="connsiteX51" fmla="*/ 518541 w 1178215"/>
                  <a:gd name="connsiteY51" fmla="*/ 795601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59083 w 1178215"/>
                  <a:gd name="connsiteY60" fmla="*/ 795601 h 1070781"/>
                  <a:gd name="connsiteX61" fmla="*/ 715300 w 1178215"/>
                  <a:gd name="connsiteY61" fmla="*/ 795601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43409 w 1178215"/>
                  <a:gd name="connsiteY64" fmla="*/ 795601 h 1070781"/>
                  <a:gd name="connsiteX65" fmla="*/ 799626 w 1178215"/>
                  <a:gd name="connsiteY65" fmla="*/ 795601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40168 w 1178215"/>
                  <a:gd name="connsiteY74" fmla="*/ 795601 h 1070781"/>
                  <a:gd name="connsiteX75" fmla="*/ 996385 w 1178215"/>
                  <a:gd name="connsiteY75" fmla="*/ 795601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34216 w 1178215"/>
                  <a:gd name="connsiteY47" fmla="*/ 795601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62324 w 1178215"/>
                  <a:gd name="connsiteY50" fmla="*/ 795601 h 1070781"/>
                  <a:gd name="connsiteX51" fmla="*/ 518541 w 1178215"/>
                  <a:gd name="connsiteY51" fmla="*/ 795601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59083 w 1178215"/>
                  <a:gd name="connsiteY60" fmla="*/ 795601 h 1070781"/>
                  <a:gd name="connsiteX61" fmla="*/ 715300 w 1178215"/>
                  <a:gd name="connsiteY61" fmla="*/ 795601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43409 w 1178215"/>
                  <a:gd name="connsiteY64" fmla="*/ 795601 h 1070781"/>
                  <a:gd name="connsiteX65" fmla="*/ 799626 w 1178215"/>
                  <a:gd name="connsiteY65" fmla="*/ 795601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40168 w 1178215"/>
                  <a:gd name="connsiteY74" fmla="*/ 795601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34216 w 1178215"/>
                  <a:gd name="connsiteY47" fmla="*/ 795601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62324 w 1178215"/>
                  <a:gd name="connsiteY50" fmla="*/ 795601 h 1070781"/>
                  <a:gd name="connsiteX51" fmla="*/ 518541 w 1178215"/>
                  <a:gd name="connsiteY51" fmla="*/ 795601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59083 w 1178215"/>
                  <a:gd name="connsiteY60" fmla="*/ 795601 h 1070781"/>
                  <a:gd name="connsiteX61" fmla="*/ 715300 w 1178215"/>
                  <a:gd name="connsiteY61" fmla="*/ 795601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43409 w 1178215"/>
                  <a:gd name="connsiteY64" fmla="*/ 795601 h 1070781"/>
                  <a:gd name="connsiteX65" fmla="*/ 799626 w 1178215"/>
                  <a:gd name="connsiteY65" fmla="*/ 795601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34216 w 1178215"/>
                  <a:gd name="connsiteY47" fmla="*/ 795601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62324 w 1178215"/>
                  <a:gd name="connsiteY50" fmla="*/ 795601 h 1070781"/>
                  <a:gd name="connsiteX51" fmla="*/ 518541 w 1178215"/>
                  <a:gd name="connsiteY51" fmla="*/ 795601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59083 w 1178215"/>
                  <a:gd name="connsiteY60" fmla="*/ 795601 h 1070781"/>
                  <a:gd name="connsiteX61" fmla="*/ 715300 w 1178215"/>
                  <a:gd name="connsiteY61" fmla="*/ 795601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43409 w 1178215"/>
                  <a:gd name="connsiteY64" fmla="*/ 795601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34216 w 1178215"/>
                  <a:gd name="connsiteY47" fmla="*/ 795601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62324 w 1178215"/>
                  <a:gd name="connsiteY50" fmla="*/ 795601 h 1070781"/>
                  <a:gd name="connsiteX51" fmla="*/ 518541 w 1178215"/>
                  <a:gd name="connsiteY51" fmla="*/ 795601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59083 w 1178215"/>
                  <a:gd name="connsiteY60" fmla="*/ 795601 h 1070781"/>
                  <a:gd name="connsiteX61" fmla="*/ 715300 w 1178215"/>
                  <a:gd name="connsiteY61" fmla="*/ 795601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34216 w 1178215"/>
                  <a:gd name="connsiteY47" fmla="*/ 795601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62324 w 1178215"/>
                  <a:gd name="connsiteY50" fmla="*/ 795601 h 1070781"/>
                  <a:gd name="connsiteX51" fmla="*/ 518541 w 1178215"/>
                  <a:gd name="connsiteY51" fmla="*/ 795601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59083 w 1178215"/>
                  <a:gd name="connsiteY60" fmla="*/ 795601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34216 w 1178215"/>
                  <a:gd name="connsiteY47" fmla="*/ 795601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62324 w 1178215"/>
                  <a:gd name="connsiteY50" fmla="*/ 795601 h 1070781"/>
                  <a:gd name="connsiteX51" fmla="*/ 518541 w 1178215"/>
                  <a:gd name="connsiteY51" fmla="*/ 795601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34216 w 1178215"/>
                  <a:gd name="connsiteY47" fmla="*/ 795601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62324 w 1178215"/>
                  <a:gd name="connsiteY50" fmla="*/ 795601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34216 w 1178215"/>
                  <a:gd name="connsiteY47" fmla="*/ 795601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77999 w 1178215"/>
                  <a:gd name="connsiteY46" fmla="*/ 795601 h 1070781"/>
                  <a:gd name="connsiteX47" fmla="*/ 419573 w 1178215"/>
                  <a:gd name="connsiteY47" fmla="*/ 895562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7456 w 1178215"/>
                  <a:gd name="connsiteY37" fmla="*/ 795601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81239 w 1178215"/>
                  <a:gd name="connsiteY36" fmla="*/ 795601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53131 w 1178215"/>
                  <a:gd name="connsiteY33" fmla="*/ 795601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24494 w 1178215"/>
                  <a:gd name="connsiteY77" fmla="*/ 472354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96385 w 1178215"/>
                  <a:gd name="connsiteY76" fmla="*/ 472354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34216 w 1178215"/>
                  <a:gd name="connsiteY48" fmla="*/ 472354 h 1070781"/>
                  <a:gd name="connsiteX49" fmla="*/ 462324 w 1178215"/>
                  <a:gd name="connsiteY49" fmla="*/ 472354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34216 w 1178215"/>
                  <a:gd name="connsiteY48" fmla="*/ 472354 h 1070781"/>
                  <a:gd name="connsiteX49" fmla="*/ 457695 w 1178215"/>
                  <a:gd name="connsiteY49" fmla="*/ 622453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7695 w 1178215"/>
                  <a:gd name="connsiteY49" fmla="*/ 622453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9626 w 1178215"/>
                  <a:gd name="connsiteY66" fmla="*/ 55667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7695 w 1178215"/>
                  <a:gd name="connsiteY49" fmla="*/ 622453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41789 w 1178215"/>
                  <a:gd name="connsiteY67" fmla="*/ 556679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7695 w 1178215"/>
                  <a:gd name="connsiteY49" fmla="*/ 622453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43409 w 1178215"/>
                  <a:gd name="connsiteY63" fmla="*/ 556679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7695 w 1178215"/>
                  <a:gd name="connsiteY49" fmla="*/ 622453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15300 w 1178215"/>
                  <a:gd name="connsiteY62" fmla="*/ 55667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7695 w 1178215"/>
                  <a:gd name="connsiteY49" fmla="*/ 622453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59083 w 1178215"/>
                  <a:gd name="connsiteY59" fmla="*/ 556679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7695 w 1178215"/>
                  <a:gd name="connsiteY49" fmla="*/ 622453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616921 w 1178215"/>
                  <a:gd name="connsiteY58" fmla="*/ 556679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7695 w 1178215"/>
                  <a:gd name="connsiteY49" fmla="*/ 622453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597452 w 1178215"/>
                  <a:gd name="connsiteY58" fmla="*/ 647765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9978 w 1178215"/>
                  <a:gd name="connsiteY49" fmla="*/ 623128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597452 w 1178215"/>
                  <a:gd name="connsiteY58" fmla="*/ 647765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79619 w 1178215"/>
                  <a:gd name="connsiteY39" fmla="*/ 556679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9978 w 1178215"/>
                  <a:gd name="connsiteY49" fmla="*/ 623128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597452 w 1178215"/>
                  <a:gd name="connsiteY58" fmla="*/ 647765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37456 w 1178215"/>
                  <a:gd name="connsiteY38" fmla="*/ 556679 h 1070781"/>
                  <a:gd name="connsiteX39" fmla="*/ 285324 w 1178215"/>
                  <a:gd name="connsiteY39" fmla="*/ 612993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9978 w 1178215"/>
                  <a:gd name="connsiteY49" fmla="*/ 623128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597452 w 1178215"/>
                  <a:gd name="connsiteY58" fmla="*/ 647765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239 w 1178215"/>
                  <a:gd name="connsiteY35" fmla="*/ 556679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28111 w 1178215"/>
                  <a:gd name="connsiteY38" fmla="*/ 613511 h 1070781"/>
                  <a:gd name="connsiteX39" fmla="*/ 285324 w 1178215"/>
                  <a:gd name="connsiteY39" fmla="*/ 612993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9978 w 1178215"/>
                  <a:gd name="connsiteY49" fmla="*/ 623128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597452 w 1178215"/>
                  <a:gd name="connsiteY58" fmla="*/ 647765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3131 w 1178215"/>
                  <a:gd name="connsiteY34" fmla="*/ 556679 h 1070781"/>
                  <a:gd name="connsiteX35" fmla="*/ 181185 w 1178215"/>
                  <a:gd name="connsiteY35" fmla="*/ 598874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28111 w 1178215"/>
                  <a:gd name="connsiteY38" fmla="*/ 613511 h 1070781"/>
                  <a:gd name="connsiteX39" fmla="*/ 285324 w 1178215"/>
                  <a:gd name="connsiteY39" fmla="*/ 612993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9978 w 1178215"/>
                  <a:gd name="connsiteY49" fmla="*/ 623128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597452 w 1178215"/>
                  <a:gd name="connsiteY58" fmla="*/ 647765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6914 w 1178215"/>
                  <a:gd name="connsiteY31" fmla="*/ 556679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9928 w 1178215"/>
                  <a:gd name="connsiteY34" fmla="*/ 600899 h 1070781"/>
                  <a:gd name="connsiteX35" fmla="*/ 181185 w 1178215"/>
                  <a:gd name="connsiteY35" fmla="*/ 598874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28111 w 1178215"/>
                  <a:gd name="connsiteY38" fmla="*/ 613511 h 1070781"/>
                  <a:gd name="connsiteX39" fmla="*/ 285324 w 1178215"/>
                  <a:gd name="connsiteY39" fmla="*/ 612993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9978 w 1178215"/>
                  <a:gd name="connsiteY49" fmla="*/ 623128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597452 w 1178215"/>
                  <a:gd name="connsiteY58" fmla="*/ 647765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54751 w 1178215"/>
                  <a:gd name="connsiteY30" fmla="*/ 556679 h 1070781"/>
                  <a:gd name="connsiteX31" fmla="*/ 92710 w 1178215"/>
                  <a:gd name="connsiteY31" fmla="*/ 587715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9928 w 1178215"/>
                  <a:gd name="connsiteY34" fmla="*/ 600899 h 1070781"/>
                  <a:gd name="connsiteX35" fmla="*/ 181185 w 1178215"/>
                  <a:gd name="connsiteY35" fmla="*/ 598874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28111 w 1178215"/>
                  <a:gd name="connsiteY38" fmla="*/ 613511 h 1070781"/>
                  <a:gd name="connsiteX39" fmla="*/ 285324 w 1178215"/>
                  <a:gd name="connsiteY39" fmla="*/ 612993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9978 w 1178215"/>
                  <a:gd name="connsiteY49" fmla="*/ 623128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597452 w 1178215"/>
                  <a:gd name="connsiteY58" fmla="*/ 647765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  <a:gd name="connsiteX0" fmla="*/ 1159133 w 1178215"/>
                  <a:gd name="connsiteY0" fmla="*/ 1677 h 1070781"/>
                  <a:gd name="connsiteX1" fmla="*/ 1123152 w 1178215"/>
                  <a:gd name="connsiteY1" fmla="*/ 18574 h 1070781"/>
                  <a:gd name="connsiteX2" fmla="*/ 1122873 w 1178215"/>
                  <a:gd name="connsiteY2" fmla="*/ 19385 h 1070781"/>
                  <a:gd name="connsiteX3" fmla="*/ 1070451 w 1178215"/>
                  <a:gd name="connsiteY3" fmla="*/ 173982 h 1070781"/>
                  <a:gd name="connsiteX4" fmla="*/ 1010439 w 1178215"/>
                  <a:gd name="connsiteY4" fmla="*/ 163160 h 1070781"/>
                  <a:gd name="connsiteX5" fmla="*/ 949725 w 1178215"/>
                  <a:gd name="connsiteY5" fmla="*/ 174123 h 1070781"/>
                  <a:gd name="connsiteX6" fmla="*/ 898005 w 1178215"/>
                  <a:gd name="connsiteY6" fmla="*/ 19385 h 1070781"/>
                  <a:gd name="connsiteX7" fmla="*/ 859864 w 1178215"/>
                  <a:gd name="connsiteY7" fmla="*/ 2435 h 1070781"/>
                  <a:gd name="connsiteX8" fmla="*/ 842913 w 1178215"/>
                  <a:gd name="connsiteY8" fmla="*/ 19385 h 1070781"/>
                  <a:gd name="connsiteX9" fmla="*/ 790491 w 1178215"/>
                  <a:gd name="connsiteY9" fmla="*/ 173982 h 1070781"/>
                  <a:gd name="connsiteX10" fmla="*/ 729355 w 1178215"/>
                  <a:gd name="connsiteY10" fmla="*/ 163160 h 1070781"/>
                  <a:gd name="connsiteX11" fmla="*/ 668640 w 1178215"/>
                  <a:gd name="connsiteY11" fmla="*/ 173982 h 1070781"/>
                  <a:gd name="connsiteX12" fmla="*/ 616921 w 1178215"/>
                  <a:gd name="connsiteY12" fmla="*/ 19385 h 1070781"/>
                  <a:gd name="connsiteX13" fmla="*/ 578779 w 1178215"/>
                  <a:gd name="connsiteY13" fmla="*/ 2435 h 1070781"/>
                  <a:gd name="connsiteX14" fmla="*/ 561828 w 1178215"/>
                  <a:gd name="connsiteY14" fmla="*/ 19385 h 1070781"/>
                  <a:gd name="connsiteX15" fmla="*/ 509546 w 1178215"/>
                  <a:gd name="connsiteY15" fmla="*/ 173982 h 1070781"/>
                  <a:gd name="connsiteX16" fmla="*/ 448270 w 1178215"/>
                  <a:gd name="connsiteY16" fmla="*/ 163160 h 1070781"/>
                  <a:gd name="connsiteX17" fmla="*/ 387555 w 1178215"/>
                  <a:gd name="connsiteY17" fmla="*/ 174123 h 1070781"/>
                  <a:gd name="connsiteX18" fmla="*/ 335836 w 1178215"/>
                  <a:gd name="connsiteY18" fmla="*/ 19385 h 1070781"/>
                  <a:gd name="connsiteX19" fmla="*/ 297694 w 1178215"/>
                  <a:gd name="connsiteY19" fmla="*/ 2435 h 1070781"/>
                  <a:gd name="connsiteX20" fmla="*/ 280743 w 1178215"/>
                  <a:gd name="connsiteY20" fmla="*/ 19385 h 1070781"/>
                  <a:gd name="connsiteX21" fmla="*/ 228321 w 1178215"/>
                  <a:gd name="connsiteY21" fmla="*/ 173982 h 1070781"/>
                  <a:gd name="connsiteX22" fmla="*/ 167185 w 1178215"/>
                  <a:gd name="connsiteY22" fmla="*/ 163160 h 1070781"/>
                  <a:gd name="connsiteX23" fmla="*/ 106471 w 1178215"/>
                  <a:gd name="connsiteY23" fmla="*/ 174123 h 1070781"/>
                  <a:gd name="connsiteX24" fmla="*/ 54751 w 1178215"/>
                  <a:gd name="connsiteY24" fmla="*/ 19385 h 1070781"/>
                  <a:gd name="connsiteX25" fmla="*/ 19124 w 1178215"/>
                  <a:gd name="connsiteY25" fmla="*/ 1747 h 1070781"/>
                  <a:gd name="connsiteX26" fmla="*/ 1486 w 1178215"/>
                  <a:gd name="connsiteY26" fmla="*/ 37375 h 1070781"/>
                  <a:gd name="connsiteX27" fmla="*/ 70913 w 1178215"/>
                  <a:gd name="connsiteY27" fmla="*/ 242426 h 1070781"/>
                  <a:gd name="connsiteX28" fmla="*/ 96914 w 1178215"/>
                  <a:gd name="connsiteY28" fmla="*/ 261540 h 1070781"/>
                  <a:gd name="connsiteX29" fmla="*/ 96914 w 1178215"/>
                  <a:gd name="connsiteY29" fmla="*/ 345865 h 1070781"/>
                  <a:gd name="connsiteX30" fmla="*/ 45303 w 1178215"/>
                  <a:gd name="connsiteY30" fmla="*/ 588649 h 1070781"/>
                  <a:gd name="connsiteX31" fmla="*/ 92710 w 1178215"/>
                  <a:gd name="connsiteY31" fmla="*/ 587715 h 1070781"/>
                  <a:gd name="connsiteX32" fmla="*/ 96914 w 1178215"/>
                  <a:gd name="connsiteY32" fmla="*/ 795601 h 1070781"/>
                  <a:gd name="connsiteX33" fmla="*/ 149757 w 1178215"/>
                  <a:gd name="connsiteY33" fmla="*/ 807019 h 1070781"/>
                  <a:gd name="connsiteX34" fmla="*/ 159928 w 1178215"/>
                  <a:gd name="connsiteY34" fmla="*/ 600899 h 1070781"/>
                  <a:gd name="connsiteX35" fmla="*/ 181185 w 1178215"/>
                  <a:gd name="connsiteY35" fmla="*/ 598874 h 1070781"/>
                  <a:gd name="connsiteX36" fmla="*/ 175840 w 1178215"/>
                  <a:gd name="connsiteY36" fmla="*/ 813870 h 1070781"/>
                  <a:gd name="connsiteX37" fmla="*/ 230810 w 1178215"/>
                  <a:gd name="connsiteY37" fmla="*/ 843298 h 1070781"/>
                  <a:gd name="connsiteX38" fmla="*/ 228111 w 1178215"/>
                  <a:gd name="connsiteY38" fmla="*/ 613511 h 1070781"/>
                  <a:gd name="connsiteX39" fmla="*/ 285324 w 1178215"/>
                  <a:gd name="connsiteY39" fmla="*/ 612993 h 1070781"/>
                  <a:gd name="connsiteX40" fmla="*/ 237456 w 1178215"/>
                  <a:gd name="connsiteY40" fmla="*/ 345865 h 1070781"/>
                  <a:gd name="connsiteX41" fmla="*/ 237456 w 1178215"/>
                  <a:gd name="connsiteY41" fmla="*/ 261540 h 1070781"/>
                  <a:gd name="connsiteX42" fmla="*/ 264019 w 1178215"/>
                  <a:gd name="connsiteY42" fmla="*/ 242426 h 1070781"/>
                  <a:gd name="connsiteX43" fmla="*/ 307727 w 1178215"/>
                  <a:gd name="connsiteY43" fmla="*/ 113408 h 1070781"/>
                  <a:gd name="connsiteX44" fmla="*/ 351436 w 1178215"/>
                  <a:gd name="connsiteY44" fmla="*/ 242426 h 1070781"/>
                  <a:gd name="connsiteX45" fmla="*/ 377999 w 1178215"/>
                  <a:gd name="connsiteY45" fmla="*/ 261540 h 1070781"/>
                  <a:gd name="connsiteX46" fmla="*/ 362580 w 1178215"/>
                  <a:gd name="connsiteY46" fmla="*/ 872985 h 1070781"/>
                  <a:gd name="connsiteX47" fmla="*/ 419573 w 1178215"/>
                  <a:gd name="connsiteY47" fmla="*/ 895562 h 1070781"/>
                  <a:gd name="connsiteX48" fmla="*/ 427979 w 1178215"/>
                  <a:gd name="connsiteY48" fmla="*/ 619494 h 1070781"/>
                  <a:gd name="connsiteX49" fmla="*/ 459978 w 1178215"/>
                  <a:gd name="connsiteY49" fmla="*/ 623128 h 1070781"/>
                  <a:gd name="connsiteX50" fmla="*/ 455465 w 1178215"/>
                  <a:gd name="connsiteY50" fmla="*/ 902829 h 1070781"/>
                  <a:gd name="connsiteX51" fmla="*/ 499018 w 1178215"/>
                  <a:gd name="connsiteY51" fmla="*/ 928882 h 1070781"/>
                  <a:gd name="connsiteX52" fmla="*/ 518541 w 1178215"/>
                  <a:gd name="connsiteY52" fmla="*/ 261540 h 1070781"/>
                  <a:gd name="connsiteX53" fmla="*/ 545104 w 1178215"/>
                  <a:gd name="connsiteY53" fmla="*/ 242426 h 1070781"/>
                  <a:gd name="connsiteX54" fmla="*/ 588812 w 1178215"/>
                  <a:gd name="connsiteY54" fmla="*/ 113408 h 1070781"/>
                  <a:gd name="connsiteX55" fmla="*/ 632521 w 1178215"/>
                  <a:gd name="connsiteY55" fmla="*/ 242426 h 1070781"/>
                  <a:gd name="connsiteX56" fmla="*/ 659083 w 1178215"/>
                  <a:gd name="connsiteY56" fmla="*/ 261540 h 1070781"/>
                  <a:gd name="connsiteX57" fmla="*/ 659083 w 1178215"/>
                  <a:gd name="connsiteY57" fmla="*/ 345865 h 1070781"/>
                  <a:gd name="connsiteX58" fmla="*/ 597452 w 1178215"/>
                  <a:gd name="connsiteY58" fmla="*/ 647765 h 1070781"/>
                  <a:gd name="connsiteX59" fmla="*/ 665408 w 1178215"/>
                  <a:gd name="connsiteY59" fmla="*/ 652904 h 1070781"/>
                  <a:gd name="connsiteX60" fmla="*/ 639662 w 1178215"/>
                  <a:gd name="connsiteY60" fmla="*/ 953742 h 1070781"/>
                  <a:gd name="connsiteX61" fmla="*/ 690221 w 1178215"/>
                  <a:gd name="connsiteY61" fmla="*/ 964486 h 1070781"/>
                  <a:gd name="connsiteX62" fmla="*/ 706834 w 1178215"/>
                  <a:gd name="connsiteY62" fmla="*/ 660949 h 1070781"/>
                  <a:gd name="connsiteX63" fmla="*/ 732243 w 1178215"/>
                  <a:gd name="connsiteY63" fmla="*/ 670082 h 1070781"/>
                  <a:gd name="connsiteX64" fmla="*/ 724764 w 1178215"/>
                  <a:gd name="connsiteY64" fmla="*/ 976320 h 1070781"/>
                  <a:gd name="connsiteX65" fmla="*/ 775324 w 1178215"/>
                  <a:gd name="connsiteY65" fmla="*/ 987064 h 1070781"/>
                  <a:gd name="connsiteX66" fmla="*/ 791677 w 1178215"/>
                  <a:gd name="connsiteY66" fmla="*/ 675999 h 1070781"/>
                  <a:gd name="connsiteX67" fmla="*/ 865811 w 1178215"/>
                  <a:gd name="connsiteY67" fmla="*/ 685447 h 1070781"/>
                  <a:gd name="connsiteX68" fmla="*/ 799626 w 1178215"/>
                  <a:gd name="connsiteY68" fmla="*/ 345865 h 1070781"/>
                  <a:gd name="connsiteX69" fmla="*/ 799626 w 1178215"/>
                  <a:gd name="connsiteY69" fmla="*/ 261540 h 1070781"/>
                  <a:gd name="connsiteX70" fmla="*/ 826188 w 1178215"/>
                  <a:gd name="connsiteY70" fmla="*/ 242426 h 1070781"/>
                  <a:gd name="connsiteX71" fmla="*/ 869897 w 1178215"/>
                  <a:gd name="connsiteY71" fmla="*/ 113408 h 1070781"/>
                  <a:gd name="connsiteX72" fmla="*/ 913606 w 1178215"/>
                  <a:gd name="connsiteY72" fmla="*/ 242426 h 1070781"/>
                  <a:gd name="connsiteX73" fmla="*/ 940168 w 1178215"/>
                  <a:gd name="connsiteY73" fmla="*/ 261540 h 1070781"/>
                  <a:gd name="connsiteX74" fmla="*/ 911245 w 1178215"/>
                  <a:gd name="connsiteY74" fmla="*/ 1027909 h 1070781"/>
                  <a:gd name="connsiteX75" fmla="*/ 963256 w 1178215"/>
                  <a:gd name="connsiteY75" fmla="*/ 1058946 h 1070781"/>
                  <a:gd name="connsiteX76" fmla="*/ 984278 w 1178215"/>
                  <a:gd name="connsiteY76" fmla="*/ 689769 h 1070781"/>
                  <a:gd name="connsiteX77" fmla="*/ 1011037 w 1178215"/>
                  <a:gd name="connsiteY77" fmla="*/ 694336 h 1070781"/>
                  <a:gd name="connsiteX78" fmla="*/ 997798 w 1178215"/>
                  <a:gd name="connsiteY78" fmla="*/ 1070781 h 1070781"/>
                  <a:gd name="connsiteX79" fmla="*/ 1035747 w 1178215"/>
                  <a:gd name="connsiteY79" fmla="*/ 1065382 h 1070781"/>
                  <a:gd name="connsiteX80" fmla="*/ 1080711 w 1178215"/>
                  <a:gd name="connsiteY80" fmla="*/ 261540 h 1070781"/>
                  <a:gd name="connsiteX81" fmla="*/ 1107273 w 1178215"/>
                  <a:gd name="connsiteY81" fmla="*/ 242426 h 1070781"/>
                  <a:gd name="connsiteX82" fmla="*/ 1176701 w 1178215"/>
                  <a:gd name="connsiteY82" fmla="*/ 37375 h 1070781"/>
                  <a:gd name="connsiteX83" fmla="*/ 1159180 w 1178215"/>
                  <a:gd name="connsiteY83" fmla="*/ 1692 h 1070781"/>
                  <a:gd name="connsiteX84" fmla="*/ 1159133 w 1178215"/>
                  <a:gd name="connsiteY84" fmla="*/ 1677 h 10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178215" h="1070781">
                    <a:moveTo>
                      <a:pt x="1159133" y="1677"/>
                    </a:moveTo>
                    <a:cubicBezTo>
                      <a:pt x="1144531" y="-3593"/>
                      <a:pt x="1128422" y="3972"/>
                      <a:pt x="1123152" y="18574"/>
                    </a:cubicBezTo>
                    <a:cubicBezTo>
                      <a:pt x="1123055" y="18843"/>
                      <a:pt x="1122962" y="19114"/>
                      <a:pt x="1122873" y="19385"/>
                    </a:cubicBezTo>
                    <a:lnTo>
                      <a:pt x="1070451" y="173982"/>
                    </a:lnTo>
                    <a:cubicBezTo>
                      <a:pt x="1051084" y="167459"/>
                      <a:pt x="1030864" y="163814"/>
                      <a:pt x="1010439" y="163160"/>
                    </a:cubicBezTo>
                    <a:cubicBezTo>
                      <a:pt x="989770" y="163783"/>
                      <a:pt x="969307" y="167476"/>
                      <a:pt x="949725" y="174123"/>
                    </a:cubicBezTo>
                    <a:lnTo>
                      <a:pt x="898005" y="19385"/>
                    </a:lnTo>
                    <a:cubicBezTo>
                      <a:pt x="892153" y="4172"/>
                      <a:pt x="875077" y="-3418"/>
                      <a:pt x="859864" y="2435"/>
                    </a:cubicBezTo>
                    <a:cubicBezTo>
                      <a:pt x="852069" y="5432"/>
                      <a:pt x="845911" y="11592"/>
                      <a:pt x="842913" y="19385"/>
                    </a:cubicBezTo>
                    <a:lnTo>
                      <a:pt x="790491" y="173982"/>
                    </a:lnTo>
                    <a:cubicBezTo>
                      <a:pt x="770767" y="167339"/>
                      <a:pt x="750159" y="163691"/>
                      <a:pt x="729355" y="163160"/>
                    </a:cubicBezTo>
                    <a:cubicBezTo>
                      <a:pt x="708698" y="163798"/>
                      <a:pt x="688245" y="167444"/>
                      <a:pt x="668640" y="173982"/>
                    </a:cubicBezTo>
                    <a:lnTo>
                      <a:pt x="616921" y="19385"/>
                    </a:lnTo>
                    <a:cubicBezTo>
                      <a:pt x="611069" y="4172"/>
                      <a:pt x="593993" y="-3418"/>
                      <a:pt x="578779" y="2435"/>
                    </a:cubicBezTo>
                    <a:cubicBezTo>
                      <a:pt x="570984" y="5432"/>
                      <a:pt x="564826" y="11592"/>
                      <a:pt x="561828" y="19385"/>
                    </a:cubicBezTo>
                    <a:lnTo>
                      <a:pt x="509546" y="173982"/>
                    </a:lnTo>
                    <a:cubicBezTo>
                      <a:pt x="489757" y="167409"/>
                      <a:pt x="469114" y="163763"/>
                      <a:pt x="448270" y="163160"/>
                    </a:cubicBezTo>
                    <a:cubicBezTo>
                      <a:pt x="427600" y="163783"/>
                      <a:pt x="407137" y="167476"/>
                      <a:pt x="387555" y="174123"/>
                    </a:cubicBezTo>
                    <a:lnTo>
                      <a:pt x="335836" y="19385"/>
                    </a:lnTo>
                    <a:cubicBezTo>
                      <a:pt x="329984" y="4172"/>
                      <a:pt x="312908" y="-3418"/>
                      <a:pt x="297694" y="2435"/>
                    </a:cubicBezTo>
                    <a:cubicBezTo>
                      <a:pt x="289900" y="5432"/>
                      <a:pt x="283741" y="11592"/>
                      <a:pt x="280743" y="19385"/>
                    </a:cubicBezTo>
                    <a:lnTo>
                      <a:pt x="228321" y="173982"/>
                    </a:lnTo>
                    <a:cubicBezTo>
                      <a:pt x="208583" y="167399"/>
                      <a:pt x="187984" y="163753"/>
                      <a:pt x="167185" y="163160"/>
                    </a:cubicBezTo>
                    <a:cubicBezTo>
                      <a:pt x="146515" y="163783"/>
                      <a:pt x="126052" y="167476"/>
                      <a:pt x="106471" y="174123"/>
                    </a:cubicBezTo>
                    <a:lnTo>
                      <a:pt x="54751" y="19385"/>
                    </a:lnTo>
                    <a:cubicBezTo>
                      <a:pt x="49783" y="4676"/>
                      <a:pt x="33832" y="-3221"/>
                      <a:pt x="19124" y="1747"/>
                    </a:cubicBezTo>
                    <a:cubicBezTo>
                      <a:pt x="4415" y="6715"/>
                      <a:pt x="-3482" y="22666"/>
                      <a:pt x="1486" y="37375"/>
                    </a:cubicBezTo>
                    <a:lnTo>
                      <a:pt x="70913" y="242426"/>
                    </a:lnTo>
                    <a:cubicBezTo>
                      <a:pt x="74695" y="253633"/>
                      <a:pt x="85089" y="261274"/>
                      <a:pt x="96914" y="261540"/>
                    </a:cubicBezTo>
                    <a:lnTo>
                      <a:pt x="96914" y="345865"/>
                    </a:lnTo>
                    <a:lnTo>
                      <a:pt x="45303" y="588649"/>
                    </a:lnTo>
                    <a:lnTo>
                      <a:pt x="92710" y="587715"/>
                    </a:lnTo>
                    <a:cubicBezTo>
                      <a:pt x="94111" y="657010"/>
                      <a:pt x="95513" y="726306"/>
                      <a:pt x="96914" y="795601"/>
                    </a:cubicBezTo>
                    <a:lnTo>
                      <a:pt x="149757" y="807019"/>
                    </a:lnTo>
                    <a:cubicBezTo>
                      <a:pt x="150882" y="723572"/>
                      <a:pt x="158803" y="684346"/>
                      <a:pt x="159928" y="600899"/>
                    </a:cubicBezTo>
                    <a:lnTo>
                      <a:pt x="181185" y="598874"/>
                    </a:lnTo>
                    <a:lnTo>
                      <a:pt x="175840" y="813870"/>
                    </a:lnTo>
                    <a:lnTo>
                      <a:pt x="230810" y="843298"/>
                    </a:lnTo>
                    <a:cubicBezTo>
                      <a:pt x="229910" y="766702"/>
                      <a:pt x="229011" y="690107"/>
                      <a:pt x="228111" y="613511"/>
                    </a:cubicBezTo>
                    <a:lnTo>
                      <a:pt x="285324" y="612993"/>
                    </a:lnTo>
                    <a:lnTo>
                      <a:pt x="237456" y="345865"/>
                    </a:lnTo>
                    <a:lnTo>
                      <a:pt x="237456" y="261540"/>
                    </a:lnTo>
                    <a:cubicBezTo>
                      <a:pt x="249489" y="261510"/>
                      <a:pt x="260168" y="253826"/>
                      <a:pt x="264019" y="242426"/>
                    </a:cubicBezTo>
                    <a:lnTo>
                      <a:pt x="307727" y="113408"/>
                    </a:lnTo>
                    <a:lnTo>
                      <a:pt x="351436" y="242426"/>
                    </a:lnTo>
                    <a:cubicBezTo>
                      <a:pt x="355287" y="253826"/>
                      <a:pt x="365965" y="261510"/>
                      <a:pt x="377999" y="261540"/>
                    </a:cubicBezTo>
                    <a:lnTo>
                      <a:pt x="362580" y="872985"/>
                    </a:lnTo>
                    <a:lnTo>
                      <a:pt x="419573" y="895562"/>
                    </a:lnTo>
                    <a:lnTo>
                      <a:pt x="427979" y="619494"/>
                    </a:lnTo>
                    <a:lnTo>
                      <a:pt x="459978" y="623128"/>
                    </a:lnTo>
                    <a:cubicBezTo>
                      <a:pt x="459235" y="716587"/>
                      <a:pt x="456208" y="809370"/>
                      <a:pt x="455465" y="902829"/>
                    </a:cubicBezTo>
                    <a:lnTo>
                      <a:pt x="499018" y="928882"/>
                    </a:lnTo>
                    <a:lnTo>
                      <a:pt x="518541" y="261540"/>
                    </a:lnTo>
                    <a:cubicBezTo>
                      <a:pt x="530574" y="261510"/>
                      <a:pt x="541253" y="253826"/>
                      <a:pt x="545104" y="242426"/>
                    </a:cubicBezTo>
                    <a:lnTo>
                      <a:pt x="588812" y="113408"/>
                    </a:lnTo>
                    <a:lnTo>
                      <a:pt x="632521" y="242426"/>
                    </a:lnTo>
                    <a:cubicBezTo>
                      <a:pt x="636372" y="253826"/>
                      <a:pt x="647050" y="261510"/>
                      <a:pt x="659083" y="261540"/>
                    </a:cubicBezTo>
                    <a:lnTo>
                      <a:pt x="659083" y="345865"/>
                    </a:lnTo>
                    <a:lnTo>
                      <a:pt x="597452" y="647765"/>
                    </a:lnTo>
                    <a:lnTo>
                      <a:pt x="665408" y="652904"/>
                    </a:lnTo>
                    <a:lnTo>
                      <a:pt x="639662" y="953742"/>
                    </a:lnTo>
                    <a:lnTo>
                      <a:pt x="690221" y="964486"/>
                    </a:lnTo>
                    <a:lnTo>
                      <a:pt x="706834" y="660949"/>
                    </a:lnTo>
                    <a:lnTo>
                      <a:pt x="732243" y="670082"/>
                    </a:lnTo>
                    <a:lnTo>
                      <a:pt x="724764" y="976320"/>
                    </a:lnTo>
                    <a:lnTo>
                      <a:pt x="775324" y="987064"/>
                    </a:lnTo>
                    <a:lnTo>
                      <a:pt x="791677" y="675999"/>
                    </a:lnTo>
                    <a:lnTo>
                      <a:pt x="865811" y="685447"/>
                    </a:lnTo>
                    <a:lnTo>
                      <a:pt x="799626" y="345865"/>
                    </a:lnTo>
                    <a:lnTo>
                      <a:pt x="799626" y="261540"/>
                    </a:lnTo>
                    <a:cubicBezTo>
                      <a:pt x="811659" y="261510"/>
                      <a:pt x="822337" y="253826"/>
                      <a:pt x="826188" y="242426"/>
                    </a:cubicBezTo>
                    <a:lnTo>
                      <a:pt x="869897" y="113408"/>
                    </a:lnTo>
                    <a:lnTo>
                      <a:pt x="913606" y="242426"/>
                    </a:lnTo>
                    <a:cubicBezTo>
                      <a:pt x="917457" y="253826"/>
                      <a:pt x="928135" y="261510"/>
                      <a:pt x="940168" y="261540"/>
                    </a:cubicBezTo>
                    <a:lnTo>
                      <a:pt x="911245" y="1027909"/>
                    </a:lnTo>
                    <a:lnTo>
                      <a:pt x="963256" y="1058946"/>
                    </a:lnTo>
                    <a:lnTo>
                      <a:pt x="984278" y="689769"/>
                    </a:lnTo>
                    <a:lnTo>
                      <a:pt x="1011037" y="694336"/>
                    </a:lnTo>
                    <a:lnTo>
                      <a:pt x="997798" y="1070781"/>
                    </a:lnTo>
                    <a:lnTo>
                      <a:pt x="1035747" y="1065382"/>
                    </a:lnTo>
                    <a:cubicBezTo>
                      <a:pt x="1035747" y="887362"/>
                      <a:pt x="1080711" y="439560"/>
                      <a:pt x="1080711" y="261540"/>
                    </a:cubicBezTo>
                    <a:cubicBezTo>
                      <a:pt x="1092744" y="261510"/>
                      <a:pt x="1103422" y="253826"/>
                      <a:pt x="1107273" y="242426"/>
                    </a:cubicBezTo>
                    <a:lnTo>
                      <a:pt x="1176701" y="37375"/>
                    </a:lnTo>
                    <a:cubicBezTo>
                      <a:pt x="1181716" y="22684"/>
                      <a:pt x="1173872" y="6708"/>
                      <a:pt x="1159180" y="1692"/>
                    </a:cubicBezTo>
                    <a:cubicBezTo>
                      <a:pt x="1159164" y="1688"/>
                      <a:pt x="1159149" y="1683"/>
                      <a:pt x="1159133" y="1677"/>
                    </a:cubicBezTo>
                    <a:close/>
                  </a:path>
                </a:pathLst>
              </a:custGeom>
              <a:solidFill>
                <a:srgbClr val="63676E"/>
              </a:solidFill>
              <a:ln w="139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273F68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F512529-6B10-C427-A538-A3B152B22145}"/>
                  </a:ext>
                </a:extLst>
              </p:cNvPr>
              <p:cNvCxnSpPr>
                <a:cxnSpLocks/>
                <a:stCxn id="40" idx="39"/>
                <a:endCxn id="40" idx="30"/>
              </p:cNvCxnSpPr>
              <p:nvPr/>
            </p:nvCxnSpPr>
            <p:spPr>
              <a:xfrm flipV="1">
                <a:off x="6754620" y="4628626"/>
                <a:ext cx="237079" cy="44677"/>
              </a:xfrm>
              <a:prstGeom prst="line">
                <a:avLst/>
              </a:prstGeom>
              <a:grpFill/>
              <a:ln w="19050">
                <a:solidFill>
                  <a:srgbClr val="6367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37585A4-379E-E4CC-ED41-903D7AD3633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84542" y="4730188"/>
                <a:ext cx="215547" cy="44819"/>
              </a:xfrm>
              <a:prstGeom prst="line">
                <a:avLst/>
              </a:prstGeom>
              <a:grpFill/>
              <a:ln w="19050">
                <a:solidFill>
                  <a:srgbClr val="6367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43A5771B-76F1-B19F-424A-2FD0C83F251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27654" y="4718659"/>
                <a:ext cx="215547" cy="44819"/>
              </a:xfrm>
              <a:prstGeom prst="line">
                <a:avLst/>
              </a:prstGeom>
              <a:grpFill/>
              <a:ln w="19050">
                <a:solidFill>
                  <a:srgbClr val="6367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3984DF9-F5F3-6D6C-ADA2-FF0BD15D7821}"/>
              </a:ext>
            </a:extLst>
          </p:cNvPr>
          <p:cNvGrpSpPr/>
          <p:nvPr/>
        </p:nvGrpSpPr>
        <p:grpSpPr>
          <a:xfrm>
            <a:off x="6974171" y="1641425"/>
            <a:ext cx="722641" cy="747036"/>
            <a:chOff x="6940769" y="1581818"/>
            <a:chExt cx="722641" cy="747036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BCB58AE-7804-36ED-C3B6-DB7C781A16DA}"/>
                </a:ext>
              </a:extLst>
            </p:cNvPr>
            <p:cNvGrpSpPr/>
            <p:nvPr/>
          </p:nvGrpSpPr>
          <p:grpSpPr>
            <a:xfrm>
              <a:off x="6940769" y="1581818"/>
              <a:ext cx="722641" cy="742381"/>
              <a:chOff x="6593863" y="1287733"/>
              <a:chExt cx="1210847" cy="1243922"/>
            </a:xfrm>
          </p:grpSpPr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BF1BF75E-A81C-8D59-BC3E-7A6B0CE2F337}"/>
                  </a:ext>
                </a:extLst>
              </p:cNvPr>
              <p:cNvGrpSpPr/>
              <p:nvPr/>
            </p:nvGrpSpPr>
            <p:grpSpPr>
              <a:xfrm>
                <a:off x="6593863" y="1312232"/>
                <a:ext cx="1210847" cy="1219423"/>
                <a:chOff x="6593863" y="1312232"/>
                <a:chExt cx="1210847" cy="1219423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E8A905F0-B91E-66A9-90F0-D159B898DFE6}"/>
                    </a:ext>
                  </a:extLst>
                </p:cNvPr>
                <p:cNvSpPr/>
                <p:nvPr/>
              </p:nvSpPr>
              <p:spPr>
                <a:xfrm>
                  <a:off x="6593863" y="1683157"/>
                  <a:ext cx="1203863" cy="848498"/>
                </a:xfrm>
                <a:prstGeom prst="rect">
                  <a:avLst/>
                </a:prstGeom>
                <a:noFill/>
                <a:ln w="57150">
                  <a:solidFill>
                    <a:schemeClr val="tx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36000" rIns="72000" bIns="36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A397AE9E-97AE-F6FB-F961-1DD7A23A1979}"/>
                    </a:ext>
                  </a:extLst>
                </p:cNvPr>
                <p:cNvCxnSpPr/>
                <p:nvPr/>
              </p:nvCxnSpPr>
              <p:spPr>
                <a:xfrm flipV="1">
                  <a:off x="6593863" y="1317042"/>
                  <a:ext cx="601932" cy="366115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82C353C9-506D-F31F-0B79-4F7613FD53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195795" y="1312232"/>
                  <a:ext cx="608915" cy="366115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7E55721A-F1B2-B31F-09D1-20DA933E99E1}"/>
                  </a:ext>
                </a:extLst>
              </p:cNvPr>
              <p:cNvSpPr/>
              <p:nvPr/>
            </p:nvSpPr>
            <p:spPr>
              <a:xfrm>
                <a:off x="7140518" y="1287733"/>
                <a:ext cx="115093" cy="11098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2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68A7CE8-D9A9-3E7F-D12D-3288BB87D42F}"/>
                </a:ext>
              </a:extLst>
            </p:cNvPr>
            <p:cNvSpPr/>
            <p:nvPr/>
          </p:nvSpPr>
          <p:spPr>
            <a:xfrm>
              <a:off x="6969125" y="1839971"/>
              <a:ext cx="657225" cy="45555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58" name="Graphic 57" descr="Gears with solid fill">
              <a:extLst>
                <a:ext uri="{FF2B5EF4-FFF2-40B4-BE49-F238E27FC236}">
                  <a16:creationId xmlns:a16="http://schemas.microsoft.com/office/drawing/2014/main" id="{ED4C4FD5-AADC-5E98-456E-B42452CE06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044761" y="1814195"/>
              <a:ext cx="514659" cy="514659"/>
            </a:xfrm>
            <a:prstGeom prst="rect">
              <a:avLst/>
            </a:prstGeom>
          </p:spPr>
        </p:pic>
      </p:grp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D357E015-8B86-3B9A-DCFA-D78869B8562E}"/>
              </a:ext>
            </a:extLst>
          </p:cNvPr>
          <p:cNvSpPr/>
          <p:nvPr/>
        </p:nvSpPr>
        <p:spPr>
          <a:xfrm>
            <a:off x="1583531" y="3174931"/>
            <a:ext cx="1308863" cy="512694"/>
          </a:xfrm>
          <a:custGeom>
            <a:avLst/>
            <a:gdLst>
              <a:gd name="connsiteX0" fmla="*/ 0 w 1308863"/>
              <a:gd name="connsiteY0" fmla="*/ 145981 h 512694"/>
              <a:gd name="connsiteX1" fmla="*/ 714375 w 1308863"/>
              <a:gd name="connsiteY1" fmla="*/ 725 h 512694"/>
              <a:gd name="connsiteX2" fmla="*/ 1273969 w 1308863"/>
              <a:gd name="connsiteY2" fmla="*/ 110263 h 512694"/>
              <a:gd name="connsiteX3" fmla="*/ 1202532 w 1308863"/>
              <a:gd name="connsiteY3" fmla="*/ 512694 h 512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8863" h="512694">
                <a:moveTo>
                  <a:pt x="0" y="145981"/>
                </a:moveTo>
                <a:cubicBezTo>
                  <a:pt x="251023" y="76329"/>
                  <a:pt x="502047" y="6678"/>
                  <a:pt x="714375" y="725"/>
                </a:cubicBezTo>
                <a:cubicBezTo>
                  <a:pt x="926703" y="-5228"/>
                  <a:pt x="1192610" y="24935"/>
                  <a:pt x="1273969" y="110263"/>
                </a:cubicBezTo>
                <a:cubicBezTo>
                  <a:pt x="1355329" y="195591"/>
                  <a:pt x="1278930" y="354142"/>
                  <a:pt x="1202532" y="512694"/>
                </a:cubicBez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BD09B3D-4BCF-B9CB-285E-AE0074CC414D}"/>
              </a:ext>
            </a:extLst>
          </p:cNvPr>
          <p:cNvGrpSpPr/>
          <p:nvPr/>
        </p:nvGrpSpPr>
        <p:grpSpPr>
          <a:xfrm>
            <a:off x="10410925" y="3373889"/>
            <a:ext cx="1605866" cy="1579540"/>
            <a:chOff x="4458147" y="2729648"/>
            <a:chExt cx="3966327" cy="3901305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A18F1618-2C65-F227-8E9A-5350F64C1B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8147" y="2729648"/>
              <a:ext cx="3966327" cy="390130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5" name="Graphic 84" descr="Eye with solid fill">
              <a:extLst>
                <a:ext uri="{FF2B5EF4-FFF2-40B4-BE49-F238E27FC236}">
                  <a16:creationId xmlns:a16="http://schemas.microsoft.com/office/drawing/2014/main" id="{79E81A5F-71B6-5F78-CC33-CB8C7390B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267325" y="4348003"/>
              <a:ext cx="914400" cy="914400"/>
            </a:xfrm>
            <a:prstGeom prst="rect">
              <a:avLst/>
            </a:prstGeom>
          </p:spPr>
        </p:pic>
        <p:pic>
          <p:nvPicPr>
            <p:cNvPr id="86" name="Graphic 85" descr="Eye with solid fill">
              <a:extLst>
                <a:ext uri="{FF2B5EF4-FFF2-40B4-BE49-F238E27FC236}">
                  <a16:creationId xmlns:a16="http://schemas.microsoft.com/office/drawing/2014/main" id="{7763F430-BFE4-B48B-2624-A309AD49C3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629916" y="4348003"/>
              <a:ext cx="914400" cy="914400"/>
            </a:xfrm>
            <a:prstGeom prst="rect">
              <a:avLst/>
            </a:prstGeom>
          </p:spPr>
        </p:pic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73604358-AC95-4D74-F80A-ACC403B5B811}"/>
              </a:ext>
            </a:extLst>
          </p:cNvPr>
          <p:cNvSpPr/>
          <p:nvPr/>
        </p:nvSpPr>
        <p:spPr>
          <a:xfrm>
            <a:off x="209006" y="5060971"/>
            <a:ext cx="2772229" cy="164960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52000" rtlCol="0" anchor="t"/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VERLEVERING TIL LEDELSE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ødelederen videregiver indsigterne fra teamets refleksioner til skoleledelsen, så refleksionerne i teamet bidrager til 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t styrke hele skolens arbejde med 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t skabe deltagelsesmuligheder 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or alle elever.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030F844-B331-32EA-C3CD-D1293BE92218}"/>
              </a:ext>
            </a:extLst>
          </p:cNvPr>
          <p:cNvSpPr/>
          <p:nvPr/>
        </p:nvSpPr>
        <p:spPr>
          <a:xfrm>
            <a:off x="209006" y="4857737"/>
            <a:ext cx="2775052" cy="40646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rgbClr val="F4F7FA"/>
                </a:solidFill>
                <a:effectLst/>
                <a:uLnTx/>
                <a:uFillTx/>
                <a:latin typeface="Amatic SC" panose="00000500000000000000" pitchFamily="2" charset="-79"/>
                <a:ea typeface="Verdana" panose="020B0604030504040204" pitchFamily="34" charset="0"/>
                <a:cs typeface="Amatic SC" panose="00000500000000000000" pitchFamily="2" charset="-79"/>
              </a:rPr>
              <a:t>EFTER MØDET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66F97EE-A1F2-78F5-68CF-EE51E40D4931}"/>
              </a:ext>
            </a:extLst>
          </p:cNvPr>
          <p:cNvSpPr/>
          <p:nvPr/>
        </p:nvSpPr>
        <p:spPr>
          <a:xfrm>
            <a:off x="3164324" y="3082111"/>
            <a:ext cx="291963" cy="2723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91F565E-38F1-BA0D-8745-3F401D2249CE}"/>
              </a:ext>
            </a:extLst>
          </p:cNvPr>
          <p:cNvSpPr/>
          <p:nvPr/>
        </p:nvSpPr>
        <p:spPr>
          <a:xfrm>
            <a:off x="8035412" y="3085943"/>
            <a:ext cx="291963" cy="2723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F4FA5FD1-2B65-21B9-823C-532543E97AAD}"/>
              </a:ext>
            </a:extLst>
          </p:cNvPr>
          <p:cNvGrpSpPr/>
          <p:nvPr/>
        </p:nvGrpSpPr>
        <p:grpSpPr>
          <a:xfrm>
            <a:off x="2068848" y="5873933"/>
            <a:ext cx="882786" cy="1034786"/>
            <a:chOff x="5638799" y="2960626"/>
            <a:chExt cx="2083055" cy="2441718"/>
          </a:xfrm>
        </p:grpSpPr>
        <p:pic>
          <p:nvPicPr>
            <p:cNvPr id="93" name="Graphic 92" descr="Open hand with solid fill">
              <a:extLst>
                <a:ext uri="{FF2B5EF4-FFF2-40B4-BE49-F238E27FC236}">
                  <a16:creationId xmlns:a16="http://schemas.microsoft.com/office/drawing/2014/main" id="{F5C7BE85-A817-F879-9755-33A8ACE0F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638799" y="3319290"/>
              <a:ext cx="2083055" cy="2083054"/>
            </a:xfrm>
            <a:prstGeom prst="rect">
              <a:avLst/>
            </a:prstGeom>
          </p:spPr>
        </p:pic>
        <p:pic>
          <p:nvPicPr>
            <p:cNvPr id="109" name="Graphic 108" descr="Lightbulb and gear with solid fill">
              <a:extLst>
                <a:ext uri="{FF2B5EF4-FFF2-40B4-BE49-F238E27FC236}">
                  <a16:creationId xmlns:a16="http://schemas.microsoft.com/office/drawing/2014/main" id="{260628DD-603F-64FD-67C7-0AF6EDB449D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194622" y="2960626"/>
              <a:ext cx="1163242" cy="1163242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DC29576-9F86-AF99-2E14-0E7B1B023D86}"/>
              </a:ext>
            </a:extLst>
          </p:cNvPr>
          <p:cNvSpPr/>
          <p:nvPr/>
        </p:nvSpPr>
        <p:spPr>
          <a:xfrm>
            <a:off x="4239491" y="187232"/>
            <a:ext cx="7743503" cy="683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ormålet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med denne guide er at give jer inputs til, hvordan I kan bruge skolerapporten til at understøtte arbejdet med at skabe deltagelsesmuligheder for alle elever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endParaRPr kumimoji="0" lang="da-DK" sz="7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 guiden finder I et eksempel på en proces, I kan anvende eller lade jer inspirere af. Den er struktureret eft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4BD1DD"/>
                </a:highligh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orberedelse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,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7085AA"/>
                </a:highligh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ennemførelse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og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F3805C"/>
                </a:highligh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pfølgning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.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F3805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rocessen er tiltænkt at foregå i eksisterende teams og kan tilpasses den tid, I har til rådighed. Vi opfordrer jer til at gennemføre processen på den måde, der giver bedst mening for jer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A84EB9-C638-2980-3B1F-68E4F87D5495}"/>
              </a:ext>
            </a:extLst>
          </p:cNvPr>
          <p:cNvSpPr txBox="1"/>
          <p:nvPr/>
        </p:nvSpPr>
        <p:spPr>
          <a:xfrm>
            <a:off x="3507568" y="1381007"/>
            <a:ext cx="2250250" cy="2723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RAMMESÆTNING PÅ MØD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932C8B-52A0-D6A8-4A40-4A8402D00A3C}"/>
              </a:ext>
            </a:extLst>
          </p:cNvPr>
          <p:cNvSpPr txBox="1"/>
          <p:nvPr/>
        </p:nvSpPr>
        <p:spPr>
          <a:xfrm>
            <a:off x="8411853" y="1381007"/>
            <a:ext cx="3402093" cy="2723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VERORDNET REFLEKSION OVER SKOLENS RESULTAT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5C8A179-5DA7-057B-6D90-CD0340814F29}"/>
              </a:ext>
            </a:extLst>
          </p:cNvPr>
          <p:cNvSpPr txBox="1"/>
          <p:nvPr/>
        </p:nvSpPr>
        <p:spPr>
          <a:xfrm>
            <a:off x="3517138" y="3082111"/>
            <a:ext cx="3402093" cy="2723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REFLEKSION OVER ARBEJDET I JERES TEA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E3D6A7D-BB1C-C408-0F31-0C277155A9BE}"/>
              </a:ext>
            </a:extLst>
          </p:cNvPr>
          <p:cNvSpPr txBox="1"/>
          <p:nvPr/>
        </p:nvSpPr>
        <p:spPr>
          <a:xfrm>
            <a:off x="8411853" y="3094977"/>
            <a:ext cx="3402093" cy="2633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ORBEREDELSE AF HANDLINGER OG FREMADRETTET PRAKSIS</a:t>
            </a:r>
          </a:p>
        </p:txBody>
      </p:sp>
      <p:pic>
        <p:nvPicPr>
          <p:cNvPr id="4" name="Graphic 3" descr="Stopwatch 25% with solid fill">
            <a:extLst>
              <a:ext uri="{FF2B5EF4-FFF2-40B4-BE49-F238E27FC236}">
                <a16:creationId xmlns:a16="http://schemas.microsoft.com/office/drawing/2014/main" id="{CB240056-80D9-B94E-EAF0-1EBD06C2557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447177" y="1427847"/>
            <a:ext cx="182813" cy="18281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90A113A-7784-D98C-CB3E-76911B81BF60}"/>
              </a:ext>
            </a:extLst>
          </p:cNvPr>
          <p:cNvSpPr txBox="1"/>
          <p:nvPr/>
        </p:nvSpPr>
        <p:spPr>
          <a:xfrm>
            <a:off x="5631757" y="1447951"/>
            <a:ext cx="52644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-10 min.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DF6D715-CA18-7CB7-A76F-6181FC869201}"/>
              </a:ext>
            </a:extLst>
          </p:cNvPr>
          <p:cNvCxnSpPr/>
          <p:nvPr/>
        </p:nvCxnSpPr>
        <p:spPr>
          <a:xfrm>
            <a:off x="5374105" y="1427847"/>
            <a:ext cx="0" cy="182813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Graphic 48" descr="Stopwatch 25% with solid fill">
            <a:extLst>
              <a:ext uri="{FF2B5EF4-FFF2-40B4-BE49-F238E27FC236}">
                <a16:creationId xmlns:a16="http://schemas.microsoft.com/office/drawing/2014/main" id="{4FB02605-6684-98BE-1273-97638412769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355216" y="1515631"/>
            <a:ext cx="182813" cy="182813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39F0A921-56B5-73E9-77BF-99DCAAACF355}"/>
              </a:ext>
            </a:extLst>
          </p:cNvPr>
          <p:cNvSpPr txBox="1"/>
          <p:nvPr/>
        </p:nvSpPr>
        <p:spPr>
          <a:xfrm>
            <a:off x="9537443" y="1543045"/>
            <a:ext cx="658573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5-20 min.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07B2027-9956-4148-DE4F-6612A7246134}"/>
              </a:ext>
            </a:extLst>
          </p:cNvPr>
          <p:cNvCxnSpPr>
            <a:cxnSpLocks/>
          </p:cNvCxnSpPr>
          <p:nvPr/>
        </p:nvCxnSpPr>
        <p:spPr>
          <a:xfrm>
            <a:off x="9303934" y="1549576"/>
            <a:ext cx="0" cy="12216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Graphic 60" descr="Stopwatch 25% with solid fill">
            <a:extLst>
              <a:ext uri="{FF2B5EF4-FFF2-40B4-BE49-F238E27FC236}">
                <a16:creationId xmlns:a16="http://schemas.microsoft.com/office/drawing/2014/main" id="{8826F3EF-23AC-7B1B-44C8-52C7A643406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522711" y="3129733"/>
            <a:ext cx="182813" cy="182813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8AF84851-0492-FEF4-2F89-F75C3C6E28F4}"/>
              </a:ext>
            </a:extLst>
          </p:cNvPr>
          <p:cNvSpPr txBox="1"/>
          <p:nvPr/>
        </p:nvSpPr>
        <p:spPr>
          <a:xfrm>
            <a:off x="6707291" y="3149837"/>
            <a:ext cx="647979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-30 min.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56E13A4-090A-75E6-2E28-C61892640C63}"/>
              </a:ext>
            </a:extLst>
          </p:cNvPr>
          <p:cNvCxnSpPr/>
          <p:nvPr/>
        </p:nvCxnSpPr>
        <p:spPr>
          <a:xfrm>
            <a:off x="6449639" y="3129733"/>
            <a:ext cx="0" cy="182813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Graphic 63" descr="Stopwatch 25% with solid fill">
            <a:extLst>
              <a:ext uri="{FF2B5EF4-FFF2-40B4-BE49-F238E27FC236}">
                <a16:creationId xmlns:a16="http://schemas.microsoft.com/office/drawing/2014/main" id="{80C5C505-52BA-1460-15F3-21FF47D3729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091995" y="3224011"/>
            <a:ext cx="182813" cy="182813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20320C5D-3947-DB90-3B37-284B51331045}"/>
              </a:ext>
            </a:extLst>
          </p:cNvPr>
          <p:cNvSpPr txBox="1"/>
          <p:nvPr/>
        </p:nvSpPr>
        <p:spPr>
          <a:xfrm>
            <a:off x="9274222" y="3251425"/>
            <a:ext cx="6807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73F6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-20 min.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CB5ACB5D-D56B-6DCF-DF92-4E000BEFDB2F}"/>
              </a:ext>
            </a:extLst>
          </p:cNvPr>
          <p:cNvCxnSpPr>
            <a:cxnSpLocks/>
          </p:cNvCxnSpPr>
          <p:nvPr/>
        </p:nvCxnSpPr>
        <p:spPr>
          <a:xfrm>
            <a:off x="9040713" y="3257956"/>
            <a:ext cx="0" cy="12216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32574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270E0-0E8C-6999-38B3-2828BBCB09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885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270E0-0E8C-6999-38B3-2828BBCB0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val 11">
            <a:extLst>
              <a:ext uri="{FF2B5EF4-FFF2-40B4-BE49-F238E27FC236}">
                <a16:creationId xmlns:a16="http://schemas.microsoft.com/office/drawing/2014/main" id="{F6B0B82D-E73F-4EC6-90BE-B597501D4E66}"/>
              </a:ext>
            </a:extLst>
          </p:cNvPr>
          <p:cNvSpPr/>
          <p:nvPr/>
        </p:nvSpPr>
        <p:spPr>
          <a:xfrm>
            <a:off x="3799364" y="1183127"/>
            <a:ext cx="4858875" cy="4858875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FAEF074-A579-432E-90D5-356E6DAC19D7}"/>
              </a:ext>
            </a:extLst>
          </p:cNvPr>
          <p:cNvCxnSpPr>
            <a:cxnSpLocks/>
            <a:endCxn id="167" idx="0"/>
          </p:cNvCxnSpPr>
          <p:nvPr/>
        </p:nvCxnSpPr>
        <p:spPr>
          <a:xfrm>
            <a:off x="6199702" y="913190"/>
            <a:ext cx="19608" cy="2608955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4849827-578B-4326-B7C6-03D23429F059}"/>
              </a:ext>
            </a:extLst>
          </p:cNvPr>
          <p:cNvCxnSpPr>
            <a:cxnSpLocks/>
            <a:stCxn id="97" idx="2"/>
            <a:endCxn id="167" idx="2"/>
          </p:cNvCxnSpPr>
          <p:nvPr/>
        </p:nvCxnSpPr>
        <p:spPr>
          <a:xfrm>
            <a:off x="3692365" y="2719379"/>
            <a:ext cx="2436965" cy="892745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F1D145-7539-4815-AA8A-3E15033C854E}"/>
              </a:ext>
            </a:extLst>
          </p:cNvPr>
          <p:cNvCxnSpPr>
            <a:cxnSpLocks/>
            <a:stCxn id="167" idx="6"/>
          </p:cNvCxnSpPr>
          <p:nvPr/>
        </p:nvCxnSpPr>
        <p:spPr>
          <a:xfrm flipV="1">
            <a:off x="6309288" y="2619207"/>
            <a:ext cx="2426451" cy="992917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57ACBC87-E3D0-4055-AFA3-D525DACE6B24}"/>
              </a:ext>
            </a:extLst>
          </p:cNvPr>
          <p:cNvSpPr/>
          <p:nvPr/>
        </p:nvSpPr>
        <p:spPr>
          <a:xfrm>
            <a:off x="4069301" y="1453065"/>
            <a:ext cx="4319000" cy="4319000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81E42F1-6640-49C2-88EF-65978DF23CF4}"/>
              </a:ext>
            </a:extLst>
          </p:cNvPr>
          <p:cNvSpPr/>
          <p:nvPr/>
        </p:nvSpPr>
        <p:spPr>
          <a:xfrm>
            <a:off x="4339239" y="1723002"/>
            <a:ext cx="3779125" cy="3779125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D1130E9D-2AD6-4D83-B3FC-46CC500CD647}"/>
              </a:ext>
            </a:extLst>
          </p:cNvPr>
          <p:cNvSpPr/>
          <p:nvPr/>
        </p:nvSpPr>
        <p:spPr>
          <a:xfrm>
            <a:off x="4609176" y="1992940"/>
            <a:ext cx="3239250" cy="3239250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7E79FC8-295A-4E13-B776-560F812CD1DA}"/>
              </a:ext>
            </a:extLst>
          </p:cNvPr>
          <p:cNvSpPr/>
          <p:nvPr/>
        </p:nvSpPr>
        <p:spPr>
          <a:xfrm>
            <a:off x="4879114" y="2262877"/>
            <a:ext cx="2699375" cy="2699375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FDAC8C3-C0CC-44E2-8C06-6C64644DEB32}"/>
              </a:ext>
            </a:extLst>
          </p:cNvPr>
          <p:cNvSpPr/>
          <p:nvPr/>
        </p:nvSpPr>
        <p:spPr>
          <a:xfrm>
            <a:off x="5149051" y="2532815"/>
            <a:ext cx="2159500" cy="2159500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248BF57-604A-4E43-BE47-05EB97D2683A}"/>
              </a:ext>
            </a:extLst>
          </p:cNvPr>
          <p:cNvSpPr/>
          <p:nvPr/>
        </p:nvSpPr>
        <p:spPr>
          <a:xfrm>
            <a:off x="5418989" y="2802752"/>
            <a:ext cx="1619625" cy="1619625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ECC70BE-8BBB-4064-A561-14414239F1D5}"/>
              </a:ext>
            </a:extLst>
          </p:cNvPr>
          <p:cNvSpPr/>
          <p:nvPr/>
        </p:nvSpPr>
        <p:spPr>
          <a:xfrm>
            <a:off x="5688926" y="3072690"/>
            <a:ext cx="1079750" cy="1079750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42D42B3-48F0-4D50-97C3-3AF6E95B6D64}"/>
              </a:ext>
            </a:extLst>
          </p:cNvPr>
          <p:cNvSpPr/>
          <p:nvPr/>
        </p:nvSpPr>
        <p:spPr>
          <a:xfrm>
            <a:off x="5958864" y="3342627"/>
            <a:ext cx="539875" cy="539875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4586800-602F-4AB2-8EB6-CC44D53C5235}"/>
              </a:ext>
            </a:extLst>
          </p:cNvPr>
          <p:cNvSpPr/>
          <p:nvPr/>
        </p:nvSpPr>
        <p:spPr>
          <a:xfrm>
            <a:off x="3529426" y="913190"/>
            <a:ext cx="5398750" cy="5398750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C8546AB-E152-4035-8674-FEE4057126B4}"/>
              </a:ext>
            </a:extLst>
          </p:cNvPr>
          <p:cNvSpPr/>
          <p:nvPr/>
        </p:nvSpPr>
        <p:spPr>
          <a:xfrm>
            <a:off x="3666643" y="53676"/>
            <a:ext cx="5066118" cy="712064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900" spc="-50" dirty="0">
                <a:solidFill>
                  <a:schemeClr val="tx2"/>
                </a:solidFill>
              </a:rPr>
              <a:t>Udsagn: Indsæt udsagn…</a:t>
            </a:r>
            <a:br>
              <a:rPr lang="da-DK" sz="900" b="1" spc="-50" dirty="0">
                <a:solidFill>
                  <a:srgbClr val="333333"/>
                </a:solidFill>
                <a:latin typeface="Verdana"/>
              </a:rPr>
            </a:br>
            <a:endParaRPr lang="da-DK" sz="900" spc="-50" dirty="0">
              <a:solidFill>
                <a:srgbClr val="333333"/>
              </a:solidFill>
              <a:latin typeface="Verdana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997FD76-DF5C-4270-B01B-BF9880466F6D}"/>
              </a:ext>
            </a:extLst>
          </p:cNvPr>
          <p:cNvSpPr/>
          <p:nvPr/>
        </p:nvSpPr>
        <p:spPr>
          <a:xfrm>
            <a:off x="3410968" y="2451221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38A54E"/>
                </a:solidFill>
                <a:latin typeface="Verdana"/>
              </a:rPr>
              <a:t>10</a:t>
            </a:r>
            <a:endParaRPr lang="da-DK" sz="1200" b="1" spc="-50">
              <a:solidFill>
                <a:srgbClr val="38A54E"/>
              </a:solidFill>
              <a:latin typeface="Verdana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95BAD96C-3937-48BA-B5EC-11510B293120}"/>
              </a:ext>
            </a:extLst>
          </p:cNvPr>
          <p:cNvSpPr/>
          <p:nvPr/>
        </p:nvSpPr>
        <p:spPr>
          <a:xfrm>
            <a:off x="3692365" y="2557416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67B445"/>
                </a:solidFill>
                <a:latin typeface="Verdana"/>
              </a:rPr>
              <a:t>9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7FE7447C-8033-47C1-B1AA-059458C35FCB}"/>
              </a:ext>
            </a:extLst>
          </p:cNvPr>
          <p:cNvSpPr/>
          <p:nvPr/>
        </p:nvSpPr>
        <p:spPr>
          <a:xfrm>
            <a:off x="3949472" y="2622840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89C140"/>
                </a:solidFill>
                <a:latin typeface="Verdana"/>
              </a:rPr>
              <a:t>8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0933BF73-41D7-4F17-B9B6-A91EBC35E1A4}"/>
              </a:ext>
            </a:extLst>
          </p:cNvPr>
          <p:cNvSpPr/>
          <p:nvPr/>
        </p:nvSpPr>
        <p:spPr>
          <a:xfrm>
            <a:off x="4231326" y="2724170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AFCE36"/>
                </a:solidFill>
                <a:latin typeface="Verdana"/>
              </a:rPr>
              <a:t>7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5DB5E546-318C-4425-93D7-A013F6B75D7E}"/>
              </a:ext>
            </a:extLst>
          </p:cNvPr>
          <p:cNvSpPr/>
          <p:nvPr/>
        </p:nvSpPr>
        <p:spPr>
          <a:xfrm>
            <a:off x="4454115" y="2814121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2DC26"/>
                </a:solidFill>
                <a:latin typeface="Verdana"/>
              </a:rPr>
              <a:t>6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B54E1195-3A8B-4269-838D-B97AA2D5A96C}"/>
              </a:ext>
            </a:extLst>
          </p:cNvPr>
          <p:cNvSpPr/>
          <p:nvPr/>
        </p:nvSpPr>
        <p:spPr>
          <a:xfrm>
            <a:off x="4715679" y="2919611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CCE15"/>
                </a:solidFill>
                <a:latin typeface="Verdana"/>
              </a:rPr>
              <a:t>5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B749E449-8D56-4095-AE61-D2642CC8A1CA}"/>
              </a:ext>
            </a:extLst>
          </p:cNvPr>
          <p:cNvSpPr/>
          <p:nvPr/>
        </p:nvSpPr>
        <p:spPr>
          <a:xfrm>
            <a:off x="4954802" y="3016398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F1A720"/>
                </a:solidFill>
                <a:latin typeface="Verdana"/>
              </a:rPr>
              <a:t>4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5130624D-41E6-49FE-8860-7962AD5E4705}"/>
              </a:ext>
            </a:extLst>
          </p:cNvPr>
          <p:cNvSpPr/>
          <p:nvPr/>
        </p:nvSpPr>
        <p:spPr>
          <a:xfrm>
            <a:off x="5202533" y="3083856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88125"/>
                </a:solidFill>
                <a:latin typeface="Verdana"/>
              </a:rPr>
              <a:t>3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DBA881A3-CD5C-4BF6-829E-C08644592F0E}"/>
              </a:ext>
            </a:extLst>
          </p:cNvPr>
          <p:cNvSpPr/>
          <p:nvPr/>
        </p:nvSpPr>
        <p:spPr>
          <a:xfrm>
            <a:off x="5470831" y="3183513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A5B27"/>
                </a:solidFill>
                <a:latin typeface="Verdana"/>
              </a:rPr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3DA8B51D-0208-4E29-8EC0-438B16B4C263}"/>
              </a:ext>
            </a:extLst>
          </p:cNvPr>
          <p:cNvSpPr/>
          <p:nvPr/>
        </p:nvSpPr>
        <p:spPr>
          <a:xfrm>
            <a:off x="5720707" y="3292021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E1702"/>
                </a:solidFill>
                <a:latin typeface="Verdana"/>
              </a:rPr>
              <a:t>1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72E2CB37-3569-4966-8382-C8F20F0ECA9A}"/>
              </a:ext>
            </a:extLst>
          </p:cNvPr>
          <p:cNvSpPr/>
          <p:nvPr/>
        </p:nvSpPr>
        <p:spPr>
          <a:xfrm>
            <a:off x="6076844" y="675426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38A54E"/>
                </a:solidFill>
                <a:latin typeface="Verdana"/>
              </a:rPr>
              <a:t>10</a:t>
            </a:r>
            <a:endParaRPr lang="da-DK" sz="1200" b="1" spc="-50">
              <a:solidFill>
                <a:srgbClr val="38A54E"/>
              </a:solidFill>
              <a:latin typeface="Verdana"/>
            </a:endParaRP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9DCCA2F1-6B44-48A2-90E5-B59AB12E7B8F}"/>
              </a:ext>
            </a:extLst>
          </p:cNvPr>
          <p:cNvSpPr/>
          <p:nvPr/>
        </p:nvSpPr>
        <p:spPr>
          <a:xfrm>
            <a:off x="6076844" y="946705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67B445"/>
                </a:solidFill>
                <a:latin typeface="Verdana"/>
              </a:rPr>
              <a:t>9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26568ADE-0F24-4DB7-A08C-0630752098F0}"/>
              </a:ext>
            </a:extLst>
          </p:cNvPr>
          <p:cNvSpPr/>
          <p:nvPr/>
        </p:nvSpPr>
        <p:spPr>
          <a:xfrm>
            <a:off x="6076844" y="1217984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89C140"/>
                </a:solidFill>
                <a:latin typeface="Verdana"/>
              </a:rPr>
              <a:t>8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FDBF1FD9-6F31-494C-A3C7-C35E28DC7F93}"/>
              </a:ext>
            </a:extLst>
          </p:cNvPr>
          <p:cNvSpPr/>
          <p:nvPr/>
        </p:nvSpPr>
        <p:spPr>
          <a:xfrm>
            <a:off x="6076844" y="1489263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AFCE36"/>
                </a:solidFill>
                <a:latin typeface="Verdana"/>
              </a:rPr>
              <a:t>7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3D9DD98D-6B09-4F25-B84D-AA873EC0797D}"/>
              </a:ext>
            </a:extLst>
          </p:cNvPr>
          <p:cNvSpPr/>
          <p:nvPr/>
        </p:nvSpPr>
        <p:spPr>
          <a:xfrm>
            <a:off x="6076844" y="1760542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2DC26"/>
                </a:solidFill>
                <a:latin typeface="Verdana"/>
              </a:rPr>
              <a:t>6</a:t>
            </a: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31A15C51-1185-404D-8B94-23C8A700EEAF}"/>
              </a:ext>
            </a:extLst>
          </p:cNvPr>
          <p:cNvSpPr/>
          <p:nvPr/>
        </p:nvSpPr>
        <p:spPr>
          <a:xfrm>
            <a:off x="6076844" y="2031822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CCE15"/>
                </a:solidFill>
                <a:latin typeface="Verdana"/>
              </a:rPr>
              <a:t>5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EEA6B714-B98F-4484-A0B0-F8C345E0029B}"/>
              </a:ext>
            </a:extLst>
          </p:cNvPr>
          <p:cNvSpPr/>
          <p:nvPr/>
        </p:nvSpPr>
        <p:spPr>
          <a:xfrm>
            <a:off x="6076844" y="2303101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F1A720"/>
                </a:solidFill>
                <a:latin typeface="Verdana"/>
              </a:rPr>
              <a:t>4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7F2E6CDB-E9A1-4B25-972F-BA2727B8AF57}"/>
              </a:ext>
            </a:extLst>
          </p:cNvPr>
          <p:cNvSpPr/>
          <p:nvPr/>
        </p:nvSpPr>
        <p:spPr>
          <a:xfrm>
            <a:off x="6076844" y="2574380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88125"/>
                </a:solidFill>
                <a:latin typeface="Verdana"/>
              </a:rPr>
              <a:t>3</a:t>
            </a: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D8BB6E1E-5C37-4E63-B755-9F971197E2CD}"/>
              </a:ext>
            </a:extLst>
          </p:cNvPr>
          <p:cNvSpPr/>
          <p:nvPr/>
        </p:nvSpPr>
        <p:spPr>
          <a:xfrm>
            <a:off x="6076844" y="2845659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A5B27"/>
                </a:solidFill>
                <a:latin typeface="Verdana"/>
              </a:rPr>
              <a:t>2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B60C0FFE-AF2D-4E68-AC81-A01925BBBBC9}"/>
              </a:ext>
            </a:extLst>
          </p:cNvPr>
          <p:cNvSpPr/>
          <p:nvPr/>
        </p:nvSpPr>
        <p:spPr>
          <a:xfrm>
            <a:off x="6076844" y="3116938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E1702"/>
                </a:solidFill>
                <a:latin typeface="Verdana"/>
              </a:rPr>
              <a:t>1</a:t>
            </a: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EA501E75-58FD-45D4-8C57-6DCE63C12F17}"/>
              </a:ext>
            </a:extLst>
          </p:cNvPr>
          <p:cNvSpPr/>
          <p:nvPr/>
        </p:nvSpPr>
        <p:spPr>
          <a:xfrm>
            <a:off x="6735093" y="4348038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F1A720"/>
                </a:solidFill>
                <a:latin typeface="Verdana"/>
              </a:rPr>
              <a:t>4</a:t>
            </a: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17525933-6C62-43A6-B1B3-F830BFBAC81F}"/>
              </a:ext>
            </a:extLst>
          </p:cNvPr>
          <p:cNvSpPr/>
          <p:nvPr/>
        </p:nvSpPr>
        <p:spPr>
          <a:xfrm>
            <a:off x="6560988" y="4157649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88125"/>
                </a:solidFill>
                <a:latin typeface="Verdana"/>
              </a:rPr>
              <a:t>3</a:t>
            </a: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6FC6D480-C5DE-4619-B702-1A3DFAEA01B2}"/>
              </a:ext>
            </a:extLst>
          </p:cNvPr>
          <p:cNvSpPr/>
          <p:nvPr/>
        </p:nvSpPr>
        <p:spPr>
          <a:xfrm>
            <a:off x="6378537" y="3954830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A5B27"/>
                </a:solidFill>
                <a:latin typeface="Verdana"/>
              </a:rPr>
              <a:t>2</a:t>
            </a: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D1634648-FD89-4738-B642-AA68E1E13716}"/>
              </a:ext>
            </a:extLst>
          </p:cNvPr>
          <p:cNvSpPr/>
          <p:nvPr/>
        </p:nvSpPr>
        <p:spPr>
          <a:xfrm>
            <a:off x="6363965" y="3405688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E1702"/>
                </a:solidFill>
                <a:latin typeface="Verdana"/>
              </a:rPr>
              <a:t>1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9C4C704A-F3A5-4ECB-AFBA-31DBE685C0EC}"/>
              </a:ext>
            </a:extLst>
          </p:cNvPr>
          <p:cNvSpPr/>
          <p:nvPr/>
        </p:nvSpPr>
        <p:spPr>
          <a:xfrm>
            <a:off x="6623386" y="3317542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A5B27"/>
                </a:solidFill>
                <a:latin typeface="Verdana"/>
              </a:rPr>
              <a:t>2</a:t>
            </a: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699B131C-F48A-4C78-AFBF-457AA59FE3EC}"/>
              </a:ext>
            </a:extLst>
          </p:cNvPr>
          <p:cNvSpPr/>
          <p:nvPr/>
        </p:nvSpPr>
        <p:spPr>
          <a:xfrm>
            <a:off x="6867685" y="3213923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88125"/>
                </a:solidFill>
                <a:latin typeface="Verdana"/>
              </a:rPr>
              <a:t>3</a:t>
            </a: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9C64462E-2F3F-4F98-8DB5-8CDED3F67CCC}"/>
              </a:ext>
            </a:extLst>
          </p:cNvPr>
          <p:cNvSpPr/>
          <p:nvPr/>
        </p:nvSpPr>
        <p:spPr>
          <a:xfrm>
            <a:off x="7118899" y="3105418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F1A720"/>
                </a:solidFill>
                <a:latin typeface="Verdana"/>
              </a:rPr>
              <a:t>4</a:t>
            </a: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B591A256-B1EC-4154-90D5-10915008919F}"/>
              </a:ext>
            </a:extLst>
          </p:cNvPr>
          <p:cNvSpPr/>
          <p:nvPr/>
        </p:nvSpPr>
        <p:spPr>
          <a:xfrm>
            <a:off x="7380977" y="3003217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CCE15"/>
                </a:solidFill>
                <a:latin typeface="Verdana"/>
              </a:rPr>
              <a:t>5</a:t>
            </a: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B84AD4D5-3133-4B07-9C19-D66993145118}"/>
              </a:ext>
            </a:extLst>
          </p:cNvPr>
          <p:cNvSpPr/>
          <p:nvPr/>
        </p:nvSpPr>
        <p:spPr>
          <a:xfrm>
            <a:off x="7625031" y="2899714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2DC26"/>
                </a:solidFill>
                <a:latin typeface="Verdana"/>
              </a:rPr>
              <a:t>6</a:t>
            </a: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5A5F9CF6-CE9E-4F43-A866-2BB2532D9310}"/>
              </a:ext>
            </a:extLst>
          </p:cNvPr>
          <p:cNvSpPr/>
          <p:nvPr/>
        </p:nvSpPr>
        <p:spPr>
          <a:xfrm>
            <a:off x="7874320" y="2801422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AFCE36"/>
                </a:solidFill>
                <a:latin typeface="Verdana"/>
              </a:rPr>
              <a:t>7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A35BDA2D-C267-4D52-AE27-FF59F2EF5141}"/>
              </a:ext>
            </a:extLst>
          </p:cNvPr>
          <p:cNvSpPr/>
          <p:nvPr/>
        </p:nvSpPr>
        <p:spPr>
          <a:xfrm>
            <a:off x="8124534" y="2696004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89C140"/>
                </a:solidFill>
                <a:latin typeface="Verdana"/>
              </a:rPr>
              <a:t>8</a:t>
            </a: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C3DB4699-0426-485F-B372-773E956A863C}"/>
              </a:ext>
            </a:extLst>
          </p:cNvPr>
          <p:cNvSpPr/>
          <p:nvPr/>
        </p:nvSpPr>
        <p:spPr>
          <a:xfrm>
            <a:off x="8663253" y="2368974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38A54E"/>
                </a:solidFill>
                <a:latin typeface="Verdana"/>
              </a:rPr>
              <a:t>10</a:t>
            </a:r>
            <a:endParaRPr lang="da-DK" sz="1200" b="1" spc="-50">
              <a:solidFill>
                <a:srgbClr val="38A54E"/>
              </a:solidFill>
              <a:latin typeface="Verdana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90B99C98-C79C-4E4B-9AED-24FC5F3895F2}"/>
              </a:ext>
            </a:extLst>
          </p:cNvPr>
          <p:cNvSpPr/>
          <p:nvPr/>
        </p:nvSpPr>
        <p:spPr>
          <a:xfrm>
            <a:off x="7840180" y="5598496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38A54E"/>
                </a:solidFill>
                <a:latin typeface="Verdana"/>
              </a:rPr>
              <a:t>10</a:t>
            </a:r>
            <a:endParaRPr lang="da-DK" sz="1200" b="1" spc="-50">
              <a:solidFill>
                <a:srgbClr val="38A54E"/>
              </a:solidFill>
              <a:latin typeface="Verdana"/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3F476B38-6A27-4A70-BF5A-6B220199A5C0}"/>
              </a:ext>
            </a:extLst>
          </p:cNvPr>
          <p:cNvSpPr/>
          <p:nvPr/>
        </p:nvSpPr>
        <p:spPr>
          <a:xfrm>
            <a:off x="7466370" y="5179014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89C140"/>
                </a:solidFill>
                <a:latin typeface="Verdana"/>
              </a:rPr>
              <a:t>8</a:t>
            </a: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39D016D6-1F3E-4B1C-BEC1-BA1388D15622}"/>
              </a:ext>
            </a:extLst>
          </p:cNvPr>
          <p:cNvSpPr/>
          <p:nvPr/>
        </p:nvSpPr>
        <p:spPr>
          <a:xfrm>
            <a:off x="7279370" y="4969428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AFCE36"/>
                </a:solidFill>
                <a:latin typeface="Verdana"/>
              </a:rPr>
              <a:t>7</a:t>
            </a:r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88FE300C-8DAC-4D81-95A9-E55693D56D4B}"/>
              </a:ext>
            </a:extLst>
          </p:cNvPr>
          <p:cNvSpPr/>
          <p:nvPr/>
        </p:nvSpPr>
        <p:spPr>
          <a:xfrm>
            <a:off x="7093983" y="4776304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2DC26"/>
                </a:solidFill>
                <a:latin typeface="Verdana"/>
              </a:rPr>
              <a:t>6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67EAEF8F-3479-4AF8-844C-08D83367E378}"/>
              </a:ext>
            </a:extLst>
          </p:cNvPr>
          <p:cNvSpPr/>
          <p:nvPr/>
        </p:nvSpPr>
        <p:spPr>
          <a:xfrm>
            <a:off x="6916307" y="4562345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CCE15"/>
                </a:solidFill>
                <a:latin typeface="Verdana"/>
              </a:rPr>
              <a:t>5</a:t>
            </a: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2046DC34-71B3-42F9-9FFD-ED8F5DC8AF1E}"/>
              </a:ext>
            </a:extLst>
          </p:cNvPr>
          <p:cNvSpPr/>
          <p:nvPr/>
        </p:nvSpPr>
        <p:spPr>
          <a:xfrm>
            <a:off x="6216159" y="3744195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E1702"/>
                </a:solidFill>
                <a:latin typeface="Verdana"/>
              </a:rPr>
              <a:t>1</a:t>
            </a: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3DC66BD5-8531-4F80-8D57-A3EB41FDA7DF}"/>
              </a:ext>
            </a:extLst>
          </p:cNvPr>
          <p:cNvSpPr/>
          <p:nvPr/>
        </p:nvSpPr>
        <p:spPr>
          <a:xfrm>
            <a:off x="5747737" y="3635619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E1702"/>
                </a:solidFill>
                <a:latin typeface="Verdana"/>
              </a:rPr>
              <a:t>1</a:t>
            </a: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D981497B-939D-4AEA-B1BA-F7E12CAF002E}"/>
              </a:ext>
            </a:extLst>
          </p:cNvPr>
          <p:cNvSpPr/>
          <p:nvPr/>
        </p:nvSpPr>
        <p:spPr>
          <a:xfrm>
            <a:off x="5569143" y="3841838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A5B27"/>
                </a:solidFill>
                <a:latin typeface="Verdana"/>
              </a:rPr>
              <a:t>2</a:t>
            </a: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D5E376E8-1461-4F91-A502-07646352CE7B}"/>
              </a:ext>
            </a:extLst>
          </p:cNvPr>
          <p:cNvSpPr/>
          <p:nvPr/>
        </p:nvSpPr>
        <p:spPr>
          <a:xfrm>
            <a:off x="5381656" y="4044972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88125"/>
                </a:solidFill>
                <a:latin typeface="Verdana"/>
              </a:rPr>
              <a:t>3</a:t>
            </a: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B001A40B-8E7E-43A9-B26F-7B4CC90C7A44}"/>
              </a:ext>
            </a:extLst>
          </p:cNvPr>
          <p:cNvSpPr/>
          <p:nvPr/>
        </p:nvSpPr>
        <p:spPr>
          <a:xfrm>
            <a:off x="5202355" y="4249002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F1A720"/>
                </a:solidFill>
                <a:latin typeface="Verdana"/>
              </a:rPr>
              <a:t>4</a:t>
            </a: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9286545B-66FA-4E80-9DFF-1DE0356FABBC}"/>
              </a:ext>
            </a:extLst>
          </p:cNvPr>
          <p:cNvSpPr/>
          <p:nvPr/>
        </p:nvSpPr>
        <p:spPr>
          <a:xfrm>
            <a:off x="5021486" y="4453036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ECCE15"/>
                </a:solidFill>
                <a:latin typeface="Verdana"/>
              </a:rPr>
              <a:t>5</a:t>
            </a: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E8E1D85A-3349-4689-82DA-C39667A911C1}"/>
              </a:ext>
            </a:extLst>
          </p:cNvPr>
          <p:cNvSpPr/>
          <p:nvPr/>
        </p:nvSpPr>
        <p:spPr>
          <a:xfrm>
            <a:off x="4852542" y="4657696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D2DC26"/>
                </a:solidFill>
                <a:latin typeface="Verdana"/>
              </a:rPr>
              <a:t>6</a:t>
            </a: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553B1CE2-C390-4614-B963-BF50820A8B44}"/>
              </a:ext>
            </a:extLst>
          </p:cNvPr>
          <p:cNvSpPr/>
          <p:nvPr/>
        </p:nvSpPr>
        <p:spPr>
          <a:xfrm>
            <a:off x="4670456" y="4869144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AFCE36"/>
                </a:solidFill>
                <a:latin typeface="Verdana"/>
              </a:rPr>
              <a:t>7</a:t>
            </a: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FD8A8702-B1D4-4416-8C36-7ACB2D49E4D8}"/>
              </a:ext>
            </a:extLst>
          </p:cNvPr>
          <p:cNvSpPr/>
          <p:nvPr/>
        </p:nvSpPr>
        <p:spPr>
          <a:xfrm>
            <a:off x="4489955" y="5063761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89C140"/>
                </a:solidFill>
                <a:latin typeface="Verdana"/>
              </a:rPr>
              <a:t>8</a:t>
            </a: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F766EB1A-9E81-4B65-B336-FFB5E6745CF0}"/>
              </a:ext>
            </a:extLst>
          </p:cNvPr>
          <p:cNvSpPr/>
          <p:nvPr/>
        </p:nvSpPr>
        <p:spPr>
          <a:xfrm>
            <a:off x="4316790" y="5263248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67B445"/>
                </a:solidFill>
                <a:latin typeface="Verdana"/>
              </a:rPr>
              <a:t>9</a:t>
            </a: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86A0DFC8-8AE5-41C5-A54A-0095BCF5512F}"/>
              </a:ext>
            </a:extLst>
          </p:cNvPr>
          <p:cNvSpPr/>
          <p:nvPr/>
        </p:nvSpPr>
        <p:spPr>
          <a:xfrm>
            <a:off x="4073774" y="5455995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38A54E"/>
                </a:solidFill>
                <a:latin typeface="Verdana"/>
              </a:rPr>
              <a:t>10</a:t>
            </a:r>
            <a:endParaRPr lang="da-DK" sz="1200" b="1" spc="-50">
              <a:solidFill>
                <a:srgbClr val="38A54E"/>
              </a:solidFill>
              <a:latin typeface="Verdana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BAC975C9-9791-4552-8DB7-4C15EF2F10A2}"/>
              </a:ext>
            </a:extLst>
          </p:cNvPr>
          <p:cNvSpPr/>
          <p:nvPr/>
        </p:nvSpPr>
        <p:spPr>
          <a:xfrm>
            <a:off x="8983618" y="2185571"/>
            <a:ext cx="3051448" cy="1255292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900" spc="-50" dirty="0">
                <a:solidFill>
                  <a:schemeClr val="tx2"/>
                </a:solidFill>
              </a:rPr>
              <a:t>Udsagn: Indsæt udsagn…</a:t>
            </a:r>
            <a:br>
              <a:rPr lang="da-DK" sz="900" b="1" spc="-50" dirty="0">
                <a:solidFill>
                  <a:srgbClr val="333333"/>
                </a:solidFill>
                <a:latin typeface="Verdana"/>
              </a:rPr>
            </a:br>
            <a:endParaRPr lang="da-DK" sz="900" spc="-50" dirty="0">
              <a:solidFill>
                <a:srgbClr val="333333"/>
              </a:solidFill>
              <a:latin typeface="Verdana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66CDF153-F996-40F6-9E1A-46C4C9477F90}"/>
              </a:ext>
            </a:extLst>
          </p:cNvPr>
          <p:cNvSpPr/>
          <p:nvPr/>
        </p:nvSpPr>
        <p:spPr>
          <a:xfrm>
            <a:off x="8270228" y="5540018"/>
            <a:ext cx="3526511" cy="992917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900" spc="-50" dirty="0">
                <a:solidFill>
                  <a:schemeClr val="tx2"/>
                </a:solidFill>
              </a:rPr>
              <a:t>Udsagn: Indsæt udsagn…</a:t>
            </a:r>
            <a:br>
              <a:rPr lang="da-DK" sz="900" b="1" spc="-50" dirty="0">
                <a:solidFill>
                  <a:srgbClr val="333333"/>
                </a:solidFill>
                <a:latin typeface="Verdana"/>
              </a:rPr>
            </a:br>
            <a:endParaRPr lang="da-DK" sz="900" spc="-50" dirty="0">
              <a:solidFill>
                <a:srgbClr val="333333"/>
              </a:solidFill>
              <a:latin typeface="Verdana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63A125C2-CE39-4851-A7FF-7438BC7B86BF}"/>
              </a:ext>
            </a:extLst>
          </p:cNvPr>
          <p:cNvSpPr/>
          <p:nvPr/>
        </p:nvSpPr>
        <p:spPr>
          <a:xfrm>
            <a:off x="697155" y="5592148"/>
            <a:ext cx="3451069" cy="940787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900" spc="-50" dirty="0">
                <a:solidFill>
                  <a:schemeClr val="tx2"/>
                </a:solidFill>
              </a:rPr>
              <a:t>Udsagn: Indsæt udsagn…</a:t>
            </a:r>
            <a:br>
              <a:rPr lang="da-DK" sz="800" b="1" spc="-50" dirty="0">
                <a:solidFill>
                  <a:srgbClr val="333333"/>
                </a:solidFill>
                <a:latin typeface="Verdana"/>
              </a:rPr>
            </a:br>
            <a:endParaRPr lang="da-DK" sz="800" spc="-50" dirty="0">
              <a:solidFill>
                <a:srgbClr val="333333"/>
              </a:solidFill>
              <a:latin typeface="Verdana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B94BC988-DE03-4603-B244-B85E0BBEE576}"/>
              </a:ext>
            </a:extLst>
          </p:cNvPr>
          <p:cNvSpPr/>
          <p:nvPr/>
        </p:nvSpPr>
        <p:spPr>
          <a:xfrm>
            <a:off x="6129330" y="3522145"/>
            <a:ext cx="179958" cy="17995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44F6CD6E-5F40-45AB-929A-DBCC531073F9}"/>
              </a:ext>
            </a:extLst>
          </p:cNvPr>
          <p:cNvSpPr/>
          <p:nvPr/>
        </p:nvSpPr>
        <p:spPr>
          <a:xfrm>
            <a:off x="116942" y="2185571"/>
            <a:ext cx="3348702" cy="1262915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900" spc="-50" dirty="0">
                <a:solidFill>
                  <a:schemeClr val="tx2"/>
                </a:solidFill>
              </a:rPr>
              <a:t>Udsagn: Indsæt udsagn…</a:t>
            </a:r>
            <a:br>
              <a:rPr lang="da-DK" sz="900" b="1" spc="-50" dirty="0">
                <a:solidFill>
                  <a:srgbClr val="333333"/>
                </a:solidFill>
                <a:latin typeface="Verdana"/>
              </a:rPr>
            </a:br>
            <a:endParaRPr lang="da-DK" sz="900" spc="-50" dirty="0">
              <a:solidFill>
                <a:srgbClr val="333333"/>
              </a:solidFill>
              <a:latin typeface="Verdana"/>
            </a:endParaRPr>
          </a:p>
        </p:txBody>
      </p:sp>
      <p:pic>
        <p:nvPicPr>
          <p:cNvPr id="16" name="Graphic 15" descr="Network">
            <a:extLst>
              <a:ext uri="{FF2B5EF4-FFF2-40B4-BE49-F238E27FC236}">
                <a16:creationId xmlns:a16="http://schemas.microsoft.com/office/drawing/2014/main" id="{56580945-B891-4A52-825F-56EAD74C46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77115" y="552200"/>
            <a:ext cx="451061" cy="451061"/>
          </a:xfrm>
          <a:prstGeom prst="rect">
            <a:avLst/>
          </a:prstGeom>
        </p:spPr>
      </p:pic>
      <p:pic>
        <p:nvPicPr>
          <p:cNvPr id="169" name="Graphic 168" descr="Network">
            <a:extLst>
              <a:ext uri="{FF2B5EF4-FFF2-40B4-BE49-F238E27FC236}">
                <a16:creationId xmlns:a16="http://schemas.microsoft.com/office/drawing/2014/main" id="{EEC513F4-7424-4C8B-A956-015437FB2C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542203">
            <a:off x="11683225" y="1927049"/>
            <a:ext cx="451061" cy="451061"/>
          </a:xfrm>
          <a:prstGeom prst="rect">
            <a:avLst/>
          </a:prstGeom>
        </p:spPr>
      </p:pic>
      <p:pic>
        <p:nvPicPr>
          <p:cNvPr id="175" name="Graphic 174" descr="Network">
            <a:extLst>
              <a:ext uri="{FF2B5EF4-FFF2-40B4-BE49-F238E27FC236}">
                <a16:creationId xmlns:a16="http://schemas.microsoft.com/office/drawing/2014/main" id="{599430DF-CF09-4E2F-802B-F5A9783FAA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777360">
            <a:off x="11539180" y="5334951"/>
            <a:ext cx="451061" cy="451061"/>
          </a:xfrm>
          <a:prstGeom prst="rect">
            <a:avLst/>
          </a:prstGeom>
        </p:spPr>
      </p:pic>
      <p:pic>
        <p:nvPicPr>
          <p:cNvPr id="176" name="Graphic 175" descr="Network">
            <a:extLst>
              <a:ext uri="{FF2B5EF4-FFF2-40B4-BE49-F238E27FC236}">
                <a16:creationId xmlns:a16="http://schemas.microsoft.com/office/drawing/2014/main" id="{6D0E1AC0-DBFA-445A-B6E5-7B59AD6068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915985">
            <a:off x="3900942" y="5926945"/>
            <a:ext cx="451061" cy="451061"/>
          </a:xfrm>
          <a:prstGeom prst="rect">
            <a:avLst/>
          </a:prstGeom>
        </p:spPr>
      </p:pic>
      <p:pic>
        <p:nvPicPr>
          <p:cNvPr id="178" name="Graphic 177" descr="Network">
            <a:extLst>
              <a:ext uri="{FF2B5EF4-FFF2-40B4-BE49-F238E27FC236}">
                <a16:creationId xmlns:a16="http://schemas.microsoft.com/office/drawing/2014/main" id="{7353244A-D558-436C-B87F-98C0954949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54274" y="2050485"/>
            <a:ext cx="451061" cy="451061"/>
          </a:xfrm>
          <a:prstGeom prst="rect">
            <a:avLst/>
          </a:prstGeom>
        </p:spPr>
      </p:pic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A6D75827-D932-4300-A022-E24BDE0C9741}"/>
              </a:ext>
            </a:extLst>
          </p:cNvPr>
          <p:cNvCxnSpPr>
            <a:cxnSpLocks/>
            <a:endCxn id="167" idx="3"/>
          </p:cNvCxnSpPr>
          <p:nvPr/>
        </p:nvCxnSpPr>
        <p:spPr>
          <a:xfrm flipV="1">
            <a:off x="4425108" y="3675749"/>
            <a:ext cx="1730576" cy="1960424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F3A97D36-FD07-4F5B-9127-6E63AE5A176C}"/>
              </a:ext>
            </a:extLst>
          </p:cNvPr>
          <p:cNvCxnSpPr>
            <a:cxnSpLocks/>
            <a:endCxn id="167" idx="5"/>
          </p:cNvCxnSpPr>
          <p:nvPr/>
        </p:nvCxnSpPr>
        <p:spPr>
          <a:xfrm flipH="1" flipV="1">
            <a:off x="6282934" y="3675749"/>
            <a:ext cx="1728952" cy="1939514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0" name="Oval 179">
            <a:extLst>
              <a:ext uri="{FF2B5EF4-FFF2-40B4-BE49-F238E27FC236}">
                <a16:creationId xmlns:a16="http://schemas.microsoft.com/office/drawing/2014/main" id="{FBCB3451-0E78-497F-B3E8-50191ECA0F90}"/>
              </a:ext>
            </a:extLst>
          </p:cNvPr>
          <p:cNvSpPr/>
          <p:nvPr/>
        </p:nvSpPr>
        <p:spPr>
          <a:xfrm>
            <a:off x="7647217" y="5364916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67B445"/>
                </a:solidFill>
                <a:latin typeface="Verdana"/>
              </a:rPr>
              <a:t>9</a:t>
            </a:r>
          </a:p>
        </p:txBody>
      </p:sp>
      <p:sp>
        <p:nvSpPr>
          <p:cNvPr id="223" name="Oval 222">
            <a:extLst>
              <a:ext uri="{FF2B5EF4-FFF2-40B4-BE49-F238E27FC236}">
                <a16:creationId xmlns:a16="http://schemas.microsoft.com/office/drawing/2014/main" id="{A7F460BE-1EBE-45CC-A92B-719A5F2F93CF}"/>
              </a:ext>
            </a:extLst>
          </p:cNvPr>
          <p:cNvSpPr/>
          <p:nvPr/>
        </p:nvSpPr>
        <p:spPr>
          <a:xfrm>
            <a:off x="8387402" y="2607216"/>
            <a:ext cx="395908" cy="32392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da-DK" sz="1000" b="1" spc="-50">
                <a:solidFill>
                  <a:srgbClr val="67B445"/>
                </a:solidFill>
                <a:latin typeface="Verdana"/>
              </a:rPr>
              <a:t>9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36D440-4ACC-0318-B585-F8763CA6A315}"/>
              </a:ext>
            </a:extLst>
          </p:cNvPr>
          <p:cNvSpPr/>
          <p:nvPr/>
        </p:nvSpPr>
        <p:spPr>
          <a:xfrm>
            <a:off x="116942" y="-33750"/>
            <a:ext cx="2587758" cy="799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6000" b="1" dirty="0">
                <a:solidFill>
                  <a:srgbClr val="273F68"/>
                </a:solidFill>
                <a:latin typeface="Amatic SC" panose="00000500000000000000" pitchFamily="2" charset="-79"/>
                <a:ea typeface="Verdana" panose="020B0604030504040204" pitchFamily="34" charset="0"/>
                <a:cs typeface="Amatic SC" panose="00000500000000000000" pitchFamily="2" charset="-79"/>
              </a:rPr>
              <a:t>Spindelvæv</a:t>
            </a:r>
            <a:endParaRPr lang="da-DK" sz="4400" b="1" dirty="0">
              <a:solidFill>
                <a:srgbClr val="273F68"/>
              </a:solidFill>
              <a:latin typeface="Amatic SC" panose="00000500000000000000" pitchFamily="2" charset="-79"/>
              <a:ea typeface="Verdana" panose="020B0604030504040204" pitchFamily="34" charset="0"/>
              <a:cs typeface="Amatic SC" panose="00000500000000000000" pitchFamily="2" charset="-79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A5AC54-D0B6-F412-E3BC-1419EB83BBC4}"/>
              </a:ext>
            </a:extLst>
          </p:cNvPr>
          <p:cNvSpPr txBox="1"/>
          <p:nvPr/>
        </p:nvSpPr>
        <p:spPr>
          <a:xfrm>
            <a:off x="116942" y="816495"/>
            <a:ext cx="2895765" cy="33855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lvl="1">
              <a:defRPr/>
            </a:pPr>
            <a:r>
              <a:rPr lang="da-DK" sz="900" dirty="0">
                <a:solidFill>
                  <a:srgbClr val="273F68"/>
                </a:solidFill>
                <a:latin typeface="+mj-lt"/>
                <a:ea typeface="Verdana" panose="020B0604030504040204" pitchFamily="34" charset="0"/>
                <a:cs typeface="Amatic SC" panose="00000500000000000000" pitchFamily="2" charset="-79"/>
              </a:rPr>
              <a:t>Husk at have fokus på at reflektere over arbejdet i </a:t>
            </a:r>
            <a:r>
              <a:rPr lang="da-DK" sz="900" b="1" dirty="0">
                <a:solidFill>
                  <a:srgbClr val="273F68"/>
                </a:solidFill>
                <a:latin typeface="+mj-lt"/>
                <a:ea typeface="Verdana" panose="020B0604030504040204" pitchFamily="34" charset="0"/>
                <a:cs typeface="Amatic SC" panose="00000500000000000000" pitchFamily="2" charset="-79"/>
              </a:rPr>
              <a:t>dit eget team</a:t>
            </a:r>
            <a:r>
              <a:rPr lang="da-DK" sz="900" dirty="0">
                <a:solidFill>
                  <a:srgbClr val="273F68"/>
                </a:solidFill>
                <a:latin typeface="+mj-lt"/>
                <a:ea typeface="Verdana" panose="020B0604030504040204" pitchFamily="34" charset="0"/>
                <a:cs typeface="Amatic SC" panose="00000500000000000000" pitchFamily="2" charset="-79"/>
              </a:rPr>
              <a:t>.</a:t>
            </a:r>
          </a:p>
          <a:p>
            <a:pPr lvl="1">
              <a:defRPr/>
            </a:pPr>
            <a:endParaRPr kumimoji="0" lang="da-DK" sz="90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Amatic SC" panose="00000500000000000000" pitchFamily="2" charset="-79"/>
            </a:endParaRPr>
          </a:p>
          <a:p>
            <a:pPr lvl="1">
              <a:defRPr/>
            </a:pPr>
            <a:r>
              <a:rPr lang="da-DK" sz="900" dirty="0">
                <a:solidFill>
                  <a:srgbClr val="273F68"/>
                </a:solidFill>
                <a:latin typeface="+mj-lt"/>
                <a:ea typeface="Verdana" panose="020B0604030504040204" pitchFamily="34" charset="0"/>
                <a:cs typeface="Amatic SC" panose="00000500000000000000" pitchFamily="2" charset="-79"/>
              </a:rPr>
              <a:t>Hvis der er mere end fem udsagn i det valgte tema, udvælger I de udsagn, som er </a:t>
            </a:r>
            <a:r>
              <a:rPr lang="da-DK" sz="900" b="1" dirty="0">
                <a:solidFill>
                  <a:srgbClr val="273F68"/>
                </a:solidFill>
                <a:latin typeface="+mj-lt"/>
                <a:ea typeface="Verdana" panose="020B0604030504040204" pitchFamily="34" charset="0"/>
                <a:cs typeface="Amatic SC" panose="00000500000000000000" pitchFamily="2" charset="-79"/>
              </a:rPr>
              <a:t>mest relevante for jer at reflektere over</a:t>
            </a:r>
            <a:r>
              <a:rPr lang="da-DK" sz="900" dirty="0">
                <a:solidFill>
                  <a:srgbClr val="273F68"/>
                </a:solidFill>
                <a:latin typeface="+mj-lt"/>
                <a:ea typeface="Verdana" panose="020B0604030504040204" pitchFamily="34" charset="0"/>
                <a:cs typeface="Amatic SC" panose="00000500000000000000" pitchFamily="2" charset="-79"/>
              </a:rPr>
              <a:t>. </a:t>
            </a:r>
            <a:endParaRPr kumimoji="0" lang="da-DK" sz="900" i="0" u="none" strike="noStrike" kern="1200" cap="none" spc="0" normalizeH="0" baseline="0" noProof="0" dirty="0">
              <a:ln>
                <a:noFill/>
              </a:ln>
              <a:solidFill>
                <a:srgbClr val="273F68"/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Amatic SC" panose="00000500000000000000" pitchFamily="2" charset="-79"/>
            </a:endParaRPr>
          </a:p>
        </p:txBody>
      </p:sp>
      <p:pic>
        <p:nvPicPr>
          <p:cNvPr id="4" name="Graphic 3" descr="Right pointing backhand index outline">
            <a:extLst>
              <a:ext uri="{FF2B5EF4-FFF2-40B4-BE49-F238E27FC236}">
                <a16:creationId xmlns:a16="http://schemas.microsoft.com/office/drawing/2014/main" id="{E0DA8A90-9F2D-AC6C-1F66-9E31258F58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6942" y="774124"/>
            <a:ext cx="333921" cy="333921"/>
          </a:xfrm>
          <a:prstGeom prst="rect">
            <a:avLst/>
          </a:prstGeom>
        </p:spPr>
      </p:pic>
      <p:pic>
        <p:nvPicPr>
          <p:cNvPr id="6" name="Graphic 5" descr="Right pointing backhand index outline">
            <a:extLst>
              <a:ext uri="{FF2B5EF4-FFF2-40B4-BE49-F238E27FC236}">
                <a16:creationId xmlns:a16="http://schemas.microsoft.com/office/drawing/2014/main" id="{0BD185E9-7F01-B6E9-5B9E-06923B01D3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6942" y="1197420"/>
            <a:ext cx="333921" cy="333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7707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Playful colors">
      <a:dk1>
        <a:srgbClr val="273F68"/>
      </a:dk1>
      <a:lt1>
        <a:srgbClr val="FFFFFF"/>
      </a:lt1>
      <a:dk2>
        <a:srgbClr val="7085AA"/>
      </a:dk2>
      <a:lt2>
        <a:srgbClr val="F4F7FA"/>
      </a:lt2>
      <a:accent1>
        <a:srgbClr val="4BD1DD"/>
      </a:accent1>
      <a:accent2>
        <a:srgbClr val="57C0EB"/>
      </a:accent2>
      <a:accent3>
        <a:srgbClr val="BD9ADD"/>
      </a:accent3>
      <a:accent4>
        <a:srgbClr val="F3805C"/>
      </a:accent4>
      <a:accent5>
        <a:srgbClr val="FFD11D"/>
      </a:accent5>
      <a:accent6>
        <a:srgbClr val="95D346"/>
      </a:accent6>
      <a:hlink>
        <a:srgbClr val="273F68"/>
      </a:hlink>
      <a:folHlink>
        <a:srgbClr val="6611CC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Ramboll.potx" id="{9BA6AB70-38B9-4BF4-AD01-F22D546A6F4D}" vid="{AFF3D664-4A6E-4E38-81EF-08DD66B4B9C6}"/>
    </a:ext>
  </a:extLst>
</a:theme>
</file>

<file path=ppt/theme/theme2.xml><?xml version="1.0" encoding="utf-8"?>
<a:theme xmlns:a="http://schemas.openxmlformats.org/drawingml/2006/main" name="1_Blank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lank.potx" id="{900E3F7D-0F42-4127-A563-AB863FCD720C}" vid="{53CCD02C-91E1-4BFC-A1BE-18ED37431167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777BC3FC4C50540BF69EA95AABBEFE1" ma:contentTypeVersion="14" ma:contentTypeDescription="Opret et nyt dokument." ma:contentTypeScope="" ma:versionID="c6c04db3cacbd66f55ed2a3a9dd390b9">
  <xsd:schema xmlns:xsd="http://www.w3.org/2001/XMLSchema" xmlns:xs="http://www.w3.org/2001/XMLSchema" xmlns:p="http://schemas.microsoft.com/office/2006/metadata/properties" xmlns:ns2="1651cbcf-56d9-44f8-9145-fa4dc3f07b09" xmlns:ns3="e5e55e85-1091-41fc-8906-3ea787519063" targetNamespace="http://schemas.microsoft.com/office/2006/metadata/properties" ma:root="true" ma:fieldsID="650a471a64541f1270d50d609e87260c" ns2:_="" ns3:_="">
    <xsd:import namespace="1651cbcf-56d9-44f8-9145-fa4dc3f07b09"/>
    <xsd:import namespace="e5e55e85-1091-41fc-8906-3ea7875190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51cbcf-56d9-44f8-9145-fa4dc3f07b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Billedmærker" ma:readOnly="false" ma:fieldId="{5cf76f15-5ced-4ddc-b409-7134ff3c332f}" ma:taxonomyMulti="true" ma:sspId="6e115677-f02f-49e2-a07c-4177104e5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55e85-1091-41fc-8906-3ea787519063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a2a555b-7205-4dc3-903a-178741c687e8}" ma:internalName="TaxCatchAll" ma:showField="CatchAllData" ma:web="e5e55e85-1091-41fc-8906-3ea7875190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5e55e85-1091-41fc-8906-3ea787519063">
      <UserInfo>
        <DisplayName>Mia Rytter Lund</DisplayName>
        <AccountId>11</AccountId>
        <AccountType/>
      </UserInfo>
      <UserInfo>
        <DisplayName>Nikolaj Godsk Vestergaard</DisplayName>
        <AccountId>17</AccountId>
        <AccountType/>
      </UserInfo>
    </SharedWithUsers>
    <lcf76f155ced4ddcb4097134ff3c332f xmlns="1651cbcf-56d9-44f8-9145-fa4dc3f07b09">
      <Terms xmlns="http://schemas.microsoft.com/office/infopath/2007/PartnerControls"/>
    </lcf76f155ced4ddcb4097134ff3c332f>
    <TaxCatchAll xmlns="e5e55e85-1091-41fc-8906-3ea78751906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A6625EB-3A9D-487E-9C20-20F678AC8AF8}"/>
</file>

<file path=customXml/itemProps2.xml><?xml version="1.0" encoding="utf-8"?>
<ds:datastoreItem xmlns:ds="http://schemas.openxmlformats.org/officeDocument/2006/customXml" ds:itemID="{E9EFF8DE-3DB9-4F84-BF63-5977268658D3}">
  <ds:schemaRefs>
    <ds:schemaRef ds:uri="http://schemas.microsoft.com/office/2006/documentManagement/types"/>
    <ds:schemaRef ds:uri="2878c695-2e5f-4fdb-8928-c23a94bfc9ba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6001f91c-baf8-4b78-ad44-7f704f44ef8e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D153CFF-5C71-4AE1-8E1D-1F92B2B8ED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33</TotalTime>
  <Words>722</Words>
  <Application>Microsoft Office PowerPoint</Application>
  <PresentationFormat>Widescreen</PresentationFormat>
  <Paragraphs>13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matic SC</vt:lpstr>
      <vt:lpstr>Arial</vt:lpstr>
      <vt:lpstr>Short Stack</vt:lpstr>
      <vt:lpstr>Verdana</vt:lpstr>
      <vt:lpstr>Wingdings</vt:lpstr>
      <vt:lpstr>Blank</vt:lpstr>
      <vt:lpstr>1_Blank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shop december 2022</dc:title>
  <dc:creator>Nikolaj Godsk Vestergaard</dc:creator>
  <cp:lastModifiedBy>Mia Rytter Lund</cp:lastModifiedBy>
  <cp:revision>1</cp:revision>
  <dcterms:created xsi:type="dcterms:W3CDTF">2022-11-28T10:19:23Z</dcterms:created>
  <dcterms:modified xsi:type="dcterms:W3CDTF">2023-04-18T07:4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0ea7001-5c24-4702-a3ac-e436ccb02747_Enabled">
    <vt:lpwstr>true</vt:lpwstr>
  </property>
  <property fmtid="{D5CDD505-2E9C-101B-9397-08002B2CF9AE}" pid="3" name="MSIP_Label_20ea7001-5c24-4702-a3ac-e436ccb02747_SetDate">
    <vt:lpwstr>2022-11-28T10:19:24Z</vt:lpwstr>
  </property>
  <property fmtid="{D5CDD505-2E9C-101B-9397-08002B2CF9AE}" pid="4" name="MSIP_Label_20ea7001-5c24-4702-a3ac-e436ccb02747_Method">
    <vt:lpwstr>Standard</vt:lpwstr>
  </property>
  <property fmtid="{D5CDD505-2E9C-101B-9397-08002B2CF9AE}" pid="5" name="MSIP_Label_20ea7001-5c24-4702-a3ac-e436ccb02747_Name">
    <vt:lpwstr>Confidential</vt:lpwstr>
  </property>
  <property fmtid="{D5CDD505-2E9C-101B-9397-08002B2CF9AE}" pid="6" name="MSIP_Label_20ea7001-5c24-4702-a3ac-e436ccb02747_SiteId">
    <vt:lpwstr>c8823c91-be81-4f89-b024-6c3dd789c106</vt:lpwstr>
  </property>
  <property fmtid="{D5CDD505-2E9C-101B-9397-08002B2CF9AE}" pid="7" name="MSIP_Label_20ea7001-5c24-4702-a3ac-e436ccb02747_ActionId">
    <vt:lpwstr>9cef2eea-b7e5-4349-87cc-eae238bee497</vt:lpwstr>
  </property>
  <property fmtid="{D5CDD505-2E9C-101B-9397-08002B2CF9AE}" pid="8" name="MSIP_Label_20ea7001-5c24-4702-a3ac-e436ccb02747_ContentBits">
    <vt:lpwstr>2</vt:lpwstr>
  </property>
  <property fmtid="{D5CDD505-2E9C-101B-9397-08002B2CF9AE}" pid="9" name="ContentTypeId">
    <vt:lpwstr>0x0101003777BC3FC4C50540BF69EA95AABBEFE1</vt:lpwstr>
  </property>
  <property fmtid="{D5CDD505-2E9C-101B-9397-08002B2CF9AE}" pid="10" name="MediaServiceImageTags">
    <vt:lpwstr/>
  </property>
</Properties>
</file>